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477" r:id="rId1"/>
  </p:sldMasterIdLst>
  <p:notesMasterIdLst>
    <p:notesMasterId r:id="rId12"/>
  </p:notesMasterIdLst>
  <p:handoutMasterIdLst>
    <p:handoutMasterId r:id="rId13"/>
  </p:handoutMasterIdLst>
  <p:sldIdLst>
    <p:sldId id="2134807256" r:id="rId2"/>
    <p:sldId id="2134807278" r:id="rId3"/>
    <p:sldId id="2134807267" r:id="rId4"/>
    <p:sldId id="2134807269" r:id="rId5"/>
    <p:sldId id="2134807271" r:id="rId6"/>
    <p:sldId id="2134807272" r:id="rId7"/>
    <p:sldId id="2134807276" r:id="rId8"/>
    <p:sldId id="2134807274" r:id="rId9"/>
    <p:sldId id="2134807279" r:id="rId10"/>
    <p:sldId id="2134807273" r:id="rId11"/>
  </p:sldIdLst>
  <p:sldSz cx="18291175" cy="10298113"/>
  <p:notesSz cx="6889750" cy="10021888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81634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6326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244903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326538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4081727" algn="l" defTabSz="1632688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4898068" algn="l" defTabSz="1632688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5714415" algn="l" defTabSz="1632688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6530766" algn="l" defTabSz="1632688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32" userDrawn="1">
          <p15:clr>
            <a:srgbClr val="A4A3A4"/>
          </p15:clr>
        </p15:guide>
        <p15:guide id="2" pos="5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 userDrawn="1">
          <p15:clr>
            <a:srgbClr val="A4A3A4"/>
          </p15:clr>
        </p15:guide>
        <p15:guide id="2" pos="216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CE4A"/>
    <a:srgbClr val="AFC836"/>
    <a:srgbClr val="6B3987"/>
    <a:srgbClr val="001952"/>
    <a:srgbClr val="D395D0"/>
    <a:srgbClr val="060606"/>
    <a:srgbClr val="202020"/>
    <a:srgbClr val="D1D2D3"/>
    <a:srgbClr val="0081B5"/>
    <a:srgbClr val="069E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288F94-7449-444B-844B-E434F6074AB5}" v="356" dt="2022-03-23T11:19:06.419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45" autoAdjust="0"/>
    <p:restoredTop sz="94660"/>
  </p:normalViewPr>
  <p:slideViewPr>
    <p:cSldViewPr snapToGrid="0">
      <p:cViewPr varScale="1">
        <p:scale>
          <a:sx n="51" d="100"/>
          <a:sy n="51" d="100"/>
        </p:scale>
        <p:origin x="460" y="88"/>
      </p:cViewPr>
      <p:guideLst>
        <p:guide orient="horz" pos="4132"/>
        <p:guide pos="5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57"/>
        <p:guide pos="21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BB29E2-78E3-4777-8E34-C7E31E4C6E45}" type="doc">
      <dgm:prSet loTypeId="urn:microsoft.com/office/officeart/2005/8/layout/hProcess4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A229C8A-816A-4743-B642-136D370373E1}">
      <dgm:prSet phldrT="[Text]" custT="1"/>
      <dgm:spPr/>
      <dgm:t>
        <a:bodyPr/>
        <a:lstStyle/>
        <a:p>
          <a:r>
            <a:rPr lang="en-US" sz="1800" b="1" dirty="0"/>
            <a:t>Data-IN</a:t>
          </a:r>
        </a:p>
      </dgm:t>
    </dgm:pt>
    <dgm:pt modelId="{76FE9FFB-AD1D-41FF-8601-544DDAC0CFCB}" type="parTrans" cxnId="{204B4AC7-3D8E-4A85-B502-1947319FFF31}">
      <dgm:prSet/>
      <dgm:spPr/>
      <dgm:t>
        <a:bodyPr/>
        <a:lstStyle/>
        <a:p>
          <a:endParaRPr lang="en-US" sz="1200"/>
        </a:p>
      </dgm:t>
    </dgm:pt>
    <dgm:pt modelId="{CA141AF7-96EC-4E2E-8393-153CD0819C33}" type="sibTrans" cxnId="{204B4AC7-3D8E-4A85-B502-1947319FFF31}">
      <dgm:prSet/>
      <dgm:spPr/>
      <dgm:t>
        <a:bodyPr/>
        <a:lstStyle/>
        <a:p>
          <a:endParaRPr lang="en-US" sz="1200"/>
        </a:p>
      </dgm:t>
    </dgm:pt>
    <dgm:pt modelId="{487178E5-FAC5-4992-BBD2-939308DA0917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/>
            <a:t>Understanding Data-Set</a:t>
          </a:r>
        </a:p>
      </dgm:t>
    </dgm:pt>
    <dgm:pt modelId="{448C0BED-A1DD-4B34-B4F6-77E05007BCE3}" type="parTrans" cxnId="{0094FD4F-A5B4-41B7-948B-1E1A5B994146}">
      <dgm:prSet/>
      <dgm:spPr/>
      <dgm:t>
        <a:bodyPr/>
        <a:lstStyle/>
        <a:p>
          <a:endParaRPr lang="en-US" sz="1200"/>
        </a:p>
      </dgm:t>
    </dgm:pt>
    <dgm:pt modelId="{1544253F-D58D-4A4B-B84F-D6F298768ED0}" type="sibTrans" cxnId="{0094FD4F-A5B4-41B7-948B-1E1A5B994146}">
      <dgm:prSet/>
      <dgm:spPr/>
      <dgm:t>
        <a:bodyPr/>
        <a:lstStyle/>
        <a:p>
          <a:endParaRPr lang="en-US" sz="1200"/>
        </a:p>
      </dgm:t>
    </dgm:pt>
    <dgm:pt modelId="{8004B176-D050-441A-B834-2B53250E77D5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/>
            <a:t>Tagging Data</a:t>
          </a:r>
        </a:p>
      </dgm:t>
    </dgm:pt>
    <dgm:pt modelId="{10437AAD-90CE-4F59-8C11-D55AF691A684}" type="parTrans" cxnId="{E130B4C3-0D6F-43A4-9A7A-5EBED9E427BE}">
      <dgm:prSet/>
      <dgm:spPr/>
      <dgm:t>
        <a:bodyPr/>
        <a:lstStyle/>
        <a:p>
          <a:endParaRPr lang="en-US" sz="1200"/>
        </a:p>
      </dgm:t>
    </dgm:pt>
    <dgm:pt modelId="{D525DEFC-7B33-4FA7-806A-0E99DEB05135}" type="sibTrans" cxnId="{E130B4C3-0D6F-43A4-9A7A-5EBED9E427BE}">
      <dgm:prSet/>
      <dgm:spPr/>
      <dgm:t>
        <a:bodyPr/>
        <a:lstStyle/>
        <a:p>
          <a:endParaRPr lang="en-US" sz="1200"/>
        </a:p>
      </dgm:t>
    </dgm:pt>
    <dgm:pt modelId="{EDC0C87C-E87F-4289-9D9E-B2ACD8DAD9F4}">
      <dgm:prSet phldrT="[Text]" custT="1"/>
      <dgm:spPr/>
      <dgm:t>
        <a:bodyPr/>
        <a:lstStyle/>
        <a:p>
          <a:r>
            <a:rPr lang="en-US" sz="1800" dirty="0"/>
            <a:t>Process</a:t>
          </a:r>
        </a:p>
      </dgm:t>
    </dgm:pt>
    <dgm:pt modelId="{1AFEB7B9-4AE8-4EF6-94B3-E7168EE661EE}" type="parTrans" cxnId="{18480877-A7F7-4B53-97C0-357490A0DF21}">
      <dgm:prSet/>
      <dgm:spPr/>
      <dgm:t>
        <a:bodyPr/>
        <a:lstStyle/>
        <a:p>
          <a:endParaRPr lang="en-US" sz="1200"/>
        </a:p>
      </dgm:t>
    </dgm:pt>
    <dgm:pt modelId="{7BCEA278-E478-42CB-B0DA-DFAC83BC7D62}" type="sibTrans" cxnId="{18480877-A7F7-4B53-97C0-357490A0DF21}">
      <dgm:prSet/>
      <dgm:spPr/>
      <dgm:t>
        <a:bodyPr/>
        <a:lstStyle/>
        <a:p>
          <a:endParaRPr lang="en-US" sz="1200"/>
        </a:p>
      </dgm:t>
    </dgm:pt>
    <dgm:pt modelId="{7C25B012-D1D0-4ED5-B7B3-00C4B697AF40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/>
            <a:t>Data Clean-Up</a:t>
          </a:r>
        </a:p>
      </dgm:t>
    </dgm:pt>
    <dgm:pt modelId="{B984518B-8315-49D2-AF75-2EFF57CC09B5}" type="parTrans" cxnId="{B9BC2B1F-BE62-4DD9-92BC-7E80E379BD09}">
      <dgm:prSet/>
      <dgm:spPr/>
      <dgm:t>
        <a:bodyPr/>
        <a:lstStyle/>
        <a:p>
          <a:endParaRPr lang="en-US" sz="1200"/>
        </a:p>
      </dgm:t>
    </dgm:pt>
    <dgm:pt modelId="{83377FC8-2139-4412-B512-C0D4B9C17C19}" type="sibTrans" cxnId="{B9BC2B1F-BE62-4DD9-92BC-7E80E379BD09}">
      <dgm:prSet/>
      <dgm:spPr/>
      <dgm:t>
        <a:bodyPr/>
        <a:lstStyle/>
        <a:p>
          <a:endParaRPr lang="en-US" sz="1200"/>
        </a:p>
      </dgm:t>
    </dgm:pt>
    <dgm:pt modelId="{A14EE9E4-93DB-41C5-ACAA-5B0378F05820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/>
            <a:t>Standardization</a:t>
          </a:r>
        </a:p>
      </dgm:t>
    </dgm:pt>
    <dgm:pt modelId="{E458A47F-3B7F-4EB1-B5CA-0116FFF68C2C}" type="parTrans" cxnId="{B97A7EE3-3675-40BD-94EA-84071664BFE4}">
      <dgm:prSet/>
      <dgm:spPr/>
      <dgm:t>
        <a:bodyPr/>
        <a:lstStyle/>
        <a:p>
          <a:endParaRPr lang="en-US" sz="1200"/>
        </a:p>
      </dgm:t>
    </dgm:pt>
    <dgm:pt modelId="{B70C5778-AFDF-4848-98B7-7BF5B28B42FC}" type="sibTrans" cxnId="{B97A7EE3-3675-40BD-94EA-84071664BFE4}">
      <dgm:prSet/>
      <dgm:spPr/>
      <dgm:t>
        <a:bodyPr/>
        <a:lstStyle/>
        <a:p>
          <a:endParaRPr lang="en-US" sz="1200"/>
        </a:p>
      </dgm:t>
    </dgm:pt>
    <dgm:pt modelId="{A211EB56-1645-48B5-8714-5D3D95AA169C}">
      <dgm:prSet phldrT="[Text]" custT="1"/>
      <dgm:spPr/>
      <dgm:t>
        <a:bodyPr/>
        <a:lstStyle/>
        <a:p>
          <a:r>
            <a:rPr lang="en-US" sz="1800" dirty="0"/>
            <a:t>Apply Intelligence</a:t>
          </a:r>
        </a:p>
      </dgm:t>
    </dgm:pt>
    <dgm:pt modelId="{B2CC121D-3742-4EFF-86E4-C022F03411EE}" type="parTrans" cxnId="{3BEC9E8B-1667-4CCF-AB8D-ED3707AB38A8}">
      <dgm:prSet/>
      <dgm:spPr/>
      <dgm:t>
        <a:bodyPr/>
        <a:lstStyle/>
        <a:p>
          <a:endParaRPr lang="en-US" sz="1200"/>
        </a:p>
      </dgm:t>
    </dgm:pt>
    <dgm:pt modelId="{73BF19DB-8740-4383-A9FA-A9C9EB83E8EB}" type="sibTrans" cxnId="{3BEC9E8B-1667-4CCF-AB8D-ED3707AB38A8}">
      <dgm:prSet/>
      <dgm:spPr/>
      <dgm:t>
        <a:bodyPr/>
        <a:lstStyle/>
        <a:p>
          <a:endParaRPr lang="en-US" sz="1200"/>
        </a:p>
      </dgm:t>
    </dgm:pt>
    <dgm:pt modelId="{47DC8779-CA58-4039-A1C0-392D22E08361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/>
            <a:t>Model-Driven parsing</a:t>
          </a:r>
        </a:p>
      </dgm:t>
    </dgm:pt>
    <dgm:pt modelId="{7574E0DC-C656-437E-B8FD-64BD534735E4}" type="parTrans" cxnId="{6F376BB3-3B3B-4C95-8ADF-7C6E23CAE5E8}">
      <dgm:prSet/>
      <dgm:spPr/>
      <dgm:t>
        <a:bodyPr/>
        <a:lstStyle/>
        <a:p>
          <a:endParaRPr lang="en-US" sz="1200"/>
        </a:p>
      </dgm:t>
    </dgm:pt>
    <dgm:pt modelId="{2307E483-9FB6-4CA7-B274-82615B33D924}" type="sibTrans" cxnId="{6F376BB3-3B3B-4C95-8ADF-7C6E23CAE5E8}">
      <dgm:prSet/>
      <dgm:spPr/>
      <dgm:t>
        <a:bodyPr/>
        <a:lstStyle/>
        <a:p>
          <a:endParaRPr lang="en-US" sz="1200"/>
        </a:p>
      </dgm:t>
    </dgm:pt>
    <dgm:pt modelId="{5960E874-CC09-4734-964A-983BFCA96835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/>
            <a:t>Pattern Identification</a:t>
          </a:r>
        </a:p>
      </dgm:t>
    </dgm:pt>
    <dgm:pt modelId="{64DB7B71-CCCD-43BF-AB52-AA2B955C27D3}" type="parTrans" cxnId="{5E26AC9A-D8F2-4EDB-BE83-C3F31FC4B782}">
      <dgm:prSet/>
      <dgm:spPr/>
      <dgm:t>
        <a:bodyPr/>
        <a:lstStyle/>
        <a:p>
          <a:endParaRPr lang="en-US" sz="1200"/>
        </a:p>
      </dgm:t>
    </dgm:pt>
    <dgm:pt modelId="{D8D49585-B0B4-4EF1-97A8-15434216EBA2}" type="sibTrans" cxnId="{5E26AC9A-D8F2-4EDB-BE83-C3F31FC4B782}">
      <dgm:prSet/>
      <dgm:spPr/>
      <dgm:t>
        <a:bodyPr/>
        <a:lstStyle/>
        <a:p>
          <a:endParaRPr lang="en-US" sz="1200"/>
        </a:p>
      </dgm:t>
    </dgm:pt>
    <dgm:pt modelId="{2BA9E028-531F-4BA7-A9BB-C0DFF8206D0F}">
      <dgm:prSet phldrT="[Text]" custT="1"/>
      <dgm:spPr/>
      <dgm:t>
        <a:bodyPr/>
        <a:lstStyle/>
        <a:p>
          <a:r>
            <a:rPr lang="en-US" sz="1800" b="1" dirty="0"/>
            <a:t>Wisdom-Out</a:t>
          </a:r>
        </a:p>
      </dgm:t>
    </dgm:pt>
    <dgm:pt modelId="{9568F430-9EF9-4CF2-B349-6795C1B65BD2}" type="parTrans" cxnId="{DE7836AD-BF94-4F7A-888C-10BC6A6AB5DB}">
      <dgm:prSet/>
      <dgm:spPr/>
      <dgm:t>
        <a:bodyPr/>
        <a:lstStyle/>
        <a:p>
          <a:endParaRPr lang="en-US" sz="1200"/>
        </a:p>
      </dgm:t>
    </dgm:pt>
    <dgm:pt modelId="{74E07BCC-DB98-499E-84EC-CF6912666E92}" type="sibTrans" cxnId="{DE7836AD-BF94-4F7A-888C-10BC6A6AB5DB}">
      <dgm:prSet/>
      <dgm:spPr/>
      <dgm:t>
        <a:bodyPr/>
        <a:lstStyle/>
        <a:p>
          <a:endParaRPr lang="en-US" sz="1200"/>
        </a:p>
      </dgm:t>
    </dgm:pt>
    <dgm:pt modelId="{7C873723-8B62-4C8F-A7CB-DD6C95E36322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/>
            <a:t>Predict Next Best-Step</a:t>
          </a:r>
        </a:p>
      </dgm:t>
    </dgm:pt>
    <dgm:pt modelId="{37597E32-49FB-4429-A6DB-1EC0EF273786}" type="parTrans" cxnId="{F338E353-6142-491A-ACDA-74075C0B0B42}">
      <dgm:prSet/>
      <dgm:spPr/>
      <dgm:t>
        <a:bodyPr/>
        <a:lstStyle/>
        <a:p>
          <a:endParaRPr lang="en-US"/>
        </a:p>
      </dgm:t>
    </dgm:pt>
    <dgm:pt modelId="{3CACFD65-DAAB-4AA6-ABFD-F747AE7E2D98}" type="sibTrans" cxnId="{F338E353-6142-491A-ACDA-74075C0B0B42}">
      <dgm:prSet/>
      <dgm:spPr/>
      <dgm:t>
        <a:bodyPr/>
        <a:lstStyle/>
        <a:p>
          <a:endParaRPr lang="en-US"/>
        </a:p>
      </dgm:t>
    </dgm:pt>
    <dgm:pt modelId="{3A094C08-BEE1-48E7-90AD-04B37BDE3256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/>
            <a:t>Provide Recommendation to Investigator</a:t>
          </a:r>
        </a:p>
      </dgm:t>
    </dgm:pt>
    <dgm:pt modelId="{BF76DD59-6E55-435C-98FE-CB2433ED63E7}" type="parTrans" cxnId="{9E04928E-7EA7-4443-8610-6EB892D407F0}">
      <dgm:prSet/>
      <dgm:spPr/>
      <dgm:t>
        <a:bodyPr/>
        <a:lstStyle/>
        <a:p>
          <a:endParaRPr lang="en-US"/>
        </a:p>
      </dgm:t>
    </dgm:pt>
    <dgm:pt modelId="{C9CBE175-5D17-49E9-B12E-D74B9EB0F49F}" type="sibTrans" cxnId="{9E04928E-7EA7-4443-8610-6EB892D407F0}">
      <dgm:prSet/>
      <dgm:spPr/>
      <dgm:t>
        <a:bodyPr/>
        <a:lstStyle/>
        <a:p>
          <a:endParaRPr lang="en-US"/>
        </a:p>
      </dgm:t>
    </dgm:pt>
    <dgm:pt modelId="{B3412FCA-7BDB-486D-B45C-A0805DE66CBA}" type="pres">
      <dgm:prSet presAssocID="{EBBB29E2-78E3-4777-8E34-C7E31E4C6E45}" presName="Name0" presStyleCnt="0">
        <dgm:presLayoutVars>
          <dgm:dir/>
          <dgm:animLvl val="lvl"/>
          <dgm:resizeHandles val="exact"/>
        </dgm:presLayoutVars>
      </dgm:prSet>
      <dgm:spPr/>
    </dgm:pt>
    <dgm:pt modelId="{02461961-0AF4-4C4D-A28B-0569BD63656D}" type="pres">
      <dgm:prSet presAssocID="{EBBB29E2-78E3-4777-8E34-C7E31E4C6E45}" presName="tSp" presStyleCnt="0"/>
      <dgm:spPr/>
    </dgm:pt>
    <dgm:pt modelId="{1267A547-A2B8-4D64-A345-B8A7A986C4B2}" type="pres">
      <dgm:prSet presAssocID="{EBBB29E2-78E3-4777-8E34-C7E31E4C6E45}" presName="bSp" presStyleCnt="0"/>
      <dgm:spPr/>
    </dgm:pt>
    <dgm:pt modelId="{E86E90D9-CC81-4763-A1DC-599D334CE899}" type="pres">
      <dgm:prSet presAssocID="{EBBB29E2-78E3-4777-8E34-C7E31E4C6E45}" presName="process" presStyleCnt="0"/>
      <dgm:spPr/>
    </dgm:pt>
    <dgm:pt modelId="{C008E595-0BCC-4C9D-983F-4B92D0B317D2}" type="pres">
      <dgm:prSet presAssocID="{1A229C8A-816A-4743-B642-136D370373E1}" presName="composite1" presStyleCnt="0"/>
      <dgm:spPr/>
    </dgm:pt>
    <dgm:pt modelId="{1B81735F-00F3-4D80-B46B-7B5A9F68AC09}" type="pres">
      <dgm:prSet presAssocID="{1A229C8A-816A-4743-B642-136D370373E1}" presName="dummyNode1" presStyleLbl="node1" presStyleIdx="0" presStyleCnt="4"/>
      <dgm:spPr/>
    </dgm:pt>
    <dgm:pt modelId="{3B57807C-52C0-4AA2-9DC5-0DF2013D5AD8}" type="pres">
      <dgm:prSet presAssocID="{1A229C8A-816A-4743-B642-136D370373E1}" presName="childNode1" presStyleLbl="bgAcc1" presStyleIdx="0" presStyleCnt="4">
        <dgm:presLayoutVars>
          <dgm:bulletEnabled val="1"/>
        </dgm:presLayoutVars>
      </dgm:prSet>
      <dgm:spPr/>
    </dgm:pt>
    <dgm:pt modelId="{C4638112-417C-4457-B485-3A9D4D197067}" type="pres">
      <dgm:prSet presAssocID="{1A229C8A-816A-4743-B642-136D370373E1}" presName="childNode1tx" presStyleLbl="bgAcc1" presStyleIdx="0" presStyleCnt="4">
        <dgm:presLayoutVars>
          <dgm:bulletEnabled val="1"/>
        </dgm:presLayoutVars>
      </dgm:prSet>
      <dgm:spPr/>
    </dgm:pt>
    <dgm:pt modelId="{DA48F423-C12C-4D1F-AE96-0D6F2A6D723B}" type="pres">
      <dgm:prSet presAssocID="{1A229C8A-816A-4743-B642-136D370373E1}" presName="parentNode1" presStyleLbl="node1" presStyleIdx="0" presStyleCnt="4">
        <dgm:presLayoutVars>
          <dgm:chMax val="1"/>
          <dgm:bulletEnabled val="1"/>
        </dgm:presLayoutVars>
      </dgm:prSet>
      <dgm:spPr/>
    </dgm:pt>
    <dgm:pt modelId="{B3A2E2AD-E97B-4075-8CED-4509AE85473F}" type="pres">
      <dgm:prSet presAssocID="{1A229C8A-816A-4743-B642-136D370373E1}" presName="connSite1" presStyleCnt="0"/>
      <dgm:spPr/>
    </dgm:pt>
    <dgm:pt modelId="{B2516BDE-3759-41CB-B150-982197F82116}" type="pres">
      <dgm:prSet presAssocID="{CA141AF7-96EC-4E2E-8393-153CD0819C33}" presName="Name9" presStyleLbl="sibTrans2D1" presStyleIdx="0" presStyleCnt="3"/>
      <dgm:spPr/>
    </dgm:pt>
    <dgm:pt modelId="{A713F329-9989-434D-9B42-567C4905AE4E}" type="pres">
      <dgm:prSet presAssocID="{EDC0C87C-E87F-4289-9D9E-B2ACD8DAD9F4}" presName="composite2" presStyleCnt="0"/>
      <dgm:spPr/>
    </dgm:pt>
    <dgm:pt modelId="{177F4F52-1F8E-4EEF-8208-A767AC0A8507}" type="pres">
      <dgm:prSet presAssocID="{EDC0C87C-E87F-4289-9D9E-B2ACD8DAD9F4}" presName="dummyNode2" presStyleLbl="node1" presStyleIdx="0" presStyleCnt="4"/>
      <dgm:spPr/>
    </dgm:pt>
    <dgm:pt modelId="{F64D1A11-DE11-4FFF-95FB-125CC91F928A}" type="pres">
      <dgm:prSet presAssocID="{EDC0C87C-E87F-4289-9D9E-B2ACD8DAD9F4}" presName="childNode2" presStyleLbl="bgAcc1" presStyleIdx="1" presStyleCnt="4">
        <dgm:presLayoutVars>
          <dgm:bulletEnabled val="1"/>
        </dgm:presLayoutVars>
      </dgm:prSet>
      <dgm:spPr/>
    </dgm:pt>
    <dgm:pt modelId="{9B94CBF5-3B16-4AAE-9258-E6368D0F4D35}" type="pres">
      <dgm:prSet presAssocID="{EDC0C87C-E87F-4289-9D9E-B2ACD8DAD9F4}" presName="childNode2tx" presStyleLbl="bgAcc1" presStyleIdx="1" presStyleCnt="4">
        <dgm:presLayoutVars>
          <dgm:bulletEnabled val="1"/>
        </dgm:presLayoutVars>
      </dgm:prSet>
      <dgm:spPr/>
    </dgm:pt>
    <dgm:pt modelId="{C907A561-20D9-4BE6-AC8F-FCAE98631854}" type="pres">
      <dgm:prSet presAssocID="{EDC0C87C-E87F-4289-9D9E-B2ACD8DAD9F4}" presName="parentNode2" presStyleLbl="node1" presStyleIdx="1" presStyleCnt="4">
        <dgm:presLayoutVars>
          <dgm:chMax val="0"/>
          <dgm:bulletEnabled val="1"/>
        </dgm:presLayoutVars>
      </dgm:prSet>
      <dgm:spPr/>
    </dgm:pt>
    <dgm:pt modelId="{0ECB4648-30F0-4388-9F8B-692D5A2EB964}" type="pres">
      <dgm:prSet presAssocID="{EDC0C87C-E87F-4289-9D9E-B2ACD8DAD9F4}" presName="connSite2" presStyleCnt="0"/>
      <dgm:spPr/>
    </dgm:pt>
    <dgm:pt modelId="{86EAC12F-E6B8-41C1-ADF5-6E05CE5909DB}" type="pres">
      <dgm:prSet presAssocID="{7BCEA278-E478-42CB-B0DA-DFAC83BC7D62}" presName="Name18" presStyleLbl="sibTrans2D1" presStyleIdx="1" presStyleCnt="3"/>
      <dgm:spPr/>
    </dgm:pt>
    <dgm:pt modelId="{AE150A74-AFC3-4228-A09D-95578969FBEF}" type="pres">
      <dgm:prSet presAssocID="{A211EB56-1645-48B5-8714-5D3D95AA169C}" presName="composite1" presStyleCnt="0"/>
      <dgm:spPr/>
    </dgm:pt>
    <dgm:pt modelId="{39DE0396-F622-4DEA-96E8-9EB28DAEBCC5}" type="pres">
      <dgm:prSet presAssocID="{A211EB56-1645-48B5-8714-5D3D95AA169C}" presName="dummyNode1" presStyleLbl="node1" presStyleIdx="1" presStyleCnt="4"/>
      <dgm:spPr/>
    </dgm:pt>
    <dgm:pt modelId="{A8D15664-4E2A-4EBE-ADFA-27EAC1373917}" type="pres">
      <dgm:prSet presAssocID="{A211EB56-1645-48B5-8714-5D3D95AA169C}" presName="childNode1" presStyleLbl="bgAcc1" presStyleIdx="2" presStyleCnt="4">
        <dgm:presLayoutVars>
          <dgm:bulletEnabled val="1"/>
        </dgm:presLayoutVars>
      </dgm:prSet>
      <dgm:spPr/>
    </dgm:pt>
    <dgm:pt modelId="{4918538E-E76E-4693-A067-15B180691B77}" type="pres">
      <dgm:prSet presAssocID="{A211EB56-1645-48B5-8714-5D3D95AA169C}" presName="childNode1tx" presStyleLbl="bgAcc1" presStyleIdx="2" presStyleCnt="4">
        <dgm:presLayoutVars>
          <dgm:bulletEnabled val="1"/>
        </dgm:presLayoutVars>
      </dgm:prSet>
      <dgm:spPr/>
    </dgm:pt>
    <dgm:pt modelId="{AF8B4E76-0672-47D0-A33F-987C295F12EB}" type="pres">
      <dgm:prSet presAssocID="{A211EB56-1645-48B5-8714-5D3D95AA169C}" presName="parentNode1" presStyleLbl="node1" presStyleIdx="2" presStyleCnt="4">
        <dgm:presLayoutVars>
          <dgm:chMax val="1"/>
          <dgm:bulletEnabled val="1"/>
        </dgm:presLayoutVars>
      </dgm:prSet>
      <dgm:spPr/>
    </dgm:pt>
    <dgm:pt modelId="{55CF3974-12C5-4E2F-948F-D17AF4CF0C0B}" type="pres">
      <dgm:prSet presAssocID="{A211EB56-1645-48B5-8714-5D3D95AA169C}" presName="connSite1" presStyleCnt="0"/>
      <dgm:spPr/>
    </dgm:pt>
    <dgm:pt modelId="{F5A909CA-6FAA-4C83-BDE7-9CB88C8EEB08}" type="pres">
      <dgm:prSet presAssocID="{73BF19DB-8740-4383-A9FA-A9C9EB83E8EB}" presName="Name9" presStyleLbl="sibTrans2D1" presStyleIdx="2" presStyleCnt="3"/>
      <dgm:spPr/>
    </dgm:pt>
    <dgm:pt modelId="{0F467777-6AF2-4804-87D7-0DA6E19357DE}" type="pres">
      <dgm:prSet presAssocID="{2BA9E028-531F-4BA7-A9BB-C0DFF8206D0F}" presName="composite2" presStyleCnt="0"/>
      <dgm:spPr/>
    </dgm:pt>
    <dgm:pt modelId="{42AEA78A-041A-48A1-8E78-8CCBE0240CF4}" type="pres">
      <dgm:prSet presAssocID="{2BA9E028-531F-4BA7-A9BB-C0DFF8206D0F}" presName="dummyNode2" presStyleLbl="node1" presStyleIdx="2" presStyleCnt="4"/>
      <dgm:spPr/>
    </dgm:pt>
    <dgm:pt modelId="{BB2FB9EA-0D55-47B5-820C-7ED20FBA7804}" type="pres">
      <dgm:prSet presAssocID="{2BA9E028-531F-4BA7-A9BB-C0DFF8206D0F}" presName="childNode2" presStyleLbl="bgAcc1" presStyleIdx="3" presStyleCnt="4">
        <dgm:presLayoutVars>
          <dgm:bulletEnabled val="1"/>
        </dgm:presLayoutVars>
      </dgm:prSet>
      <dgm:spPr/>
    </dgm:pt>
    <dgm:pt modelId="{6480EB45-57FB-463A-9C4F-A574E230E30E}" type="pres">
      <dgm:prSet presAssocID="{2BA9E028-531F-4BA7-A9BB-C0DFF8206D0F}" presName="childNode2tx" presStyleLbl="bgAcc1" presStyleIdx="3" presStyleCnt="4">
        <dgm:presLayoutVars>
          <dgm:bulletEnabled val="1"/>
        </dgm:presLayoutVars>
      </dgm:prSet>
      <dgm:spPr/>
    </dgm:pt>
    <dgm:pt modelId="{9E8F0F5A-667C-4A5F-83ED-94874B2B14BB}" type="pres">
      <dgm:prSet presAssocID="{2BA9E028-531F-4BA7-A9BB-C0DFF8206D0F}" presName="parentNode2" presStyleLbl="node1" presStyleIdx="3" presStyleCnt="4">
        <dgm:presLayoutVars>
          <dgm:chMax val="0"/>
          <dgm:bulletEnabled val="1"/>
        </dgm:presLayoutVars>
      </dgm:prSet>
      <dgm:spPr/>
    </dgm:pt>
    <dgm:pt modelId="{2D929AEC-21FE-4487-A7F3-731125B6F1B0}" type="pres">
      <dgm:prSet presAssocID="{2BA9E028-531F-4BA7-A9BB-C0DFF8206D0F}" presName="connSite2" presStyleCnt="0"/>
      <dgm:spPr/>
    </dgm:pt>
  </dgm:ptLst>
  <dgm:cxnLst>
    <dgm:cxn modelId="{B9BC2B1F-BE62-4DD9-92BC-7E80E379BD09}" srcId="{EDC0C87C-E87F-4289-9D9E-B2ACD8DAD9F4}" destId="{7C25B012-D1D0-4ED5-B7B3-00C4B697AF40}" srcOrd="0" destOrd="0" parTransId="{B984518B-8315-49D2-AF75-2EFF57CC09B5}" sibTransId="{83377FC8-2139-4412-B512-C0D4B9C17C19}"/>
    <dgm:cxn modelId="{A53E5E25-AA9F-4743-81D0-29F1FAB604BF}" type="presOf" srcId="{487178E5-FAC5-4992-BBD2-939308DA0917}" destId="{C4638112-417C-4457-B485-3A9D4D197067}" srcOrd="1" destOrd="0" presId="urn:microsoft.com/office/officeart/2005/8/layout/hProcess4"/>
    <dgm:cxn modelId="{015BFB2B-5985-4ACD-89FF-09E40F0B0B1A}" type="presOf" srcId="{47DC8779-CA58-4039-A1C0-392D22E08361}" destId="{4918538E-E76E-4693-A067-15B180691B77}" srcOrd="1" destOrd="0" presId="urn:microsoft.com/office/officeart/2005/8/layout/hProcess4"/>
    <dgm:cxn modelId="{FF286F36-091B-4D7A-B493-5026C745A3CC}" type="presOf" srcId="{3A094C08-BEE1-48E7-90AD-04B37BDE3256}" destId="{BB2FB9EA-0D55-47B5-820C-7ED20FBA7804}" srcOrd="0" destOrd="1" presId="urn:microsoft.com/office/officeart/2005/8/layout/hProcess4"/>
    <dgm:cxn modelId="{497E4337-73B7-433F-9C6D-7B3A3974001D}" type="presOf" srcId="{3A094C08-BEE1-48E7-90AD-04B37BDE3256}" destId="{6480EB45-57FB-463A-9C4F-A574E230E30E}" srcOrd="1" destOrd="1" presId="urn:microsoft.com/office/officeart/2005/8/layout/hProcess4"/>
    <dgm:cxn modelId="{875C5B62-1581-4EDD-944F-7373FAA44ABC}" type="presOf" srcId="{5960E874-CC09-4734-964A-983BFCA96835}" destId="{A8D15664-4E2A-4EBE-ADFA-27EAC1373917}" srcOrd="0" destOrd="1" presId="urn:microsoft.com/office/officeart/2005/8/layout/hProcess4"/>
    <dgm:cxn modelId="{B4940344-A970-47CD-9C43-86A979618C63}" type="presOf" srcId="{7C25B012-D1D0-4ED5-B7B3-00C4B697AF40}" destId="{F64D1A11-DE11-4FFF-95FB-125CC91F928A}" srcOrd="0" destOrd="0" presId="urn:microsoft.com/office/officeart/2005/8/layout/hProcess4"/>
    <dgm:cxn modelId="{A82B5C65-494B-4E1B-B897-23091F90A596}" type="presOf" srcId="{7C25B012-D1D0-4ED5-B7B3-00C4B697AF40}" destId="{9B94CBF5-3B16-4AAE-9258-E6368D0F4D35}" srcOrd="1" destOrd="0" presId="urn:microsoft.com/office/officeart/2005/8/layout/hProcess4"/>
    <dgm:cxn modelId="{0094FD4F-A5B4-41B7-948B-1E1A5B994146}" srcId="{1A229C8A-816A-4743-B642-136D370373E1}" destId="{487178E5-FAC5-4992-BBD2-939308DA0917}" srcOrd="0" destOrd="0" parTransId="{448C0BED-A1DD-4B34-B4F6-77E05007BCE3}" sibTransId="{1544253F-D58D-4A4B-B84F-D6F298768ED0}"/>
    <dgm:cxn modelId="{B5A4F570-F2EC-4E26-91A7-28A4E04DDF3F}" type="presOf" srcId="{1A229C8A-816A-4743-B642-136D370373E1}" destId="{DA48F423-C12C-4D1F-AE96-0D6F2A6D723B}" srcOrd="0" destOrd="0" presId="urn:microsoft.com/office/officeart/2005/8/layout/hProcess4"/>
    <dgm:cxn modelId="{F338E353-6142-491A-ACDA-74075C0B0B42}" srcId="{2BA9E028-531F-4BA7-A9BB-C0DFF8206D0F}" destId="{7C873723-8B62-4C8F-A7CB-DD6C95E36322}" srcOrd="0" destOrd="0" parTransId="{37597E32-49FB-4429-A6DB-1EC0EF273786}" sibTransId="{3CACFD65-DAAB-4AA6-ABFD-F747AE7E2D98}"/>
    <dgm:cxn modelId="{5D004074-91AC-4603-B57F-D5BDC1DEB7CD}" type="presOf" srcId="{73BF19DB-8740-4383-A9FA-A9C9EB83E8EB}" destId="{F5A909CA-6FAA-4C83-BDE7-9CB88C8EEB08}" srcOrd="0" destOrd="0" presId="urn:microsoft.com/office/officeart/2005/8/layout/hProcess4"/>
    <dgm:cxn modelId="{18480877-A7F7-4B53-97C0-357490A0DF21}" srcId="{EBBB29E2-78E3-4777-8E34-C7E31E4C6E45}" destId="{EDC0C87C-E87F-4289-9D9E-B2ACD8DAD9F4}" srcOrd="1" destOrd="0" parTransId="{1AFEB7B9-4AE8-4EF6-94B3-E7168EE661EE}" sibTransId="{7BCEA278-E478-42CB-B0DA-DFAC83BC7D62}"/>
    <dgm:cxn modelId="{2706E157-AB95-4C41-BF2B-31B952285CAF}" type="presOf" srcId="{487178E5-FAC5-4992-BBD2-939308DA0917}" destId="{3B57807C-52C0-4AA2-9DC5-0DF2013D5AD8}" srcOrd="0" destOrd="0" presId="urn:microsoft.com/office/officeart/2005/8/layout/hProcess4"/>
    <dgm:cxn modelId="{3BEC9E8B-1667-4CCF-AB8D-ED3707AB38A8}" srcId="{EBBB29E2-78E3-4777-8E34-C7E31E4C6E45}" destId="{A211EB56-1645-48B5-8714-5D3D95AA169C}" srcOrd="2" destOrd="0" parTransId="{B2CC121D-3742-4EFF-86E4-C022F03411EE}" sibTransId="{73BF19DB-8740-4383-A9FA-A9C9EB83E8EB}"/>
    <dgm:cxn modelId="{9E04928E-7EA7-4443-8610-6EB892D407F0}" srcId="{2BA9E028-531F-4BA7-A9BB-C0DFF8206D0F}" destId="{3A094C08-BEE1-48E7-90AD-04B37BDE3256}" srcOrd="1" destOrd="0" parTransId="{BF76DD59-6E55-435C-98FE-CB2433ED63E7}" sibTransId="{C9CBE175-5D17-49E9-B12E-D74B9EB0F49F}"/>
    <dgm:cxn modelId="{5E26AC9A-D8F2-4EDB-BE83-C3F31FC4B782}" srcId="{A211EB56-1645-48B5-8714-5D3D95AA169C}" destId="{5960E874-CC09-4734-964A-983BFCA96835}" srcOrd="1" destOrd="0" parTransId="{64DB7B71-CCCD-43BF-AB52-AA2B955C27D3}" sibTransId="{D8D49585-B0B4-4EF1-97A8-15434216EBA2}"/>
    <dgm:cxn modelId="{5C0C859E-A254-47A9-82B7-72B9C5F5ECD3}" type="presOf" srcId="{8004B176-D050-441A-B834-2B53250E77D5}" destId="{C4638112-417C-4457-B485-3A9D4D197067}" srcOrd="1" destOrd="1" presId="urn:microsoft.com/office/officeart/2005/8/layout/hProcess4"/>
    <dgm:cxn modelId="{CA61F6A6-C467-4543-8892-84C151AFB23B}" type="presOf" srcId="{47DC8779-CA58-4039-A1C0-392D22E08361}" destId="{A8D15664-4E2A-4EBE-ADFA-27EAC1373917}" srcOrd="0" destOrd="0" presId="urn:microsoft.com/office/officeart/2005/8/layout/hProcess4"/>
    <dgm:cxn modelId="{DE7836AD-BF94-4F7A-888C-10BC6A6AB5DB}" srcId="{EBBB29E2-78E3-4777-8E34-C7E31E4C6E45}" destId="{2BA9E028-531F-4BA7-A9BB-C0DFF8206D0F}" srcOrd="3" destOrd="0" parTransId="{9568F430-9EF9-4CF2-B349-6795C1B65BD2}" sibTransId="{74E07BCC-DB98-499E-84EC-CF6912666E92}"/>
    <dgm:cxn modelId="{6F376BB3-3B3B-4C95-8ADF-7C6E23CAE5E8}" srcId="{A211EB56-1645-48B5-8714-5D3D95AA169C}" destId="{47DC8779-CA58-4039-A1C0-392D22E08361}" srcOrd="0" destOrd="0" parTransId="{7574E0DC-C656-437E-B8FD-64BD534735E4}" sibTransId="{2307E483-9FB6-4CA7-B274-82615B33D924}"/>
    <dgm:cxn modelId="{0567CCBD-6A3C-4FDD-8B31-8B845C94868E}" type="presOf" srcId="{A14EE9E4-93DB-41C5-ACAA-5B0378F05820}" destId="{9B94CBF5-3B16-4AAE-9258-E6368D0F4D35}" srcOrd="1" destOrd="1" presId="urn:microsoft.com/office/officeart/2005/8/layout/hProcess4"/>
    <dgm:cxn modelId="{C27F69C3-2195-4390-8E39-9678D10B0C03}" type="presOf" srcId="{2BA9E028-531F-4BA7-A9BB-C0DFF8206D0F}" destId="{9E8F0F5A-667C-4A5F-83ED-94874B2B14BB}" srcOrd="0" destOrd="0" presId="urn:microsoft.com/office/officeart/2005/8/layout/hProcess4"/>
    <dgm:cxn modelId="{E130B4C3-0D6F-43A4-9A7A-5EBED9E427BE}" srcId="{1A229C8A-816A-4743-B642-136D370373E1}" destId="{8004B176-D050-441A-B834-2B53250E77D5}" srcOrd="1" destOrd="0" parTransId="{10437AAD-90CE-4F59-8C11-D55AF691A684}" sibTransId="{D525DEFC-7B33-4FA7-806A-0E99DEB05135}"/>
    <dgm:cxn modelId="{44BAA4C4-4591-4F98-B901-10E2D22F24BE}" type="presOf" srcId="{8004B176-D050-441A-B834-2B53250E77D5}" destId="{3B57807C-52C0-4AA2-9DC5-0DF2013D5AD8}" srcOrd="0" destOrd="1" presId="urn:microsoft.com/office/officeart/2005/8/layout/hProcess4"/>
    <dgm:cxn modelId="{204B4AC7-3D8E-4A85-B502-1947319FFF31}" srcId="{EBBB29E2-78E3-4777-8E34-C7E31E4C6E45}" destId="{1A229C8A-816A-4743-B642-136D370373E1}" srcOrd="0" destOrd="0" parTransId="{76FE9FFB-AD1D-41FF-8601-544DDAC0CFCB}" sibTransId="{CA141AF7-96EC-4E2E-8393-153CD0819C33}"/>
    <dgm:cxn modelId="{7EFE81CA-21D4-4190-AF06-6D367115E1DB}" type="presOf" srcId="{7BCEA278-E478-42CB-B0DA-DFAC83BC7D62}" destId="{86EAC12F-E6B8-41C1-ADF5-6E05CE5909DB}" srcOrd="0" destOrd="0" presId="urn:microsoft.com/office/officeart/2005/8/layout/hProcess4"/>
    <dgm:cxn modelId="{CB070ACC-530C-4FE6-B249-892DAD33E4EE}" type="presOf" srcId="{EDC0C87C-E87F-4289-9D9E-B2ACD8DAD9F4}" destId="{C907A561-20D9-4BE6-AC8F-FCAE98631854}" srcOrd="0" destOrd="0" presId="urn:microsoft.com/office/officeart/2005/8/layout/hProcess4"/>
    <dgm:cxn modelId="{A85D89DA-1936-4A22-AEA0-126D7AAEBA40}" type="presOf" srcId="{7C873723-8B62-4C8F-A7CB-DD6C95E36322}" destId="{BB2FB9EA-0D55-47B5-820C-7ED20FBA7804}" srcOrd="0" destOrd="0" presId="urn:microsoft.com/office/officeart/2005/8/layout/hProcess4"/>
    <dgm:cxn modelId="{04F840DE-4E79-4E63-995D-EF015BE7BCC9}" type="presOf" srcId="{EBBB29E2-78E3-4777-8E34-C7E31E4C6E45}" destId="{B3412FCA-7BDB-486D-B45C-A0805DE66CBA}" srcOrd="0" destOrd="0" presId="urn:microsoft.com/office/officeart/2005/8/layout/hProcess4"/>
    <dgm:cxn modelId="{392E9EE1-FC8B-41D0-B9E9-6C4C92BC13C0}" type="presOf" srcId="{5960E874-CC09-4734-964A-983BFCA96835}" destId="{4918538E-E76E-4693-A067-15B180691B77}" srcOrd="1" destOrd="1" presId="urn:microsoft.com/office/officeart/2005/8/layout/hProcess4"/>
    <dgm:cxn modelId="{B97A7EE3-3675-40BD-94EA-84071664BFE4}" srcId="{EDC0C87C-E87F-4289-9D9E-B2ACD8DAD9F4}" destId="{A14EE9E4-93DB-41C5-ACAA-5B0378F05820}" srcOrd="1" destOrd="0" parTransId="{E458A47F-3B7F-4EB1-B5CA-0116FFF68C2C}" sibTransId="{B70C5778-AFDF-4848-98B7-7BF5B28B42FC}"/>
    <dgm:cxn modelId="{ED403EE8-8BA9-4754-BF5F-541121E0FFF0}" type="presOf" srcId="{CA141AF7-96EC-4E2E-8393-153CD0819C33}" destId="{B2516BDE-3759-41CB-B150-982197F82116}" srcOrd="0" destOrd="0" presId="urn:microsoft.com/office/officeart/2005/8/layout/hProcess4"/>
    <dgm:cxn modelId="{685667EC-BD7C-4D8B-9DE8-009F5ABC74CD}" type="presOf" srcId="{7C873723-8B62-4C8F-A7CB-DD6C95E36322}" destId="{6480EB45-57FB-463A-9C4F-A574E230E30E}" srcOrd="1" destOrd="0" presId="urn:microsoft.com/office/officeart/2005/8/layout/hProcess4"/>
    <dgm:cxn modelId="{9F2B72F6-9511-4BFE-9C21-4E627BA5B289}" type="presOf" srcId="{A211EB56-1645-48B5-8714-5D3D95AA169C}" destId="{AF8B4E76-0672-47D0-A33F-987C295F12EB}" srcOrd="0" destOrd="0" presId="urn:microsoft.com/office/officeart/2005/8/layout/hProcess4"/>
    <dgm:cxn modelId="{5D634DFC-C6F4-4441-96D9-59ABB92127C5}" type="presOf" srcId="{A14EE9E4-93DB-41C5-ACAA-5B0378F05820}" destId="{F64D1A11-DE11-4FFF-95FB-125CC91F928A}" srcOrd="0" destOrd="1" presId="urn:microsoft.com/office/officeart/2005/8/layout/hProcess4"/>
    <dgm:cxn modelId="{90DF926A-EC8A-426D-8621-53CFD62F2368}" type="presParOf" srcId="{B3412FCA-7BDB-486D-B45C-A0805DE66CBA}" destId="{02461961-0AF4-4C4D-A28B-0569BD63656D}" srcOrd="0" destOrd="0" presId="urn:microsoft.com/office/officeart/2005/8/layout/hProcess4"/>
    <dgm:cxn modelId="{9C87F792-C38B-4E00-8DFC-84D4F2127D49}" type="presParOf" srcId="{B3412FCA-7BDB-486D-B45C-A0805DE66CBA}" destId="{1267A547-A2B8-4D64-A345-B8A7A986C4B2}" srcOrd="1" destOrd="0" presId="urn:microsoft.com/office/officeart/2005/8/layout/hProcess4"/>
    <dgm:cxn modelId="{FA223E48-A683-4941-B1DB-56EE35BEBA48}" type="presParOf" srcId="{B3412FCA-7BDB-486D-B45C-A0805DE66CBA}" destId="{E86E90D9-CC81-4763-A1DC-599D334CE899}" srcOrd="2" destOrd="0" presId="urn:microsoft.com/office/officeart/2005/8/layout/hProcess4"/>
    <dgm:cxn modelId="{A38BE3FC-4F08-4D88-A5F3-9908046FEED1}" type="presParOf" srcId="{E86E90D9-CC81-4763-A1DC-599D334CE899}" destId="{C008E595-0BCC-4C9D-983F-4B92D0B317D2}" srcOrd="0" destOrd="0" presId="urn:microsoft.com/office/officeart/2005/8/layout/hProcess4"/>
    <dgm:cxn modelId="{0D6E757E-72B4-4985-A784-CBDAE6551CBA}" type="presParOf" srcId="{C008E595-0BCC-4C9D-983F-4B92D0B317D2}" destId="{1B81735F-00F3-4D80-B46B-7B5A9F68AC09}" srcOrd="0" destOrd="0" presId="urn:microsoft.com/office/officeart/2005/8/layout/hProcess4"/>
    <dgm:cxn modelId="{F5B89A00-4869-49A8-8406-1EA185616643}" type="presParOf" srcId="{C008E595-0BCC-4C9D-983F-4B92D0B317D2}" destId="{3B57807C-52C0-4AA2-9DC5-0DF2013D5AD8}" srcOrd="1" destOrd="0" presId="urn:microsoft.com/office/officeart/2005/8/layout/hProcess4"/>
    <dgm:cxn modelId="{C6B696E4-FA88-4853-AA4B-6429EEA2A32E}" type="presParOf" srcId="{C008E595-0BCC-4C9D-983F-4B92D0B317D2}" destId="{C4638112-417C-4457-B485-3A9D4D197067}" srcOrd="2" destOrd="0" presId="urn:microsoft.com/office/officeart/2005/8/layout/hProcess4"/>
    <dgm:cxn modelId="{6CA276FA-F4E8-4860-9A45-30B131D67341}" type="presParOf" srcId="{C008E595-0BCC-4C9D-983F-4B92D0B317D2}" destId="{DA48F423-C12C-4D1F-AE96-0D6F2A6D723B}" srcOrd="3" destOrd="0" presId="urn:microsoft.com/office/officeart/2005/8/layout/hProcess4"/>
    <dgm:cxn modelId="{0CA9CE73-2D1C-4AA7-B72D-253E5EC0871E}" type="presParOf" srcId="{C008E595-0BCC-4C9D-983F-4B92D0B317D2}" destId="{B3A2E2AD-E97B-4075-8CED-4509AE85473F}" srcOrd="4" destOrd="0" presId="urn:microsoft.com/office/officeart/2005/8/layout/hProcess4"/>
    <dgm:cxn modelId="{A91FCC57-FC10-4569-9FCF-5F0E1A2D36C9}" type="presParOf" srcId="{E86E90D9-CC81-4763-A1DC-599D334CE899}" destId="{B2516BDE-3759-41CB-B150-982197F82116}" srcOrd="1" destOrd="0" presId="urn:microsoft.com/office/officeart/2005/8/layout/hProcess4"/>
    <dgm:cxn modelId="{CEE92AFE-87E6-40FA-83B4-A25EDB66D372}" type="presParOf" srcId="{E86E90D9-CC81-4763-A1DC-599D334CE899}" destId="{A713F329-9989-434D-9B42-567C4905AE4E}" srcOrd="2" destOrd="0" presId="urn:microsoft.com/office/officeart/2005/8/layout/hProcess4"/>
    <dgm:cxn modelId="{84162682-12E6-4F61-841F-10F3B2EA4EC3}" type="presParOf" srcId="{A713F329-9989-434D-9B42-567C4905AE4E}" destId="{177F4F52-1F8E-4EEF-8208-A767AC0A8507}" srcOrd="0" destOrd="0" presId="urn:microsoft.com/office/officeart/2005/8/layout/hProcess4"/>
    <dgm:cxn modelId="{2BBE9D75-387D-4923-9DFB-3C4E6F9758A0}" type="presParOf" srcId="{A713F329-9989-434D-9B42-567C4905AE4E}" destId="{F64D1A11-DE11-4FFF-95FB-125CC91F928A}" srcOrd="1" destOrd="0" presId="urn:microsoft.com/office/officeart/2005/8/layout/hProcess4"/>
    <dgm:cxn modelId="{CAEBECC3-93A5-4878-A516-ECB955B2FE12}" type="presParOf" srcId="{A713F329-9989-434D-9B42-567C4905AE4E}" destId="{9B94CBF5-3B16-4AAE-9258-E6368D0F4D35}" srcOrd="2" destOrd="0" presId="urn:microsoft.com/office/officeart/2005/8/layout/hProcess4"/>
    <dgm:cxn modelId="{A0F60547-5DD8-4338-9CB4-FB6F97FE2E46}" type="presParOf" srcId="{A713F329-9989-434D-9B42-567C4905AE4E}" destId="{C907A561-20D9-4BE6-AC8F-FCAE98631854}" srcOrd="3" destOrd="0" presId="urn:microsoft.com/office/officeart/2005/8/layout/hProcess4"/>
    <dgm:cxn modelId="{DF717D9B-C4D4-4F54-AFC7-5435B3A9D434}" type="presParOf" srcId="{A713F329-9989-434D-9B42-567C4905AE4E}" destId="{0ECB4648-30F0-4388-9F8B-692D5A2EB964}" srcOrd="4" destOrd="0" presId="urn:microsoft.com/office/officeart/2005/8/layout/hProcess4"/>
    <dgm:cxn modelId="{5D153B2B-F2C8-4FBC-9CDC-36854B713239}" type="presParOf" srcId="{E86E90D9-CC81-4763-A1DC-599D334CE899}" destId="{86EAC12F-E6B8-41C1-ADF5-6E05CE5909DB}" srcOrd="3" destOrd="0" presId="urn:microsoft.com/office/officeart/2005/8/layout/hProcess4"/>
    <dgm:cxn modelId="{CC4171C0-3211-48B6-9289-94E877A1B724}" type="presParOf" srcId="{E86E90D9-CC81-4763-A1DC-599D334CE899}" destId="{AE150A74-AFC3-4228-A09D-95578969FBEF}" srcOrd="4" destOrd="0" presId="urn:microsoft.com/office/officeart/2005/8/layout/hProcess4"/>
    <dgm:cxn modelId="{DDA7A5FD-EC85-42DC-9E93-81FCEBA9BC01}" type="presParOf" srcId="{AE150A74-AFC3-4228-A09D-95578969FBEF}" destId="{39DE0396-F622-4DEA-96E8-9EB28DAEBCC5}" srcOrd="0" destOrd="0" presId="urn:microsoft.com/office/officeart/2005/8/layout/hProcess4"/>
    <dgm:cxn modelId="{3A46484B-C7C4-4D60-B462-BF7B5A1BC096}" type="presParOf" srcId="{AE150A74-AFC3-4228-A09D-95578969FBEF}" destId="{A8D15664-4E2A-4EBE-ADFA-27EAC1373917}" srcOrd="1" destOrd="0" presId="urn:microsoft.com/office/officeart/2005/8/layout/hProcess4"/>
    <dgm:cxn modelId="{6A48BCF4-7A6F-4A07-AFC0-D77110294A1A}" type="presParOf" srcId="{AE150A74-AFC3-4228-A09D-95578969FBEF}" destId="{4918538E-E76E-4693-A067-15B180691B77}" srcOrd="2" destOrd="0" presId="urn:microsoft.com/office/officeart/2005/8/layout/hProcess4"/>
    <dgm:cxn modelId="{00CD70B7-7579-4C48-9EFF-3D9F9AB502E5}" type="presParOf" srcId="{AE150A74-AFC3-4228-A09D-95578969FBEF}" destId="{AF8B4E76-0672-47D0-A33F-987C295F12EB}" srcOrd="3" destOrd="0" presId="urn:microsoft.com/office/officeart/2005/8/layout/hProcess4"/>
    <dgm:cxn modelId="{B1634CD0-B769-4C21-9277-E50F0383C4B0}" type="presParOf" srcId="{AE150A74-AFC3-4228-A09D-95578969FBEF}" destId="{55CF3974-12C5-4E2F-948F-D17AF4CF0C0B}" srcOrd="4" destOrd="0" presId="urn:microsoft.com/office/officeart/2005/8/layout/hProcess4"/>
    <dgm:cxn modelId="{CFD6433A-7A80-4505-AE8B-8D32F741F602}" type="presParOf" srcId="{E86E90D9-CC81-4763-A1DC-599D334CE899}" destId="{F5A909CA-6FAA-4C83-BDE7-9CB88C8EEB08}" srcOrd="5" destOrd="0" presId="urn:microsoft.com/office/officeart/2005/8/layout/hProcess4"/>
    <dgm:cxn modelId="{87006418-E695-460E-80C1-F02BF8965557}" type="presParOf" srcId="{E86E90D9-CC81-4763-A1DC-599D334CE899}" destId="{0F467777-6AF2-4804-87D7-0DA6E19357DE}" srcOrd="6" destOrd="0" presId="urn:microsoft.com/office/officeart/2005/8/layout/hProcess4"/>
    <dgm:cxn modelId="{392E9905-F6FC-4012-B446-BC4BE57986AB}" type="presParOf" srcId="{0F467777-6AF2-4804-87D7-0DA6E19357DE}" destId="{42AEA78A-041A-48A1-8E78-8CCBE0240CF4}" srcOrd="0" destOrd="0" presId="urn:microsoft.com/office/officeart/2005/8/layout/hProcess4"/>
    <dgm:cxn modelId="{84C8E1FD-EE9F-4571-ACAE-0334C160D041}" type="presParOf" srcId="{0F467777-6AF2-4804-87D7-0DA6E19357DE}" destId="{BB2FB9EA-0D55-47B5-820C-7ED20FBA7804}" srcOrd="1" destOrd="0" presId="urn:microsoft.com/office/officeart/2005/8/layout/hProcess4"/>
    <dgm:cxn modelId="{394C35F8-A674-4AFE-969D-EFA6088DEF5D}" type="presParOf" srcId="{0F467777-6AF2-4804-87D7-0DA6E19357DE}" destId="{6480EB45-57FB-463A-9C4F-A574E230E30E}" srcOrd="2" destOrd="0" presId="urn:microsoft.com/office/officeart/2005/8/layout/hProcess4"/>
    <dgm:cxn modelId="{15272287-322D-4BC5-AB22-24CEC9A3981D}" type="presParOf" srcId="{0F467777-6AF2-4804-87D7-0DA6E19357DE}" destId="{9E8F0F5A-667C-4A5F-83ED-94874B2B14BB}" srcOrd="3" destOrd="0" presId="urn:microsoft.com/office/officeart/2005/8/layout/hProcess4"/>
    <dgm:cxn modelId="{B3211F07-C8CC-4405-8ED1-5D3CB5C6A6DE}" type="presParOf" srcId="{0F467777-6AF2-4804-87D7-0DA6E19357DE}" destId="{2D929AEC-21FE-4487-A7F3-731125B6F1B0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57807C-52C0-4AA2-9DC5-0DF2013D5AD8}">
      <dsp:nvSpPr>
        <dsp:cNvPr id="0" name=""/>
        <dsp:cNvSpPr/>
      </dsp:nvSpPr>
      <dsp:spPr>
        <a:xfrm>
          <a:off x="3067" y="1402489"/>
          <a:ext cx="2483480" cy="20483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Understanding Data-Set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Tagging Data</a:t>
          </a:r>
        </a:p>
      </dsp:txBody>
      <dsp:txXfrm>
        <a:off x="50205" y="1449627"/>
        <a:ext cx="2389204" cy="1515143"/>
      </dsp:txXfrm>
    </dsp:sp>
    <dsp:sp modelId="{B2516BDE-3759-41CB-B150-982197F82116}">
      <dsp:nvSpPr>
        <dsp:cNvPr id="0" name=""/>
        <dsp:cNvSpPr/>
      </dsp:nvSpPr>
      <dsp:spPr>
        <a:xfrm>
          <a:off x="1357943" y="1743897"/>
          <a:ext cx="2955160" cy="2955160"/>
        </a:xfrm>
        <a:prstGeom prst="leftCircularArrow">
          <a:avLst>
            <a:gd name="adj1" fmla="val 3881"/>
            <a:gd name="adj2" fmla="val 486006"/>
            <a:gd name="adj3" fmla="val 2261516"/>
            <a:gd name="adj4" fmla="val 9024489"/>
            <a:gd name="adj5" fmla="val 4528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48F423-C12C-4D1F-AE96-0D6F2A6D723B}">
      <dsp:nvSpPr>
        <dsp:cNvPr id="0" name=""/>
        <dsp:cNvSpPr/>
      </dsp:nvSpPr>
      <dsp:spPr>
        <a:xfrm>
          <a:off x="554951" y="3011908"/>
          <a:ext cx="2207537" cy="87786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Data-IN</a:t>
          </a:r>
        </a:p>
      </dsp:txBody>
      <dsp:txXfrm>
        <a:off x="580663" y="3037620"/>
        <a:ext cx="2156113" cy="826441"/>
      </dsp:txXfrm>
    </dsp:sp>
    <dsp:sp modelId="{F64D1A11-DE11-4FFF-95FB-125CC91F928A}">
      <dsp:nvSpPr>
        <dsp:cNvPr id="0" name=""/>
        <dsp:cNvSpPr/>
      </dsp:nvSpPr>
      <dsp:spPr>
        <a:xfrm>
          <a:off x="3308673" y="1402489"/>
          <a:ext cx="2483480" cy="20483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Data Clean-Up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tandardization</a:t>
          </a:r>
        </a:p>
      </dsp:txBody>
      <dsp:txXfrm>
        <a:off x="3355811" y="1888559"/>
        <a:ext cx="2389204" cy="1515143"/>
      </dsp:txXfrm>
    </dsp:sp>
    <dsp:sp modelId="{86EAC12F-E6B8-41C1-ADF5-6E05CE5909DB}">
      <dsp:nvSpPr>
        <dsp:cNvPr id="0" name=""/>
        <dsp:cNvSpPr/>
      </dsp:nvSpPr>
      <dsp:spPr>
        <a:xfrm>
          <a:off x="4642854" y="73957"/>
          <a:ext cx="3272494" cy="3272494"/>
        </a:xfrm>
        <a:prstGeom prst="circularArrow">
          <a:avLst>
            <a:gd name="adj1" fmla="val 3505"/>
            <a:gd name="adj2" fmla="val 434933"/>
            <a:gd name="adj3" fmla="val 19389557"/>
            <a:gd name="adj4" fmla="val 12575511"/>
            <a:gd name="adj5" fmla="val 4089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07A561-20D9-4BE6-AC8F-FCAE98631854}">
      <dsp:nvSpPr>
        <dsp:cNvPr id="0" name=""/>
        <dsp:cNvSpPr/>
      </dsp:nvSpPr>
      <dsp:spPr>
        <a:xfrm>
          <a:off x="3860558" y="963556"/>
          <a:ext cx="2207537" cy="87786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rocess</a:t>
          </a:r>
        </a:p>
      </dsp:txBody>
      <dsp:txXfrm>
        <a:off x="3886270" y="989268"/>
        <a:ext cx="2156113" cy="826441"/>
      </dsp:txXfrm>
    </dsp:sp>
    <dsp:sp modelId="{A8D15664-4E2A-4EBE-ADFA-27EAC1373917}">
      <dsp:nvSpPr>
        <dsp:cNvPr id="0" name=""/>
        <dsp:cNvSpPr/>
      </dsp:nvSpPr>
      <dsp:spPr>
        <a:xfrm>
          <a:off x="6614280" y="1402489"/>
          <a:ext cx="2483480" cy="20483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Model-Driven parsing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attern Identification</a:t>
          </a:r>
        </a:p>
      </dsp:txBody>
      <dsp:txXfrm>
        <a:off x="6661418" y="1449627"/>
        <a:ext cx="2389204" cy="1515143"/>
      </dsp:txXfrm>
    </dsp:sp>
    <dsp:sp modelId="{F5A909CA-6FAA-4C83-BDE7-9CB88C8EEB08}">
      <dsp:nvSpPr>
        <dsp:cNvPr id="0" name=""/>
        <dsp:cNvSpPr/>
      </dsp:nvSpPr>
      <dsp:spPr>
        <a:xfrm>
          <a:off x="7969156" y="1743897"/>
          <a:ext cx="2955160" cy="2955160"/>
        </a:xfrm>
        <a:prstGeom prst="leftCircularArrow">
          <a:avLst>
            <a:gd name="adj1" fmla="val 3881"/>
            <a:gd name="adj2" fmla="val 486006"/>
            <a:gd name="adj3" fmla="val 2261516"/>
            <a:gd name="adj4" fmla="val 9024489"/>
            <a:gd name="adj5" fmla="val 4528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8B4E76-0672-47D0-A33F-987C295F12EB}">
      <dsp:nvSpPr>
        <dsp:cNvPr id="0" name=""/>
        <dsp:cNvSpPr/>
      </dsp:nvSpPr>
      <dsp:spPr>
        <a:xfrm>
          <a:off x="7166165" y="3011908"/>
          <a:ext cx="2207537" cy="877865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pply Intelligence</a:t>
          </a:r>
        </a:p>
      </dsp:txBody>
      <dsp:txXfrm>
        <a:off x="7191877" y="3037620"/>
        <a:ext cx="2156113" cy="826441"/>
      </dsp:txXfrm>
    </dsp:sp>
    <dsp:sp modelId="{BB2FB9EA-0D55-47B5-820C-7ED20FBA7804}">
      <dsp:nvSpPr>
        <dsp:cNvPr id="0" name=""/>
        <dsp:cNvSpPr/>
      </dsp:nvSpPr>
      <dsp:spPr>
        <a:xfrm>
          <a:off x="9919887" y="1402489"/>
          <a:ext cx="2483480" cy="20483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redict Next Best-Step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rovide Recommendation to Investigator</a:t>
          </a:r>
        </a:p>
      </dsp:txBody>
      <dsp:txXfrm>
        <a:off x="9967025" y="1888559"/>
        <a:ext cx="2389204" cy="1515143"/>
      </dsp:txXfrm>
    </dsp:sp>
    <dsp:sp modelId="{9E8F0F5A-667C-4A5F-83ED-94874B2B14BB}">
      <dsp:nvSpPr>
        <dsp:cNvPr id="0" name=""/>
        <dsp:cNvSpPr/>
      </dsp:nvSpPr>
      <dsp:spPr>
        <a:xfrm>
          <a:off x="10471771" y="963556"/>
          <a:ext cx="2207537" cy="87786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Wisdom-Out</a:t>
          </a:r>
        </a:p>
      </dsp:txBody>
      <dsp:txXfrm>
        <a:off x="10497483" y="989268"/>
        <a:ext cx="2156113" cy="8264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8" cy="50109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2598" y="1"/>
            <a:ext cx="2985558" cy="50109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200" smtClean="0"/>
            </a:lvl1pPr>
          </a:lstStyle>
          <a:p>
            <a:pPr>
              <a:defRPr/>
            </a:pPr>
            <a:fld id="{E93E9B1A-2685-4074-914D-318E5889D68D}" type="datetimeFigureOut">
              <a:rPr lang="en-US"/>
              <a:pPr>
                <a:defRPr/>
              </a:pPr>
              <a:t>4/2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8" cy="501094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2598" y="9519055"/>
            <a:ext cx="2985558" cy="501094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546AF5E4-0ACE-4C36-8492-A204F58A9F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4920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8" cy="50109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8" y="1"/>
            <a:ext cx="2985558" cy="50109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F19585C-2E0B-4420-B258-D9F928A50F64}" type="datetimeFigureOut">
              <a:rPr lang="en-US"/>
              <a:pPr>
                <a:defRPr/>
              </a:pPr>
              <a:t>4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50888"/>
            <a:ext cx="6677025" cy="3759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8" tIns="46584" rIns="93168" bIns="4658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760398"/>
            <a:ext cx="5511800" cy="4509849"/>
          </a:xfrm>
          <a:prstGeom prst="rect">
            <a:avLst/>
          </a:prstGeom>
        </p:spPr>
        <p:txBody>
          <a:bodyPr vert="horz" lIns="93168" tIns="46584" rIns="93168" bIns="46584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8" cy="501094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8" y="9519055"/>
            <a:ext cx="2985558" cy="501094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DA442A-3246-44B5-AD22-F80ADB16E3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0732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816348" algn="l" rtl="0" eaLnBrk="0" fontAlgn="base" hangingPunct="0">
      <a:spcBef>
        <a:spcPct val="30000"/>
      </a:spcBef>
      <a:spcAft>
        <a:spcPct val="0"/>
      </a:spcAft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632688" algn="l" rtl="0" eaLnBrk="0" fontAlgn="base" hangingPunct="0">
      <a:spcBef>
        <a:spcPct val="30000"/>
      </a:spcBef>
      <a:spcAft>
        <a:spcPct val="0"/>
      </a:spcAft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2449032" algn="l" rtl="0" eaLnBrk="0" fontAlgn="base" hangingPunct="0">
      <a:spcBef>
        <a:spcPct val="30000"/>
      </a:spcBef>
      <a:spcAft>
        <a:spcPct val="0"/>
      </a:spcAft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3265381" algn="l" rtl="0" eaLnBrk="0" fontAlgn="base" hangingPunct="0">
      <a:spcBef>
        <a:spcPct val="30000"/>
      </a:spcBef>
      <a:spcAft>
        <a:spcPct val="0"/>
      </a:spcAft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4081727" algn="l" defTabSz="1632688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4898068" algn="l" defTabSz="1632688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5714415" algn="l" defTabSz="1632688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6530766" algn="l" defTabSz="1632688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0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B1D6800-97C0-4EBB-8759-0335DDD2E7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91175" cy="102981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AFB491-0EC1-4172-87C1-49A52FCBA5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00348" y="641620"/>
            <a:ext cx="6782532" cy="5283461"/>
          </a:xfrm>
        </p:spPr>
        <p:txBody>
          <a:bodyPr lIns="0" tIns="0" rIns="0" bIns="0" anchor="b">
            <a:noAutofit/>
          </a:bodyPr>
          <a:lstStyle>
            <a:lvl1pPr marL="0" indent="0" algn="l">
              <a:lnSpc>
                <a:spcPct val="100000"/>
              </a:lnSpc>
              <a:defRPr sz="6601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DA8DC7-EAFB-48F0-A937-C89231E2D2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00346" y="6326437"/>
            <a:ext cx="6782533" cy="115492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60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937" indent="0" algn="ctr">
              <a:buNone/>
              <a:defRPr sz="3001"/>
            </a:lvl2pPr>
            <a:lvl3pPr marL="1371874" indent="0" algn="ctr">
              <a:buNone/>
              <a:defRPr sz="2701"/>
            </a:lvl3pPr>
            <a:lvl4pPr marL="2057811" indent="0" algn="ctr">
              <a:buNone/>
              <a:defRPr sz="2400"/>
            </a:lvl4pPr>
            <a:lvl5pPr marL="2743749" indent="0" algn="ctr">
              <a:buNone/>
              <a:defRPr sz="2400"/>
            </a:lvl5pPr>
            <a:lvl6pPr marL="3429686" indent="0" algn="ctr">
              <a:buNone/>
              <a:defRPr sz="2400"/>
            </a:lvl6pPr>
            <a:lvl7pPr marL="4115623" indent="0" algn="ctr">
              <a:buNone/>
              <a:defRPr sz="2400"/>
            </a:lvl7pPr>
            <a:lvl8pPr marL="4801560" indent="0" algn="ctr">
              <a:buNone/>
              <a:defRPr sz="2400"/>
            </a:lvl8pPr>
            <a:lvl9pPr marL="5487497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grpSp>
        <p:nvGrpSpPr>
          <p:cNvPr id="4" name="Graphic 7">
            <a:extLst>
              <a:ext uri="{FF2B5EF4-FFF2-40B4-BE49-F238E27FC236}">
                <a16:creationId xmlns:a16="http://schemas.microsoft.com/office/drawing/2014/main" id="{14C907F8-C6E2-4B4F-A7C0-9C066CAA2FB8}"/>
              </a:ext>
            </a:extLst>
          </p:cNvPr>
          <p:cNvGrpSpPr/>
          <p:nvPr/>
        </p:nvGrpSpPr>
        <p:grpSpPr>
          <a:xfrm>
            <a:off x="598042" y="519717"/>
            <a:ext cx="1741618" cy="1194413"/>
            <a:chOff x="398625" y="346104"/>
            <a:chExt cx="1160877" cy="795416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1878E58-3BC3-415E-BABE-16D5A1C87366}"/>
                </a:ext>
              </a:extLst>
            </p:cNvPr>
            <p:cNvSpPr/>
            <p:nvPr/>
          </p:nvSpPr>
          <p:spPr>
            <a:xfrm>
              <a:off x="1289168" y="345674"/>
              <a:ext cx="279470" cy="451452"/>
            </a:xfrm>
            <a:custGeom>
              <a:avLst/>
              <a:gdLst>
                <a:gd name="connsiteX0" fmla="*/ 8062 w 279470"/>
                <a:gd name="connsiteY0" fmla="*/ 8062 h 451452"/>
                <a:gd name="connsiteX1" fmla="*/ 275601 w 279470"/>
                <a:gd name="connsiteY1" fmla="*/ 8062 h 451452"/>
                <a:gd name="connsiteX2" fmla="*/ 275601 w 279470"/>
                <a:gd name="connsiteY2" fmla="*/ 111896 h 451452"/>
                <a:gd name="connsiteX3" fmla="*/ 114368 w 279470"/>
                <a:gd name="connsiteY3" fmla="*/ 111896 h 451452"/>
                <a:gd name="connsiteX4" fmla="*/ 114368 w 279470"/>
                <a:gd name="connsiteY4" fmla="*/ 176711 h 451452"/>
                <a:gd name="connsiteX5" fmla="*/ 246364 w 279470"/>
                <a:gd name="connsiteY5" fmla="*/ 176711 h 451452"/>
                <a:gd name="connsiteX6" fmla="*/ 246364 w 279470"/>
                <a:gd name="connsiteY6" fmla="*/ 280545 h 451452"/>
                <a:gd name="connsiteX7" fmla="*/ 114368 w 279470"/>
                <a:gd name="connsiteY7" fmla="*/ 280545 h 451452"/>
                <a:gd name="connsiteX8" fmla="*/ 114368 w 279470"/>
                <a:gd name="connsiteY8" fmla="*/ 349231 h 451452"/>
                <a:gd name="connsiteX9" fmla="*/ 275601 w 279470"/>
                <a:gd name="connsiteY9" fmla="*/ 349231 h 451452"/>
                <a:gd name="connsiteX10" fmla="*/ 275601 w 279470"/>
                <a:gd name="connsiteY10" fmla="*/ 452635 h 451452"/>
                <a:gd name="connsiteX11" fmla="*/ 8062 w 279470"/>
                <a:gd name="connsiteY11" fmla="*/ 452635 h 451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9470" h="451452">
                  <a:moveTo>
                    <a:pt x="8062" y="8062"/>
                  </a:moveTo>
                  <a:lnTo>
                    <a:pt x="275601" y="8062"/>
                  </a:lnTo>
                  <a:lnTo>
                    <a:pt x="275601" y="111896"/>
                  </a:lnTo>
                  <a:lnTo>
                    <a:pt x="114368" y="111896"/>
                  </a:lnTo>
                  <a:lnTo>
                    <a:pt x="114368" y="176711"/>
                  </a:lnTo>
                  <a:lnTo>
                    <a:pt x="246364" y="176711"/>
                  </a:lnTo>
                  <a:lnTo>
                    <a:pt x="246364" y="280545"/>
                  </a:lnTo>
                  <a:lnTo>
                    <a:pt x="114368" y="280545"/>
                  </a:lnTo>
                  <a:lnTo>
                    <a:pt x="114368" y="349231"/>
                  </a:lnTo>
                  <a:lnTo>
                    <a:pt x="275601" y="349231"/>
                  </a:lnTo>
                  <a:lnTo>
                    <a:pt x="275601" y="452635"/>
                  </a:lnTo>
                  <a:lnTo>
                    <a:pt x="8062" y="45263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40DA323-B5B0-47A7-8EA5-DE336384DB0F}"/>
                </a:ext>
              </a:extLst>
            </p:cNvPr>
            <p:cNvSpPr/>
            <p:nvPr/>
          </p:nvSpPr>
          <p:spPr>
            <a:xfrm>
              <a:off x="913603" y="338042"/>
              <a:ext cx="343964" cy="472950"/>
            </a:xfrm>
            <a:custGeom>
              <a:avLst/>
              <a:gdLst>
                <a:gd name="connsiteX0" fmla="*/ 235615 w 343963"/>
                <a:gd name="connsiteY0" fmla="*/ 187138 h 472950"/>
                <a:gd name="connsiteX1" fmla="*/ 213795 w 343963"/>
                <a:gd name="connsiteY1" fmla="*/ 130599 h 472950"/>
                <a:gd name="connsiteX2" fmla="*/ 176711 w 343963"/>
                <a:gd name="connsiteY2" fmla="*/ 115765 h 472950"/>
                <a:gd name="connsiteX3" fmla="*/ 131351 w 343963"/>
                <a:gd name="connsiteY3" fmla="*/ 150699 h 472950"/>
                <a:gd name="connsiteX4" fmla="*/ 116303 w 343963"/>
                <a:gd name="connsiteY4" fmla="*/ 243677 h 472950"/>
                <a:gd name="connsiteX5" fmla="*/ 178109 w 343963"/>
                <a:gd name="connsiteY5" fmla="*/ 362559 h 472950"/>
                <a:gd name="connsiteX6" fmla="*/ 235615 w 343963"/>
                <a:gd name="connsiteY6" fmla="*/ 285705 h 472950"/>
                <a:gd name="connsiteX7" fmla="*/ 338697 w 343963"/>
                <a:gd name="connsiteY7" fmla="*/ 285705 h 472950"/>
                <a:gd name="connsiteX8" fmla="*/ 293336 w 343963"/>
                <a:gd name="connsiteY8" fmla="*/ 419098 h 472950"/>
                <a:gd name="connsiteX9" fmla="*/ 183698 w 343963"/>
                <a:gd name="connsiteY9" fmla="*/ 468113 h 472950"/>
                <a:gd name="connsiteX10" fmla="*/ 90290 w 343963"/>
                <a:gd name="connsiteY10" fmla="*/ 442853 h 472950"/>
                <a:gd name="connsiteX11" fmla="*/ 30097 w 343963"/>
                <a:gd name="connsiteY11" fmla="*/ 364387 h 472950"/>
                <a:gd name="connsiteX12" fmla="*/ 8062 w 343963"/>
                <a:gd name="connsiteY12" fmla="*/ 243677 h 472950"/>
                <a:gd name="connsiteX13" fmla="*/ 31279 w 343963"/>
                <a:gd name="connsiteY13" fmla="*/ 110283 h 472950"/>
                <a:gd name="connsiteX14" fmla="*/ 94268 w 343963"/>
                <a:gd name="connsiteY14" fmla="*/ 31709 h 472950"/>
                <a:gd name="connsiteX15" fmla="*/ 171337 w 343963"/>
                <a:gd name="connsiteY15" fmla="*/ 8062 h 472950"/>
                <a:gd name="connsiteX16" fmla="*/ 294626 w 343963"/>
                <a:gd name="connsiteY16" fmla="*/ 60946 h 472950"/>
                <a:gd name="connsiteX17" fmla="*/ 335902 w 343963"/>
                <a:gd name="connsiteY17" fmla="*/ 187138 h 472950"/>
                <a:gd name="connsiteX18" fmla="*/ 235615 w 343963"/>
                <a:gd name="connsiteY18" fmla="*/ 187138 h 47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3963" h="472950">
                  <a:moveTo>
                    <a:pt x="235615" y="187138"/>
                  </a:moveTo>
                  <a:cubicBezTo>
                    <a:pt x="231638" y="159728"/>
                    <a:pt x="223146" y="139628"/>
                    <a:pt x="213795" y="130599"/>
                  </a:cubicBezTo>
                  <a:cubicBezTo>
                    <a:pt x="201326" y="121355"/>
                    <a:pt x="187783" y="115765"/>
                    <a:pt x="176711" y="115765"/>
                  </a:cubicBezTo>
                  <a:cubicBezTo>
                    <a:pt x="156288" y="115765"/>
                    <a:pt x="139843" y="128664"/>
                    <a:pt x="131351" y="150699"/>
                  </a:cubicBezTo>
                  <a:cubicBezTo>
                    <a:pt x="120495" y="176389"/>
                    <a:pt x="116303" y="207238"/>
                    <a:pt x="116303" y="243677"/>
                  </a:cubicBezTo>
                  <a:cubicBezTo>
                    <a:pt x="116303" y="322358"/>
                    <a:pt x="136726" y="362559"/>
                    <a:pt x="178109" y="362559"/>
                  </a:cubicBezTo>
                  <a:cubicBezTo>
                    <a:pt x="209603" y="362559"/>
                    <a:pt x="230241" y="335042"/>
                    <a:pt x="235615" y="285705"/>
                  </a:cubicBezTo>
                  <a:lnTo>
                    <a:pt x="338697" y="285705"/>
                  </a:lnTo>
                  <a:cubicBezTo>
                    <a:pt x="334505" y="340417"/>
                    <a:pt x="319456" y="385992"/>
                    <a:pt x="293336" y="419098"/>
                  </a:cubicBezTo>
                  <a:cubicBezTo>
                    <a:pt x="265927" y="452097"/>
                    <a:pt x="227446" y="468113"/>
                    <a:pt x="183698" y="468113"/>
                  </a:cubicBezTo>
                  <a:cubicBezTo>
                    <a:pt x="148012" y="468113"/>
                    <a:pt x="116303" y="459084"/>
                    <a:pt x="90290" y="442853"/>
                  </a:cubicBezTo>
                  <a:cubicBezTo>
                    <a:pt x="62988" y="424580"/>
                    <a:pt x="43748" y="398890"/>
                    <a:pt x="30097" y="364387"/>
                  </a:cubicBezTo>
                  <a:cubicBezTo>
                    <a:pt x="16231" y="331495"/>
                    <a:pt x="8062" y="287532"/>
                    <a:pt x="8062" y="243677"/>
                  </a:cubicBezTo>
                  <a:cubicBezTo>
                    <a:pt x="8062" y="192512"/>
                    <a:pt x="16231" y="146830"/>
                    <a:pt x="31279" y="110283"/>
                  </a:cubicBezTo>
                  <a:cubicBezTo>
                    <a:pt x="47940" y="75565"/>
                    <a:pt x="69975" y="48370"/>
                    <a:pt x="94268" y="31709"/>
                  </a:cubicBezTo>
                  <a:cubicBezTo>
                    <a:pt x="119205" y="17306"/>
                    <a:pt x="146614" y="8062"/>
                    <a:pt x="171337" y="8062"/>
                  </a:cubicBezTo>
                  <a:cubicBezTo>
                    <a:pt x="228843" y="9889"/>
                    <a:pt x="271409" y="29882"/>
                    <a:pt x="294626" y="60946"/>
                  </a:cubicBezTo>
                  <a:cubicBezTo>
                    <a:pt x="318059" y="95665"/>
                    <a:pt x="333322" y="137800"/>
                    <a:pt x="335902" y="187138"/>
                  </a:cubicBezTo>
                  <a:lnTo>
                    <a:pt x="235615" y="18713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5095675-DD00-4E82-BB31-079F16B93AC2}"/>
                </a:ext>
              </a:extLst>
            </p:cNvPr>
            <p:cNvSpPr/>
            <p:nvPr/>
          </p:nvSpPr>
          <p:spPr>
            <a:xfrm>
              <a:off x="766129" y="345674"/>
              <a:ext cx="118237" cy="451452"/>
            </a:xfrm>
            <a:custGeom>
              <a:avLst/>
              <a:gdLst>
                <a:gd name="connsiteX0" fmla="*/ 8062 w 118237"/>
                <a:gd name="connsiteY0" fmla="*/ 8062 h 451452"/>
                <a:gd name="connsiteX1" fmla="*/ 114153 w 118237"/>
                <a:gd name="connsiteY1" fmla="*/ 8062 h 451452"/>
                <a:gd name="connsiteX2" fmla="*/ 114153 w 118237"/>
                <a:gd name="connsiteY2" fmla="*/ 452312 h 451452"/>
                <a:gd name="connsiteX3" fmla="*/ 8062 w 118237"/>
                <a:gd name="connsiteY3" fmla="*/ 452312 h 451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237" h="451452">
                  <a:moveTo>
                    <a:pt x="8062" y="8062"/>
                  </a:moveTo>
                  <a:lnTo>
                    <a:pt x="114153" y="8062"/>
                  </a:lnTo>
                  <a:lnTo>
                    <a:pt x="114153" y="452312"/>
                  </a:lnTo>
                  <a:lnTo>
                    <a:pt x="8062" y="45231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482E56-7EFB-4513-9A98-24E2696E0852}"/>
                </a:ext>
              </a:extLst>
            </p:cNvPr>
            <p:cNvSpPr/>
            <p:nvPr/>
          </p:nvSpPr>
          <p:spPr>
            <a:xfrm>
              <a:off x="393358" y="345674"/>
              <a:ext cx="322466" cy="451452"/>
            </a:xfrm>
            <a:custGeom>
              <a:avLst/>
              <a:gdLst>
                <a:gd name="connsiteX0" fmla="*/ 8062 w 322465"/>
                <a:gd name="connsiteY0" fmla="*/ 8062 h 451452"/>
                <a:gd name="connsiteX1" fmla="*/ 103512 w 322465"/>
                <a:gd name="connsiteY1" fmla="*/ 8062 h 451452"/>
                <a:gd name="connsiteX2" fmla="*/ 216590 w 322465"/>
                <a:gd name="connsiteY2" fmla="*/ 252491 h 451452"/>
                <a:gd name="connsiteX3" fmla="*/ 216590 w 322465"/>
                <a:gd name="connsiteY3" fmla="*/ 156289 h 451452"/>
                <a:gd name="connsiteX4" fmla="*/ 216590 w 322465"/>
                <a:gd name="connsiteY4" fmla="*/ 8062 h 451452"/>
                <a:gd name="connsiteX5" fmla="*/ 318919 w 322465"/>
                <a:gd name="connsiteY5" fmla="*/ 8062 h 451452"/>
                <a:gd name="connsiteX6" fmla="*/ 318919 w 322465"/>
                <a:gd name="connsiteY6" fmla="*/ 452312 h 451452"/>
                <a:gd name="connsiteX7" fmla="*/ 218094 w 322465"/>
                <a:gd name="connsiteY7" fmla="*/ 452312 h 451452"/>
                <a:gd name="connsiteX8" fmla="*/ 107919 w 322465"/>
                <a:gd name="connsiteY8" fmla="*/ 211860 h 451452"/>
                <a:gd name="connsiteX9" fmla="*/ 107596 w 322465"/>
                <a:gd name="connsiteY9" fmla="*/ 315479 h 451452"/>
                <a:gd name="connsiteX10" fmla="*/ 107919 w 322465"/>
                <a:gd name="connsiteY10" fmla="*/ 452312 h 451452"/>
                <a:gd name="connsiteX11" fmla="*/ 8062 w 322465"/>
                <a:gd name="connsiteY11" fmla="*/ 452312 h 451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2465" h="451452">
                  <a:moveTo>
                    <a:pt x="8062" y="8062"/>
                  </a:moveTo>
                  <a:lnTo>
                    <a:pt x="103512" y="8062"/>
                  </a:lnTo>
                  <a:lnTo>
                    <a:pt x="216590" y="252491"/>
                  </a:lnTo>
                  <a:lnTo>
                    <a:pt x="216590" y="156289"/>
                  </a:lnTo>
                  <a:lnTo>
                    <a:pt x="216590" y="8062"/>
                  </a:lnTo>
                  <a:lnTo>
                    <a:pt x="318919" y="8062"/>
                  </a:lnTo>
                  <a:lnTo>
                    <a:pt x="318919" y="452312"/>
                  </a:lnTo>
                  <a:lnTo>
                    <a:pt x="218094" y="452312"/>
                  </a:lnTo>
                  <a:lnTo>
                    <a:pt x="107919" y="211860"/>
                  </a:lnTo>
                  <a:lnTo>
                    <a:pt x="107596" y="315479"/>
                  </a:lnTo>
                  <a:lnTo>
                    <a:pt x="107919" y="452312"/>
                  </a:lnTo>
                  <a:lnTo>
                    <a:pt x="8062" y="45231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763F811-80FD-4FA0-9301-D8BCBDEA9F9D}"/>
                </a:ext>
              </a:extLst>
            </p:cNvPr>
            <p:cNvSpPr/>
            <p:nvPr/>
          </p:nvSpPr>
          <p:spPr>
            <a:xfrm>
              <a:off x="1243485" y="517871"/>
              <a:ext cx="107489" cy="107489"/>
            </a:xfrm>
            <a:custGeom>
              <a:avLst/>
              <a:gdLst>
                <a:gd name="connsiteX0" fmla="*/ 8062 w 107488"/>
                <a:gd name="connsiteY0" fmla="*/ 8062 h 107488"/>
                <a:gd name="connsiteX1" fmla="*/ 105554 w 107488"/>
                <a:gd name="connsiteY1" fmla="*/ 8062 h 107488"/>
                <a:gd name="connsiteX2" fmla="*/ 105554 w 107488"/>
                <a:gd name="connsiteY2" fmla="*/ 105554 h 107488"/>
                <a:gd name="connsiteX3" fmla="*/ 8062 w 107488"/>
                <a:gd name="connsiteY3" fmla="*/ 105554 h 107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488" h="107488">
                  <a:moveTo>
                    <a:pt x="8062" y="8062"/>
                  </a:moveTo>
                  <a:lnTo>
                    <a:pt x="105554" y="8062"/>
                  </a:lnTo>
                  <a:lnTo>
                    <a:pt x="105554" y="105554"/>
                  </a:lnTo>
                  <a:lnTo>
                    <a:pt x="8062" y="10555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1D77F7E-CB12-4828-ADC5-8ADD364F78B4}"/>
                </a:ext>
              </a:extLst>
            </p:cNvPr>
            <p:cNvSpPr/>
            <p:nvPr/>
          </p:nvSpPr>
          <p:spPr>
            <a:xfrm>
              <a:off x="872220" y="517871"/>
              <a:ext cx="107489" cy="107489"/>
            </a:xfrm>
            <a:custGeom>
              <a:avLst/>
              <a:gdLst>
                <a:gd name="connsiteX0" fmla="*/ 8062 w 107488"/>
                <a:gd name="connsiteY0" fmla="*/ 8062 h 107488"/>
                <a:gd name="connsiteX1" fmla="*/ 105554 w 107488"/>
                <a:gd name="connsiteY1" fmla="*/ 8062 h 107488"/>
                <a:gd name="connsiteX2" fmla="*/ 105554 w 107488"/>
                <a:gd name="connsiteY2" fmla="*/ 105554 h 107488"/>
                <a:gd name="connsiteX3" fmla="*/ 8062 w 107488"/>
                <a:gd name="connsiteY3" fmla="*/ 105554 h 107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488" h="107488">
                  <a:moveTo>
                    <a:pt x="8062" y="8062"/>
                  </a:moveTo>
                  <a:lnTo>
                    <a:pt x="105554" y="8062"/>
                  </a:lnTo>
                  <a:lnTo>
                    <a:pt x="105554" y="105554"/>
                  </a:lnTo>
                  <a:lnTo>
                    <a:pt x="8062" y="10555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23ACE09-4F95-4CA7-8078-08E8E6F47DCB}"/>
                </a:ext>
              </a:extLst>
            </p:cNvPr>
            <p:cNvSpPr/>
            <p:nvPr/>
          </p:nvSpPr>
          <p:spPr>
            <a:xfrm>
              <a:off x="668636" y="517871"/>
              <a:ext cx="107489" cy="107489"/>
            </a:xfrm>
            <a:custGeom>
              <a:avLst/>
              <a:gdLst>
                <a:gd name="connsiteX0" fmla="*/ 8062 w 107488"/>
                <a:gd name="connsiteY0" fmla="*/ 8062 h 107488"/>
                <a:gd name="connsiteX1" fmla="*/ 105554 w 107488"/>
                <a:gd name="connsiteY1" fmla="*/ 8062 h 107488"/>
                <a:gd name="connsiteX2" fmla="*/ 105554 w 107488"/>
                <a:gd name="connsiteY2" fmla="*/ 105554 h 107488"/>
                <a:gd name="connsiteX3" fmla="*/ 8062 w 107488"/>
                <a:gd name="connsiteY3" fmla="*/ 105554 h 107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488" h="107488">
                  <a:moveTo>
                    <a:pt x="8062" y="8062"/>
                  </a:moveTo>
                  <a:lnTo>
                    <a:pt x="105554" y="8062"/>
                  </a:lnTo>
                  <a:lnTo>
                    <a:pt x="105554" y="105554"/>
                  </a:lnTo>
                  <a:lnTo>
                    <a:pt x="8062" y="10555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8D9C0B4-6FA2-4BE5-AA70-3AC3EAC7A235}"/>
                </a:ext>
              </a:extLst>
            </p:cNvPr>
            <p:cNvSpPr/>
            <p:nvPr/>
          </p:nvSpPr>
          <p:spPr>
            <a:xfrm>
              <a:off x="390563" y="911387"/>
              <a:ext cx="193480" cy="214977"/>
            </a:xfrm>
            <a:custGeom>
              <a:avLst/>
              <a:gdLst>
                <a:gd name="connsiteX0" fmla="*/ 141348 w 193479"/>
                <a:gd name="connsiteY0" fmla="*/ 160373 h 214977"/>
                <a:gd name="connsiteX1" fmla="*/ 56324 w 193479"/>
                <a:gd name="connsiteY1" fmla="*/ 160373 h 214977"/>
                <a:gd name="connsiteX2" fmla="*/ 32247 w 193479"/>
                <a:gd name="connsiteY2" fmla="*/ 216697 h 214977"/>
                <a:gd name="connsiteX3" fmla="*/ 8062 w 193479"/>
                <a:gd name="connsiteY3" fmla="*/ 216697 h 214977"/>
                <a:gd name="connsiteX4" fmla="*/ 99749 w 193479"/>
                <a:gd name="connsiteY4" fmla="*/ 8062 h 214977"/>
                <a:gd name="connsiteX5" fmla="*/ 189180 w 193479"/>
                <a:gd name="connsiteY5" fmla="*/ 216697 h 214977"/>
                <a:gd name="connsiteX6" fmla="*/ 164780 w 193479"/>
                <a:gd name="connsiteY6" fmla="*/ 216697 h 214977"/>
                <a:gd name="connsiteX7" fmla="*/ 141348 w 193479"/>
                <a:gd name="connsiteY7" fmla="*/ 160373 h 214977"/>
                <a:gd name="connsiteX8" fmla="*/ 132641 w 193479"/>
                <a:gd name="connsiteY8" fmla="*/ 139628 h 214977"/>
                <a:gd name="connsiteX9" fmla="*/ 99427 w 193479"/>
                <a:gd name="connsiteY9" fmla="*/ 59764 h 214977"/>
                <a:gd name="connsiteX10" fmla="*/ 65353 w 193479"/>
                <a:gd name="connsiteY10" fmla="*/ 139628 h 214977"/>
                <a:gd name="connsiteX11" fmla="*/ 132641 w 193479"/>
                <a:gd name="connsiteY11" fmla="*/ 139628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479" h="214977">
                  <a:moveTo>
                    <a:pt x="141348" y="160373"/>
                  </a:moveTo>
                  <a:lnTo>
                    <a:pt x="56324" y="160373"/>
                  </a:lnTo>
                  <a:lnTo>
                    <a:pt x="32247" y="216697"/>
                  </a:lnTo>
                  <a:lnTo>
                    <a:pt x="8062" y="216697"/>
                  </a:lnTo>
                  <a:lnTo>
                    <a:pt x="99749" y="8062"/>
                  </a:lnTo>
                  <a:lnTo>
                    <a:pt x="189180" y="216697"/>
                  </a:lnTo>
                  <a:lnTo>
                    <a:pt x="164780" y="216697"/>
                  </a:lnTo>
                  <a:lnTo>
                    <a:pt x="141348" y="160373"/>
                  </a:lnTo>
                  <a:close/>
                  <a:moveTo>
                    <a:pt x="132641" y="139628"/>
                  </a:moveTo>
                  <a:lnTo>
                    <a:pt x="99427" y="59764"/>
                  </a:lnTo>
                  <a:lnTo>
                    <a:pt x="65353" y="139628"/>
                  </a:lnTo>
                  <a:lnTo>
                    <a:pt x="132641" y="13962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4311AFD-284F-4A65-AFB9-6F0DAB9E34DC}"/>
                </a:ext>
              </a:extLst>
            </p:cNvPr>
            <p:cNvSpPr/>
            <p:nvPr/>
          </p:nvSpPr>
          <p:spPr>
            <a:xfrm>
              <a:off x="568564" y="917514"/>
              <a:ext cx="171982" cy="214977"/>
            </a:xfrm>
            <a:custGeom>
              <a:avLst/>
              <a:gdLst>
                <a:gd name="connsiteX0" fmla="*/ 171229 w 171981"/>
                <a:gd name="connsiteY0" fmla="*/ 27732 h 214977"/>
                <a:gd name="connsiteX1" fmla="*/ 171229 w 171981"/>
                <a:gd name="connsiteY1" fmla="*/ 55142 h 214977"/>
                <a:gd name="connsiteX2" fmla="*/ 111036 w 171981"/>
                <a:gd name="connsiteY2" fmla="*/ 28807 h 214977"/>
                <a:gd name="connsiteX3" fmla="*/ 54282 w 171981"/>
                <a:gd name="connsiteY3" fmla="*/ 53314 h 214977"/>
                <a:gd name="connsiteX4" fmla="*/ 30527 w 171981"/>
                <a:gd name="connsiteY4" fmla="*/ 111788 h 214977"/>
                <a:gd name="connsiteX5" fmla="*/ 57936 w 171981"/>
                <a:gd name="connsiteY5" fmla="*/ 172412 h 214977"/>
                <a:gd name="connsiteX6" fmla="*/ 111036 w 171981"/>
                <a:gd name="connsiteY6" fmla="*/ 193157 h 214977"/>
                <a:gd name="connsiteX7" fmla="*/ 171122 w 171981"/>
                <a:gd name="connsiteY7" fmla="*/ 167145 h 214977"/>
                <a:gd name="connsiteX8" fmla="*/ 171122 w 171981"/>
                <a:gd name="connsiteY8" fmla="*/ 194769 h 214977"/>
                <a:gd name="connsiteX9" fmla="*/ 111143 w 171981"/>
                <a:gd name="connsiteY9" fmla="*/ 214010 h 214977"/>
                <a:gd name="connsiteX10" fmla="*/ 38373 w 171981"/>
                <a:gd name="connsiteY10" fmla="*/ 183806 h 214977"/>
                <a:gd name="connsiteX11" fmla="*/ 8062 w 171981"/>
                <a:gd name="connsiteY11" fmla="*/ 111573 h 214977"/>
                <a:gd name="connsiteX12" fmla="*/ 38481 w 171981"/>
                <a:gd name="connsiteY12" fmla="*/ 38481 h 214977"/>
                <a:gd name="connsiteX13" fmla="*/ 112218 w 171981"/>
                <a:gd name="connsiteY13" fmla="*/ 8062 h 214977"/>
                <a:gd name="connsiteX14" fmla="*/ 171229 w 171981"/>
                <a:gd name="connsiteY14" fmla="*/ 27732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981" h="214977">
                  <a:moveTo>
                    <a:pt x="171229" y="27732"/>
                  </a:moveTo>
                  <a:lnTo>
                    <a:pt x="171229" y="55142"/>
                  </a:lnTo>
                  <a:cubicBezTo>
                    <a:pt x="152526" y="37621"/>
                    <a:pt x="132426" y="28807"/>
                    <a:pt x="111036" y="28807"/>
                  </a:cubicBezTo>
                  <a:cubicBezTo>
                    <a:pt x="89001" y="28807"/>
                    <a:pt x="70083" y="36976"/>
                    <a:pt x="54282" y="53314"/>
                  </a:cubicBezTo>
                  <a:cubicBezTo>
                    <a:pt x="38481" y="69438"/>
                    <a:pt x="30527" y="88893"/>
                    <a:pt x="30527" y="111788"/>
                  </a:cubicBezTo>
                  <a:cubicBezTo>
                    <a:pt x="30527" y="136511"/>
                    <a:pt x="39663" y="156718"/>
                    <a:pt x="57936" y="172412"/>
                  </a:cubicBezTo>
                  <a:cubicBezTo>
                    <a:pt x="73845" y="186278"/>
                    <a:pt x="91580" y="193157"/>
                    <a:pt x="111036" y="193157"/>
                  </a:cubicBezTo>
                  <a:cubicBezTo>
                    <a:pt x="132426" y="193157"/>
                    <a:pt x="152419" y="184451"/>
                    <a:pt x="171122" y="167145"/>
                  </a:cubicBezTo>
                  <a:lnTo>
                    <a:pt x="171122" y="194769"/>
                  </a:lnTo>
                  <a:cubicBezTo>
                    <a:pt x="152096" y="207561"/>
                    <a:pt x="132104" y="214010"/>
                    <a:pt x="111143" y="214010"/>
                  </a:cubicBezTo>
                  <a:cubicBezTo>
                    <a:pt x="82874" y="214010"/>
                    <a:pt x="58581" y="203906"/>
                    <a:pt x="38373" y="183806"/>
                  </a:cubicBezTo>
                  <a:cubicBezTo>
                    <a:pt x="18166" y="163705"/>
                    <a:pt x="8062" y="139628"/>
                    <a:pt x="8062" y="111573"/>
                  </a:cubicBezTo>
                  <a:cubicBezTo>
                    <a:pt x="8062" y="83089"/>
                    <a:pt x="18166" y="58796"/>
                    <a:pt x="38481" y="38481"/>
                  </a:cubicBezTo>
                  <a:cubicBezTo>
                    <a:pt x="59011" y="18166"/>
                    <a:pt x="83626" y="8062"/>
                    <a:pt x="112218" y="8062"/>
                  </a:cubicBezTo>
                  <a:cubicBezTo>
                    <a:pt x="132856" y="8169"/>
                    <a:pt x="152419" y="14726"/>
                    <a:pt x="171229" y="2773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62A4770-2E6D-4EF8-8AA1-52F8464C87CE}"/>
                </a:ext>
              </a:extLst>
            </p:cNvPr>
            <p:cNvSpPr/>
            <p:nvPr/>
          </p:nvSpPr>
          <p:spPr>
            <a:xfrm>
              <a:off x="755810" y="920953"/>
              <a:ext cx="128986" cy="214977"/>
            </a:xfrm>
            <a:custGeom>
              <a:avLst/>
              <a:gdLst>
                <a:gd name="connsiteX0" fmla="*/ 78682 w 128986"/>
                <a:gd name="connsiteY0" fmla="*/ 28807 h 214977"/>
                <a:gd name="connsiteX1" fmla="*/ 78682 w 128986"/>
                <a:gd name="connsiteY1" fmla="*/ 207131 h 214977"/>
                <a:gd name="connsiteX2" fmla="*/ 56324 w 128986"/>
                <a:gd name="connsiteY2" fmla="*/ 207131 h 214977"/>
                <a:gd name="connsiteX3" fmla="*/ 56324 w 128986"/>
                <a:gd name="connsiteY3" fmla="*/ 28807 h 214977"/>
                <a:gd name="connsiteX4" fmla="*/ 8062 w 128986"/>
                <a:gd name="connsiteY4" fmla="*/ 28807 h 214977"/>
                <a:gd name="connsiteX5" fmla="*/ 8062 w 128986"/>
                <a:gd name="connsiteY5" fmla="*/ 8062 h 214977"/>
                <a:gd name="connsiteX6" fmla="*/ 126944 w 128986"/>
                <a:gd name="connsiteY6" fmla="*/ 8062 h 214977"/>
                <a:gd name="connsiteX7" fmla="*/ 126944 w 128986"/>
                <a:gd name="connsiteY7" fmla="*/ 28807 h 214977"/>
                <a:gd name="connsiteX8" fmla="*/ 78682 w 128986"/>
                <a:gd name="connsiteY8" fmla="*/ 28807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986" h="214977">
                  <a:moveTo>
                    <a:pt x="78682" y="28807"/>
                  </a:moveTo>
                  <a:lnTo>
                    <a:pt x="78682" y="207131"/>
                  </a:lnTo>
                  <a:lnTo>
                    <a:pt x="56324" y="207131"/>
                  </a:lnTo>
                  <a:lnTo>
                    <a:pt x="56324" y="28807"/>
                  </a:lnTo>
                  <a:lnTo>
                    <a:pt x="8062" y="28807"/>
                  </a:lnTo>
                  <a:lnTo>
                    <a:pt x="8062" y="8062"/>
                  </a:lnTo>
                  <a:lnTo>
                    <a:pt x="126944" y="8062"/>
                  </a:lnTo>
                  <a:lnTo>
                    <a:pt x="126944" y="28807"/>
                  </a:lnTo>
                  <a:lnTo>
                    <a:pt x="78682" y="28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C97DB74-F185-417A-B710-A0A3AE686469}"/>
                </a:ext>
              </a:extLst>
            </p:cNvPr>
            <p:cNvSpPr/>
            <p:nvPr/>
          </p:nvSpPr>
          <p:spPr>
            <a:xfrm>
              <a:off x="904789" y="920953"/>
              <a:ext cx="32247" cy="214977"/>
            </a:xfrm>
            <a:custGeom>
              <a:avLst/>
              <a:gdLst>
                <a:gd name="connsiteX0" fmla="*/ 30312 w 32246"/>
                <a:gd name="connsiteY0" fmla="*/ 8062 h 214977"/>
                <a:gd name="connsiteX1" fmla="*/ 30312 w 32246"/>
                <a:gd name="connsiteY1" fmla="*/ 207131 h 214977"/>
                <a:gd name="connsiteX2" fmla="*/ 8062 w 32246"/>
                <a:gd name="connsiteY2" fmla="*/ 207131 h 214977"/>
                <a:gd name="connsiteX3" fmla="*/ 8062 w 32246"/>
                <a:gd name="connsiteY3" fmla="*/ 8062 h 214977"/>
                <a:gd name="connsiteX4" fmla="*/ 30312 w 32246"/>
                <a:gd name="connsiteY4" fmla="*/ 8062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46" h="214977">
                  <a:moveTo>
                    <a:pt x="30312" y="8062"/>
                  </a:moveTo>
                  <a:lnTo>
                    <a:pt x="30312" y="207131"/>
                  </a:lnTo>
                  <a:lnTo>
                    <a:pt x="8062" y="207131"/>
                  </a:lnTo>
                  <a:lnTo>
                    <a:pt x="8062" y="8062"/>
                  </a:lnTo>
                  <a:lnTo>
                    <a:pt x="30312" y="806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C2BDCAC-D95F-4A48-8F45-862DB47B5308}"/>
                </a:ext>
              </a:extLst>
            </p:cNvPr>
            <p:cNvSpPr/>
            <p:nvPr/>
          </p:nvSpPr>
          <p:spPr>
            <a:xfrm>
              <a:off x="963693" y="909559"/>
              <a:ext cx="225726" cy="225726"/>
            </a:xfrm>
            <a:custGeom>
              <a:avLst/>
              <a:gdLst>
                <a:gd name="connsiteX0" fmla="*/ 8062 w 225726"/>
                <a:gd name="connsiteY0" fmla="*/ 218524 h 225726"/>
                <a:gd name="connsiteX1" fmla="*/ 41061 w 225726"/>
                <a:gd name="connsiteY1" fmla="*/ 8062 h 225726"/>
                <a:gd name="connsiteX2" fmla="*/ 117485 w 225726"/>
                <a:gd name="connsiteY2" fmla="*/ 176281 h 225726"/>
                <a:gd name="connsiteX3" fmla="*/ 195629 w 225726"/>
                <a:gd name="connsiteY3" fmla="*/ 8062 h 225726"/>
                <a:gd name="connsiteX4" fmla="*/ 226479 w 225726"/>
                <a:gd name="connsiteY4" fmla="*/ 218524 h 225726"/>
                <a:gd name="connsiteX5" fmla="*/ 203798 w 225726"/>
                <a:gd name="connsiteY5" fmla="*/ 218524 h 225726"/>
                <a:gd name="connsiteX6" fmla="*/ 185203 w 225726"/>
                <a:gd name="connsiteY6" fmla="*/ 80079 h 225726"/>
                <a:gd name="connsiteX7" fmla="*/ 117270 w 225726"/>
                <a:gd name="connsiteY7" fmla="*/ 226694 h 225726"/>
                <a:gd name="connsiteX8" fmla="*/ 50305 w 225726"/>
                <a:gd name="connsiteY8" fmla="*/ 79972 h 225726"/>
                <a:gd name="connsiteX9" fmla="*/ 30742 w 225726"/>
                <a:gd name="connsiteY9" fmla="*/ 218632 h 225726"/>
                <a:gd name="connsiteX10" fmla="*/ 8062 w 225726"/>
                <a:gd name="connsiteY10" fmla="*/ 218632 h 22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5726" h="225726">
                  <a:moveTo>
                    <a:pt x="8062" y="218524"/>
                  </a:moveTo>
                  <a:lnTo>
                    <a:pt x="41061" y="8062"/>
                  </a:lnTo>
                  <a:lnTo>
                    <a:pt x="117485" y="176281"/>
                  </a:lnTo>
                  <a:lnTo>
                    <a:pt x="195629" y="8062"/>
                  </a:lnTo>
                  <a:lnTo>
                    <a:pt x="226479" y="218524"/>
                  </a:lnTo>
                  <a:lnTo>
                    <a:pt x="203798" y="218524"/>
                  </a:lnTo>
                  <a:lnTo>
                    <a:pt x="185203" y="80079"/>
                  </a:lnTo>
                  <a:lnTo>
                    <a:pt x="117270" y="226694"/>
                  </a:lnTo>
                  <a:lnTo>
                    <a:pt x="50305" y="79972"/>
                  </a:lnTo>
                  <a:lnTo>
                    <a:pt x="30742" y="218632"/>
                  </a:lnTo>
                  <a:lnTo>
                    <a:pt x="8062" y="21863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C1BE10D-58D6-450E-AA58-6C18E5390A25}"/>
                </a:ext>
              </a:extLst>
            </p:cNvPr>
            <p:cNvSpPr/>
            <p:nvPr/>
          </p:nvSpPr>
          <p:spPr>
            <a:xfrm>
              <a:off x="1223063" y="920953"/>
              <a:ext cx="32247" cy="214977"/>
            </a:xfrm>
            <a:custGeom>
              <a:avLst/>
              <a:gdLst>
                <a:gd name="connsiteX0" fmla="*/ 30312 w 32246"/>
                <a:gd name="connsiteY0" fmla="*/ 8062 h 214977"/>
                <a:gd name="connsiteX1" fmla="*/ 30312 w 32246"/>
                <a:gd name="connsiteY1" fmla="*/ 207131 h 214977"/>
                <a:gd name="connsiteX2" fmla="*/ 8062 w 32246"/>
                <a:gd name="connsiteY2" fmla="*/ 207131 h 214977"/>
                <a:gd name="connsiteX3" fmla="*/ 8062 w 32246"/>
                <a:gd name="connsiteY3" fmla="*/ 8062 h 214977"/>
                <a:gd name="connsiteX4" fmla="*/ 30312 w 32246"/>
                <a:gd name="connsiteY4" fmla="*/ 8062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46" h="214977">
                  <a:moveTo>
                    <a:pt x="30312" y="8062"/>
                  </a:moveTo>
                  <a:lnTo>
                    <a:pt x="30312" y="207131"/>
                  </a:lnTo>
                  <a:lnTo>
                    <a:pt x="8062" y="207131"/>
                  </a:lnTo>
                  <a:lnTo>
                    <a:pt x="8062" y="8062"/>
                  </a:lnTo>
                  <a:lnTo>
                    <a:pt x="30312" y="806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F60BEAF-C5B9-4B67-9E2E-EF254FB98178}"/>
                </a:ext>
              </a:extLst>
            </p:cNvPr>
            <p:cNvSpPr/>
            <p:nvPr/>
          </p:nvSpPr>
          <p:spPr>
            <a:xfrm>
              <a:off x="1278097" y="920953"/>
              <a:ext cx="161233" cy="214977"/>
            </a:xfrm>
            <a:custGeom>
              <a:avLst/>
              <a:gdLst>
                <a:gd name="connsiteX0" fmla="*/ 44823 w 161232"/>
                <a:gd name="connsiteY0" fmla="*/ 186385 h 214977"/>
                <a:gd name="connsiteX1" fmla="*/ 150699 w 161232"/>
                <a:gd name="connsiteY1" fmla="*/ 186385 h 214977"/>
                <a:gd name="connsiteX2" fmla="*/ 150699 w 161232"/>
                <a:gd name="connsiteY2" fmla="*/ 207131 h 214977"/>
                <a:gd name="connsiteX3" fmla="*/ 8062 w 161232"/>
                <a:gd name="connsiteY3" fmla="*/ 207131 h 214977"/>
                <a:gd name="connsiteX4" fmla="*/ 116625 w 161232"/>
                <a:gd name="connsiteY4" fmla="*/ 28807 h 214977"/>
                <a:gd name="connsiteX5" fmla="*/ 21928 w 161232"/>
                <a:gd name="connsiteY5" fmla="*/ 28807 h 214977"/>
                <a:gd name="connsiteX6" fmla="*/ 21928 w 161232"/>
                <a:gd name="connsiteY6" fmla="*/ 8062 h 214977"/>
                <a:gd name="connsiteX7" fmla="*/ 153601 w 161232"/>
                <a:gd name="connsiteY7" fmla="*/ 8062 h 214977"/>
                <a:gd name="connsiteX8" fmla="*/ 44823 w 161232"/>
                <a:gd name="connsiteY8" fmla="*/ 186385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232" h="214977">
                  <a:moveTo>
                    <a:pt x="44823" y="186385"/>
                  </a:moveTo>
                  <a:lnTo>
                    <a:pt x="150699" y="186385"/>
                  </a:lnTo>
                  <a:lnTo>
                    <a:pt x="150699" y="207131"/>
                  </a:lnTo>
                  <a:lnTo>
                    <a:pt x="8062" y="207131"/>
                  </a:lnTo>
                  <a:lnTo>
                    <a:pt x="116625" y="28807"/>
                  </a:lnTo>
                  <a:lnTo>
                    <a:pt x="21928" y="28807"/>
                  </a:lnTo>
                  <a:lnTo>
                    <a:pt x="21928" y="8062"/>
                  </a:lnTo>
                  <a:lnTo>
                    <a:pt x="153601" y="8062"/>
                  </a:lnTo>
                  <a:lnTo>
                    <a:pt x="44823" y="18638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D2218E2-3F6A-4652-9C77-B02E9993CA47}"/>
                </a:ext>
              </a:extLst>
            </p:cNvPr>
            <p:cNvSpPr/>
            <p:nvPr/>
          </p:nvSpPr>
          <p:spPr>
            <a:xfrm>
              <a:off x="1452228" y="920953"/>
              <a:ext cx="118237" cy="214977"/>
            </a:xfrm>
            <a:custGeom>
              <a:avLst/>
              <a:gdLst>
                <a:gd name="connsiteX0" fmla="*/ 111251 w 118237"/>
                <a:gd name="connsiteY0" fmla="*/ 28807 h 214977"/>
                <a:gd name="connsiteX1" fmla="*/ 30419 w 118237"/>
                <a:gd name="connsiteY1" fmla="*/ 28807 h 214977"/>
                <a:gd name="connsiteX2" fmla="*/ 30419 w 118237"/>
                <a:gd name="connsiteY2" fmla="*/ 87818 h 214977"/>
                <a:gd name="connsiteX3" fmla="*/ 109101 w 118237"/>
                <a:gd name="connsiteY3" fmla="*/ 87818 h 214977"/>
                <a:gd name="connsiteX4" fmla="*/ 109101 w 118237"/>
                <a:gd name="connsiteY4" fmla="*/ 108564 h 214977"/>
                <a:gd name="connsiteX5" fmla="*/ 30419 w 118237"/>
                <a:gd name="connsiteY5" fmla="*/ 108564 h 214977"/>
                <a:gd name="connsiteX6" fmla="*/ 30419 w 118237"/>
                <a:gd name="connsiteY6" fmla="*/ 186278 h 214977"/>
                <a:gd name="connsiteX7" fmla="*/ 111251 w 118237"/>
                <a:gd name="connsiteY7" fmla="*/ 186278 h 214977"/>
                <a:gd name="connsiteX8" fmla="*/ 111251 w 118237"/>
                <a:gd name="connsiteY8" fmla="*/ 207023 h 214977"/>
                <a:gd name="connsiteX9" fmla="*/ 8062 w 118237"/>
                <a:gd name="connsiteY9" fmla="*/ 207023 h 214977"/>
                <a:gd name="connsiteX10" fmla="*/ 8062 w 118237"/>
                <a:gd name="connsiteY10" fmla="*/ 8062 h 214977"/>
                <a:gd name="connsiteX11" fmla="*/ 111251 w 118237"/>
                <a:gd name="connsiteY11" fmla="*/ 8062 h 214977"/>
                <a:gd name="connsiteX12" fmla="*/ 111251 w 118237"/>
                <a:gd name="connsiteY12" fmla="*/ 28807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237" h="214977">
                  <a:moveTo>
                    <a:pt x="111251" y="28807"/>
                  </a:moveTo>
                  <a:lnTo>
                    <a:pt x="30419" y="28807"/>
                  </a:lnTo>
                  <a:lnTo>
                    <a:pt x="30419" y="87818"/>
                  </a:lnTo>
                  <a:lnTo>
                    <a:pt x="109101" y="87818"/>
                  </a:lnTo>
                  <a:lnTo>
                    <a:pt x="109101" y="108564"/>
                  </a:lnTo>
                  <a:lnTo>
                    <a:pt x="30419" y="108564"/>
                  </a:lnTo>
                  <a:lnTo>
                    <a:pt x="30419" y="186278"/>
                  </a:lnTo>
                  <a:lnTo>
                    <a:pt x="111251" y="186278"/>
                  </a:lnTo>
                  <a:lnTo>
                    <a:pt x="111251" y="207023"/>
                  </a:lnTo>
                  <a:lnTo>
                    <a:pt x="8062" y="207023"/>
                  </a:lnTo>
                  <a:lnTo>
                    <a:pt x="8062" y="8062"/>
                  </a:lnTo>
                  <a:lnTo>
                    <a:pt x="111251" y="8062"/>
                  </a:lnTo>
                  <a:lnTo>
                    <a:pt x="111251" y="28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741592039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1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714BA7-7651-4720-A536-D1CCF8F008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8291175" cy="102981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7695" y="1924049"/>
            <a:ext cx="9737205" cy="7181851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10F7B810-8012-4CA5-99A1-C3042C799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77696" y="503499"/>
            <a:ext cx="9737205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3" name="Group 4">
            <a:extLst>
              <a:ext uri="{FF2B5EF4-FFF2-40B4-BE49-F238E27FC236}">
                <a16:creationId xmlns:a16="http://schemas.microsoft.com/office/drawing/2014/main" id="{90A47F85-CEEB-4626-AF18-66F35BF08E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A2F07EFA-1966-44A7-9FBD-B8BD804C847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4638EF71-5B46-4B6E-BF00-F5582E394E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F50FF6A7-A9F7-4AE9-8F06-CF19B67E31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0A4FCCDA-FDE2-4F4D-9838-EB6834A732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EF83FB5D-D30A-4496-B197-572261D9A8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47A3BABC-FD92-49B4-AD1F-2657A51699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687452A5-C270-488B-A3B1-99AEBBA0E6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B4FC6C62-34D1-4569-8ED5-A45B9C7EA9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91EADAD5-D3EE-48B9-88D2-8F46BA9170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D0BA4E26-1CBE-4B77-80EB-778B621BF5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F549F873-FF5A-445F-AB9A-79F65B9837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452DD46E-FFD9-4B19-AFC5-54D6948391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Rectangle 16">
              <a:extLst>
                <a:ext uri="{FF2B5EF4-FFF2-40B4-BE49-F238E27FC236}">
                  <a16:creationId xmlns:a16="http://schemas.microsoft.com/office/drawing/2014/main" id="{A41A6C16-A2CC-427A-9628-F44F43DF7E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42CE0281-70DA-4DC5-AFE9-7CE0997E4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8">
              <a:extLst>
                <a:ext uri="{FF2B5EF4-FFF2-40B4-BE49-F238E27FC236}">
                  <a16:creationId xmlns:a16="http://schemas.microsoft.com/office/drawing/2014/main" id="{F555ECE5-4E14-4CBF-AD3E-B29BF5C389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AC2667A3-28C2-41AB-8BAC-E6F9F0201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B5BE719C-36FC-4494-A7EB-3FFB1B0B45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7985D453-537A-40B3-B610-6EED9E6229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32578" y="2696543"/>
            <a:ext cx="4658319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395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2289884561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4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714BA7-7651-4720-A536-D1CCF8F008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91175" cy="102981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99200" y="1924049"/>
            <a:ext cx="11277601" cy="7181851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10F7B810-8012-4CA5-99A1-C3042C799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201" y="503499"/>
            <a:ext cx="11277601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3" name="Group 4">
            <a:extLst>
              <a:ext uri="{FF2B5EF4-FFF2-40B4-BE49-F238E27FC236}">
                <a16:creationId xmlns:a16="http://schemas.microsoft.com/office/drawing/2014/main" id="{03E9445E-8163-49DB-858B-84DE0F3C44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08A48A48-AE25-4742-A484-9378D079CDF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439E1665-CB49-4F4C-A3DE-87A6F5D491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6F8B3A5F-EBB9-40FF-B28D-C18131167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FEBA5C43-248E-48DF-86B3-4B457643A1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A3E22320-D129-4366-A5C4-CC1F10233C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79FE8B18-F5D0-4388-BFFB-20B61C0992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46F6BB4A-53A0-4442-99AD-BC79B58669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0A34A910-C272-4B79-91BE-15BE5F3900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170C8D80-EB0B-41CB-AABE-8E20262B56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B852F2C9-30E8-464C-BF69-931BC6FA95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915D71EE-4A85-4A03-ADB9-BE11327166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8B0A1BDA-7394-4CA0-A1AD-C6F317FA10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Rectangle 16">
              <a:extLst>
                <a:ext uri="{FF2B5EF4-FFF2-40B4-BE49-F238E27FC236}">
                  <a16:creationId xmlns:a16="http://schemas.microsoft.com/office/drawing/2014/main" id="{B0C62467-0A47-4F8D-849B-C4160BC4EE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A8CDA444-3673-4DBC-ABC1-38B44CF79C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8">
              <a:extLst>
                <a:ext uri="{FF2B5EF4-FFF2-40B4-BE49-F238E27FC236}">
                  <a16:creationId xmlns:a16="http://schemas.microsoft.com/office/drawing/2014/main" id="{90FB3045-7D4C-47D4-9CAB-FD11B2A2D6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6124F102-6CBE-44DA-BB08-FF7C7B7F57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4ECC5C6A-88D5-4DFE-BA2A-4434EB2850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939B2F98-C516-4480-AB3F-F11BFD9DE7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2412" y="2108981"/>
            <a:ext cx="4658319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395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307885198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6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714BA7-7651-4720-A536-D1CCF8F008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64"/>
            <a:ext cx="18291175" cy="1028878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750696" y="1924049"/>
            <a:ext cx="9775304" cy="7181851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10F7B810-8012-4CA5-99A1-C3042C799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0697" y="503499"/>
            <a:ext cx="9775304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3" name="Group 4">
            <a:extLst>
              <a:ext uri="{FF2B5EF4-FFF2-40B4-BE49-F238E27FC236}">
                <a16:creationId xmlns:a16="http://schemas.microsoft.com/office/drawing/2014/main" id="{84BA6807-31C9-4247-9B12-CB5F519EC3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8B4C0518-625B-42F2-BEDE-0C58423386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69AA57C2-14B4-42D0-91A7-F6EA7A7FC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DEE89711-B35D-41D6-A2F8-807BC8D4B1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79E06C2C-CC13-4E4C-931C-196AE954EE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AB92D789-8599-4DA5-B5BA-009338ED76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1A43017E-0E42-4519-86EA-DD50D9E907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3F1B6608-C3FA-4FCE-82C6-A4A20E3207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B8155AF9-E9FE-4DE8-8885-7D6516D437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0CB7D4A7-8C7A-458F-8757-268B2EE92E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8085A556-F390-4A03-9284-2B7E36705F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03AEA664-FB0D-483F-B954-3313CD734A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78B7AA19-933D-45D8-BD96-0E43DE9D1C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Rectangle 16">
              <a:extLst>
                <a:ext uri="{FF2B5EF4-FFF2-40B4-BE49-F238E27FC236}">
                  <a16:creationId xmlns:a16="http://schemas.microsoft.com/office/drawing/2014/main" id="{AFE92A2F-95CA-4546-BAE7-6CE7DB8974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C724E5BA-9B86-42CC-83F4-1B51E5B7F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8">
              <a:extLst>
                <a:ext uri="{FF2B5EF4-FFF2-40B4-BE49-F238E27FC236}">
                  <a16:creationId xmlns:a16="http://schemas.microsoft.com/office/drawing/2014/main" id="{E8DB0963-6F9C-4165-9CAF-DF36C527FB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7DBEF8FE-1393-452C-81E0-F62B847FEC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947EED03-F2FA-4D64-B593-AB1D7A593D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1461DA2-1CC5-4C47-9EB2-C55702EA8B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31667" y="2108981"/>
            <a:ext cx="4658319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395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359767884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DC50349-82C6-4132-9770-03DF8945063B}"/>
              </a:ext>
            </a:extLst>
          </p:cNvPr>
          <p:cNvSpPr/>
          <p:nvPr/>
        </p:nvSpPr>
        <p:spPr>
          <a:xfrm>
            <a:off x="8527429" y="3"/>
            <a:ext cx="9763747" cy="10298111"/>
          </a:xfrm>
          <a:custGeom>
            <a:avLst/>
            <a:gdLst>
              <a:gd name="connsiteX0" fmla="*/ 0 w 6525158"/>
              <a:gd name="connsiteY0" fmla="*/ 0 h 6868087"/>
              <a:gd name="connsiteX1" fmla="*/ 4028728 w 6525158"/>
              <a:gd name="connsiteY1" fmla="*/ 0 h 6868087"/>
              <a:gd name="connsiteX2" fmla="*/ 6521884 w 6525158"/>
              <a:gd name="connsiteY2" fmla="*/ 3434044 h 6868087"/>
              <a:gd name="connsiteX3" fmla="*/ 6525158 w 6525158"/>
              <a:gd name="connsiteY3" fmla="*/ 3438553 h 6868087"/>
              <a:gd name="connsiteX4" fmla="*/ 6525158 w 6525158"/>
              <a:gd name="connsiteY4" fmla="*/ 6868087 h 6868087"/>
              <a:gd name="connsiteX5" fmla="*/ 4763941 w 6525158"/>
              <a:gd name="connsiteY5" fmla="*/ 6868087 h 6868087"/>
              <a:gd name="connsiteX6" fmla="*/ 3434043 w 6525158"/>
              <a:gd name="connsiteY6" fmla="*/ 5044188 h 6868087"/>
              <a:gd name="connsiteX7" fmla="*/ 3434043 w 6525158"/>
              <a:gd name="connsiteY7" fmla="*/ 6868087 h 6868087"/>
              <a:gd name="connsiteX8" fmla="*/ 0 w 6525158"/>
              <a:gd name="connsiteY8" fmla="*/ 6868087 h 6868087"/>
              <a:gd name="connsiteX9" fmla="*/ 0 w 6525158"/>
              <a:gd name="connsiteY9" fmla="*/ 0 h 6868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25158" h="6868087">
                <a:moveTo>
                  <a:pt x="0" y="0"/>
                </a:moveTo>
                <a:lnTo>
                  <a:pt x="4028728" y="0"/>
                </a:lnTo>
                <a:lnTo>
                  <a:pt x="6521884" y="3434044"/>
                </a:lnTo>
                <a:lnTo>
                  <a:pt x="6525158" y="3438553"/>
                </a:lnTo>
                <a:lnTo>
                  <a:pt x="6525158" y="6868087"/>
                </a:lnTo>
                <a:lnTo>
                  <a:pt x="4763941" y="6868087"/>
                </a:lnTo>
                <a:lnTo>
                  <a:pt x="3434043" y="5044188"/>
                </a:lnTo>
                <a:lnTo>
                  <a:pt x="3434043" y="6868087"/>
                </a:lnTo>
                <a:lnTo>
                  <a:pt x="0" y="686808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405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E670CB7-9578-442E-AECE-D43EB13467B4}"/>
              </a:ext>
            </a:extLst>
          </p:cNvPr>
          <p:cNvSpPr/>
          <p:nvPr/>
        </p:nvSpPr>
        <p:spPr>
          <a:xfrm>
            <a:off x="-45621" y="-2615"/>
            <a:ext cx="8291564" cy="10303318"/>
          </a:xfrm>
          <a:custGeom>
            <a:avLst/>
            <a:gdLst>
              <a:gd name="connsiteX0" fmla="*/ 0 w 5526750"/>
              <a:gd name="connsiteY0" fmla="*/ 0 h 6871559"/>
              <a:gd name="connsiteX1" fmla="*/ 762609 w 5526750"/>
              <a:gd name="connsiteY1" fmla="*/ 0 h 6871559"/>
              <a:gd name="connsiteX2" fmla="*/ 2061229 w 5526750"/>
              <a:gd name="connsiteY2" fmla="*/ 1773375 h 6871559"/>
              <a:gd name="connsiteX3" fmla="*/ 2061229 w 5526750"/>
              <a:gd name="connsiteY3" fmla="*/ 0 h 6871559"/>
              <a:gd name="connsiteX4" fmla="*/ 5526750 w 5526750"/>
              <a:gd name="connsiteY4" fmla="*/ 0 h 6871559"/>
              <a:gd name="connsiteX5" fmla="*/ 5526750 w 5526750"/>
              <a:gd name="connsiteY5" fmla="*/ 6871559 h 6871559"/>
              <a:gd name="connsiteX6" fmla="*/ 1525480 w 5526750"/>
              <a:gd name="connsiteY6" fmla="*/ 6871559 h 6871559"/>
              <a:gd name="connsiteX7" fmla="*/ 0 w 5526750"/>
              <a:gd name="connsiteY7" fmla="*/ 4797149 h 6871559"/>
              <a:gd name="connsiteX8" fmla="*/ 0 w 5526750"/>
              <a:gd name="connsiteY8" fmla="*/ 0 h 6871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26750" h="6871559">
                <a:moveTo>
                  <a:pt x="0" y="0"/>
                </a:moveTo>
                <a:lnTo>
                  <a:pt x="762609" y="0"/>
                </a:lnTo>
                <a:lnTo>
                  <a:pt x="2061229" y="1773375"/>
                </a:lnTo>
                <a:lnTo>
                  <a:pt x="2061229" y="0"/>
                </a:lnTo>
                <a:lnTo>
                  <a:pt x="5526750" y="0"/>
                </a:lnTo>
                <a:lnTo>
                  <a:pt x="5526750" y="6871559"/>
                </a:lnTo>
                <a:lnTo>
                  <a:pt x="1525480" y="6871559"/>
                </a:lnTo>
                <a:lnTo>
                  <a:pt x="0" y="479714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7000">
                <a:schemeClr val="accent2"/>
              </a:gs>
              <a:gs pos="54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 w="405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22D1ADC-982D-433F-A530-897B175A0459}"/>
              </a:ext>
            </a:extLst>
          </p:cNvPr>
          <p:cNvSpPr/>
          <p:nvPr/>
        </p:nvSpPr>
        <p:spPr>
          <a:xfrm>
            <a:off x="15178626" y="14301"/>
            <a:ext cx="3112550" cy="4321604"/>
          </a:xfrm>
          <a:custGeom>
            <a:avLst/>
            <a:gdLst>
              <a:gd name="connsiteX0" fmla="*/ 0 w 744473"/>
              <a:gd name="connsiteY0" fmla="*/ 0 h 1021175"/>
              <a:gd name="connsiteX1" fmla="*/ 744474 w 744473"/>
              <a:gd name="connsiteY1" fmla="*/ 1021175 h 1021175"/>
              <a:gd name="connsiteX2" fmla="*/ 744474 w 744473"/>
              <a:gd name="connsiteY2" fmla="*/ 0 h 102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4473" h="1021175">
                <a:moveTo>
                  <a:pt x="0" y="0"/>
                </a:moveTo>
                <a:lnTo>
                  <a:pt x="744474" y="1021175"/>
                </a:lnTo>
                <a:lnTo>
                  <a:pt x="744474" y="0"/>
                </a:lnTo>
                <a:close/>
              </a:path>
            </a:pathLst>
          </a:custGeom>
          <a:solidFill>
            <a:schemeClr val="bg1"/>
          </a:solidFill>
          <a:ln w="405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679419" y="2818430"/>
            <a:ext cx="6335601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395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8811135" y="2218544"/>
            <a:ext cx="8445144" cy="7271821"/>
          </a:xfrm>
          <a:noFill/>
        </p:spPr>
        <p:txBody>
          <a:bodyPr>
            <a:normAutofit/>
          </a:bodyPr>
          <a:lstStyle>
            <a:lvl1pPr>
              <a:spcBef>
                <a:spcPts val="1199"/>
              </a:spcBef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2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8811134" y="807749"/>
            <a:ext cx="8445144" cy="874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450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831D767F-44E6-4E59-9D3B-E4FFE976C2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BA01B14A-ECEA-4C15-B5F2-B4709A7412A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55AD665E-1B4F-400B-94E3-857E3B560A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7CDD7B9A-78EE-4DAF-A6A1-8CBA625843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7186CEE3-40C9-4337-928E-F8D1E7B919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DA90381A-6743-4EC7-B021-ECA8342792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147B2667-674D-406B-967D-58803E296B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03A098C5-EAEF-4A4F-9ED7-5275574B15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Rectangle 11">
              <a:extLst>
                <a:ext uri="{FF2B5EF4-FFF2-40B4-BE49-F238E27FC236}">
                  <a16:creationId xmlns:a16="http://schemas.microsoft.com/office/drawing/2014/main" id="{D823AAAB-FC39-49F4-AC8C-547AE865B4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Rectangle 12">
              <a:extLst>
                <a:ext uri="{FF2B5EF4-FFF2-40B4-BE49-F238E27FC236}">
                  <a16:creationId xmlns:a16="http://schemas.microsoft.com/office/drawing/2014/main" id="{43E2F911-BB47-46D1-A92A-5DC2AAD935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EEC43950-DB48-45C6-9DEB-FDCB88FCEC0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92B4DAD1-356F-4E25-A781-46042EC5DD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2E5EDA5E-C882-4D80-9DC0-354F03D9B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Rectangle 16">
              <a:extLst>
                <a:ext uri="{FF2B5EF4-FFF2-40B4-BE49-F238E27FC236}">
                  <a16:creationId xmlns:a16="http://schemas.microsoft.com/office/drawing/2014/main" id="{6776EED7-EC24-4A35-B24F-F3F20368B0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9D42BFBC-912D-4730-80E0-DC4EBD4576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Rectangle 18">
              <a:extLst>
                <a:ext uri="{FF2B5EF4-FFF2-40B4-BE49-F238E27FC236}">
                  <a16:creationId xmlns:a16="http://schemas.microsoft.com/office/drawing/2014/main" id="{8624D6CC-3D34-44A5-B96D-BE8CDC7C40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DDD3225D-4B24-45F7-AE5D-81855E80B3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A440EDE0-4F8E-4C20-9ACA-9BBBB6DA5A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087B8DF-BABC-4CBD-9222-49EB64AA9DFC}"/>
              </a:ext>
            </a:extLst>
          </p:cNvPr>
          <p:cNvGrpSpPr/>
          <p:nvPr userDrawn="1"/>
        </p:nvGrpSpPr>
        <p:grpSpPr>
          <a:xfrm>
            <a:off x="9358313" y="3175"/>
            <a:ext cx="8929687" cy="10291763"/>
            <a:chOff x="9358313" y="3175"/>
            <a:chExt cx="8929687" cy="10291763"/>
          </a:xfrm>
        </p:grpSpPr>
        <p:sp>
          <p:nvSpPr>
            <p:cNvPr id="28" name="Freeform 33">
              <a:extLst>
                <a:ext uri="{FF2B5EF4-FFF2-40B4-BE49-F238E27FC236}">
                  <a16:creationId xmlns:a16="http://schemas.microsoft.com/office/drawing/2014/main" id="{51891569-DBB5-43C7-9857-CB363B58D4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26650" y="4611688"/>
              <a:ext cx="3248025" cy="5683250"/>
            </a:xfrm>
            <a:custGeom>
              <a:avLst/>
              <a:gdLst>
                <a:gd name="T0" fmla="*/ 0 w 1022"/>
                <a:gd name="T1" fmla="*/ 0 h 1788"/>
                <a:gd name="T2" fmla="*/ 0 w 1022"/>
                <a:gd name="T3" fmla="*/ 1788 h 1788"/>
                <a:gd name="T4" fmla="*/ 1022 w 1022"/>
                <a:gd name="T5" fmla="*/ 1788 h 1788"/>
                <a:gd name="T6" fmla="*/ 0 w 1022"/>
                <a:gd name="T7" fmla="*/ 0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2" h="1788">
                  <a:moveTo>
                    <a:pt x="0" y="0"/>
                  </a:moveTo>
                  <a:cubicBezTo>
                    <a:pt x="0" y="1788"/>
                    <a:pt x="0" y="1788"/>
                    <a:pt x="0" y="1788"/>
                  </a:cubicBezTo>
                  <a:cubicBezTo>
                    <a:pt x="1022" y="1788"/>
                    <a:pt x="1022" y="1788"/>
                    <a:pt x="1022" y="1788"/>
                  </a:cubicBezTo>
                  <a:cubicBezTo>
                    <a:pt x="558" y="1303"/>
                    <a:pt x="207" y="699"/>
                    <a:pt x="0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US"/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9F209FA4-9169-4736-B890-8DB4464EE8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57638" y="3175"/>
              <a:ext cx="1300162" cy="5251450"/>
            </a:xfrm>
            <a:custGeom>
              <a:avLst/>
              <a:gdLst>
                <a:gd name="T0" fmla="*/ 409 w 409"/>
                <a:gd name="T1" fmla="*/ 0 h 1652"/>
                <a:gd name="T2" fmla="*/ 0 w 409"/>
                <a:gd name="T3" fmla="*/ 0 h 1652"/>
                <a:gd name="T4" fmla="*/ 409 w 409"/>
                <a:gd name="T5" fmla="*/ 1652 h 1652"/>
                <a:gd name="T6" fmla="*/ 409 w 409"/>
                <a:gd name="T7" fmla="*/ 0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9" h="1652">
                  <a:moveTo>
                    <a:pt x="40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658"/>
                    <a:pt x="149" y="1222"/>
                    <a:pt x="409" y="1652"/>
                  </a:cubicBezTo>
                  <a:cubicBezTo>
                    <a:pt x="409" y="0"/>
                    <a:pt x="409" y="0"/>
                    <a:pt x="409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US"/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5FF05971-2E0F-4E16-87FB-608A2D9E10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957800" y="5254625"/>
              <a:ext cx="330200" cy="5040313"/>
            </a:xfrm>
            <a:custGeom>
              <a:avLst/>
              <a:gdLst>
                <a:gd name="T0" fmla="*/ 0 w 104"/>
                <a:gd name="T1" fmla="*/ 0 h 1586"/>
                <a:gd name="T2" fmla="*/ 0 w 104"/>
                <a:gd name="T3" fmla="*/ 1586 h 1586"/>
                <a:gd name="T4" fmla="*/ 104 w 104"/>
                <a:gd name="T5" fmla="*/ 1586 h 1586"/>
                <a:gd name="T6" fmla="*/ 104 w 104"/>
                <a:gd name="T7" fmla="*/ 156 h 1586"/>
                <a:gd name="T8" fmla="*/ 0 w 104"/>
                <a:gd name="T9" fmla="*/ 0 h 1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586">
                  <a:moveTo>
                    <a:pt x="0" y="0"/>
                  </a:moveTo>
                  <a:cubicBezTo>
                    <a:pt x="0" y="1586"/>
                    <a:pt x="0" y="1586"/>
                    <a:pt x="0" y="1586"/>
                  </a:cubicBezTo>
                  <a:cubicBezTo>
                    <a:pt x="104" y="1586"/>
                    <a:pt x="104" y="1586"/>
                    <a:pt x="104" y="1586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67" y="106"/>
                    <a:pt x="33" y="54"/>
                    <a:pt x="0" y="0"/>
                  </a:cubicBezTo>
                </a:path>
              </a:pathLst>
            </a:custGeom>
            <a:solidFill>
              <a:srgbClr val="D1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US"/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97C1B979-8D7C-44AC-A7B9-9CB383E598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58313" y="3175"/>
              <a:ext cx="668337" cy="4608513"/>
            </a:xfrm>
            <a:custGeom>
              <a:avLst/>
              <a:gdLst>
                <a:gd name="T0" fmla="*/ 210 w 210"/>
                <a:gd name="T1" fmla="*/ 0 h 1450"/>
                <a:gd name="T2" fmla="*/ 0 w 210"/>
                <a:gd name="T3" fmla="*/ 0 h 1450"/>
                <a:gd name="T4" fmla="*/ 210 w 210"/>
                <a:gd name="T5" fmla="*/ 1450 h 1450"/>
                <a:gd name="T6" fmla="*/ 210 w 210"/>
                <a:gd name="T7" fmla="*/ 0 h 1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1450">
                  <a:moveTo>
                    <a:pt x="2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517"/>
                    <a:pt x="78" y="1003"/>
                    <a:pt x="210" y="1450"/>
                  </a:cubicBezTo>
                  <a:cubicBezTo>
                    <a:pt x="210" y="0"/>
                    <a:pt x="210" y="0"/>
                    <a:pt x="210" y="0"/>
                  </a:cubicBezTo>
                </a:path>
              </a:pathLst>
            </a:custGeom>
            <a:solidFill>
              <a:srgbClr val="D1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US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333224F6-7EDE-485B-B587-7C294AE40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26650" y="3175"/>
              <a:ext cx="7931150" cy="10291763"/>
            </a:xfrm>
            <a:custGeom>
              <a:avLst/>
              <a:gdLst>
                <a:gd name="T0" fmla="*/ 2086 w 2495"/>
                <a:gd name="T1" fmla="*/ 0 h 3238"/>
                <a:gd name="T2" fmla="*/ 0 w 2495"/>
                <a:gd name="T3" fmla="*/ 0 h 3238"/>
                <a:gd name="T4" fmla="*/ 0 w 2495"/>
                <a:gd name="T5" fmla="*/ 1450 h 3238"/>
                <a:gd name="T6" fmla="*/ 1022 w 2495"/>
                <a:gd name="T7" fmla="*/ 3238 h 3238"/>
                <a:gd name="T8" fmla="*/ 2495 w 2495"/>
                <a:gd name="T9" fmla="*/ 3238 h 3238"/>
                <a:gd name="T10" fmla="*/ 2495 w 2495"/>
                <a:gd name="T11" fmla="*/ 1652 h 3238"/>
                <a:gd name="T12" fmla="*/ 2495 w 2495"/>
                <a:gd name="T13" fmla="*/ 1652 h 3238"/>
                <a:gd name="T14" fmla="*/ 2495 w 2495"/>
                <a:gd name="T15" fmla="*/ 1652 h 3238"/>
                <a:gd name="T16" fmla="*/ 2086 w 2495"/>
                <a:gd name="T17" fmla="*/ 0 h 3238"/>
                <a:gd name="T18" fmla="*/ 2086 w 2495"/>
                <a:gd name="T19" fmla="*/ 0 h 3238"/>
                <a:gd name="T20" fmla="*/ 2086 w 2495"/>
                <a:gd name="T21" fmla="*/ 0 h 3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95" h="3238">
                  <a:moveTo>
                    <a:pt x="20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50"/>
                    <a:pt x="0" y="1450"/>
                    <a:pt x="0" y="1450"/>
                  </a:cubicBezTo>
                  <a:cubicBezTo>
                    <a:pt x="207" y="2149"/>
                    <a:pt x="558" y="2753"/>
                    <a:pt x="1022" y="3238"/>
                  </a:cubicBezTo>
                  <a:cubicBezTo>
                    <a:pt x="2495" y="3238"/>
                    <a:pt x="2495" y="3238"/>
                    <a:pt x="2495" y="3238"/>
                  </a:cubicBezTo>
                  <a:cubicBezTo>
                    <a:pt x="2495" y="1652"/>
                    <a:pt x="2495" y="1652"/>
                    <a:pt x="2495" y="1652"/>
                  </a:cubicBezTo>
                  <a:cubicBezTo>
                    <a:pt x="2495" y="1652"/>
                    <a:pt x="2495" y="1652"/>
                    <a:pt x="2495" y="1652"/>
                  </a:cubicBezTo>
                  <a:cubicBezTo>
                    <a:pt x="2495" y="1652"/>
                    <a:pt x="2495" y="1652"/>
                    <a:pt x="2495" y="1652"/>
                  </a:cubicBezTo>
                  <a:cubicBezTo>
                    <a:pt x="2235" y="1222"/>
                    <a:pt x="2093" y="658"/>
                    <a:pt x="2086" y="0"/>
                  </a:cubicBezTo>
                  <a:cubicBezTo>
                    <a:pt x="2086" y="0"/>
                    <a:pt x="2086" y="0"/>
                    <a:pt x="2086" y="0"/>
                  </a:cubicBezTo>
                  <a:cubicBezTo>
                    <a:pt x="2086" y="0"/>
                    <a:pt x="2086" y="0"/>
                    <a:pt x="2086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US"/>
            </a:p>
          </p:txBody>
        </p:sp>
      </p:grpSp>
      <p:sp>
        <p:nvSpPr>
          <p:cNvPr id="46" name="Slide Number Placeholder 2">
            <a:extLst>
              <a:ext uri="{FF2B5EF4-FFF2-40B4-BE49-F238E27FC236}">
                <a16:creationId xmlns:a16="http://schemas.microsoft.com/office/drawing/2014/main" id="{3842154D-FB6B-472E-8E73-091B59C1A6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84251" y="9615820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3833BA6B-A222-4413-A40A-5588C4B8E0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467643" y="841775"/>
            <a:ext cx="6335601" cy="625038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3079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400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3079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  <p:pic>
        <p:nvPicPr>
          <p:cNvPr id="48" name="Picture 2">
            <a:extLst>
              <a:ext uri="{FF2B5EF4-FFF2-40B4-BE49-F238E27FC236}">
                <a16:creationId xmlns:a16="http://schemas.microsoft.com/office/drawing/2014/main" id="{CEE219C1-48DC-4C14-A818-5488BF7701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35464" y="9828658"/>
            <a:ext cx="2444348" cy="32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0188608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with hat&#10;&#10;Description automatically generated">
            <a:extLst>
              <a:ext uri="{FF2B5EF4-FFF2-40B4-BE49-F238E27FC236}">
                <a16:creationId xmlns:a16="http://schemas.microsoft.com/office/drawing/2014/main" id="{8B64BC23-FFC6-4AAF-89F0-21FCD60995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91175" cy="10298113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55108" y="0"/>
            <a:ext cx="18236067" cy="10272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790434" y="619798"/>
            <a:ext cx="8861110" cy="7881183"/>
          </a:xfrm>
          <a:prstGeom prst="rect">
            <a:avLst/>
          </a:prstGeom>
          <a:noFill/>
        </p:spPr>
        <p:txBody>
          <a:bodyPr lIns="548640" tIns="540000" rIns="540000"/>
          <a:lstStyle>
            <a:lvl1pPr marL="1452767" indent="-1452767" algn="l" rtl="0" eaLnBrk="0" fontAlgn="base" hangingPunct="0">
              <a:lnSpc>
                <a:spcPts val="8033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8633502" algn="r"/>
              </a:tabLst>
              <a:defRPr lang="en-US" sz="7893" b="1" kern="1200" cap="all" spc="-179" baseline="0" dirty="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633502" algn="r"/>
              </a:tabLst>
              <a:defRPr sz="10390" kern="1200" spc="-482" baseline="0">
                <a:solidFill>
                  <a:schemeClr val="bg1"/>
                </a:solidFill>
              </a:defRPr>
            </a:lvl2pPr>
            <a:lvl3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633502" algn="r"/>
              </a:tabLst>
              <a:defRPr sz="10390" kern="1200" spc="-482" baseline="0">
                <a:solidFill>
                  <a:schemeClr val="bg1"/>
                </a:solidFill>
              </a:defRPr>
            </a:lvl3pPr>
            <a:lvl4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633502" algn="r"/>
              </a:tabLst>
              <a:defRPr sz="10390" kern="1200" spc="-482" baseline="0">
                <a:solidFill>
                  <a:schemeClr val="bg1"/>
                </a:solidFill>
              </a:defRPr>
            </a:lvl4pPr>
            <a:lvl5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633502" algn="r"/>
              </a:tabLst>
              <a:defRPr sz="10390" kern="1200" spc="-482" baseline="0">
                <a:solidFill>
                  <a:schemeClr val="bg1"/>
                </a:solidFill>
              </a:defRPr>
            </a:lvl5pPr>
          </a:lstStyle>
          <a:p>
            <a:pPr marL="0" lvl="0" indent="0" algn="l" rtl="0" eaLnBrk="0" fontAlgn="base" hangingPunct="0">
              <a:lnSpc>
                <a:spcPts val="8033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8633502" algn="r"/>
              </a:tabLst>
            </a:pPr>
            <a:r>
              <a:rPr lang="en-GB"/>
              <a:t>TITLE WITH STRONG</a:t>
            </a:r>
            <a:br>
              <a:rPr lang="en-GB"/>
            </a:br>
            <a:r>
              <a:rPr lang="en-GB"/>
              <a:t>MESSAGE / CALL TO ACTION. </a:t>
            </a:r>
          </a:p>
          <a:p>
            <a:pPr marL="0" lvl="0" indent="0" algn="l" rtl="0" eaLnBrk="0" fontAlgn="base" hangingPunct="0">
              <a:lnSpc>
                <a:spcPts val="8033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8633502" algn="r"/>
              </a:tabLst>
            </a:pPr>
            <a:r>
              <a:rPr lang="en-GB"/>
              <a:t>Not MORE </a:t>
            </a:r>
          </a:p>
          <a:p>
            <a:pPr marL="0" lvl="0" indent="0" algn="l" rtl="0" eaLnBrk="0" fontAlgn="base" hangingPunct="0">
              <a:lnSpc>
                <a:spcPts val="8033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8633502" algn="r"/>
              </a:tabLst>
            </a:pPr>
            <a:r>
              <a:rPr lang="en-GB"/>
              <a:t>THAN 4 LINES.</a:t>
            </a:r>
            <a:endParaRPr lang="en-US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8E59F0C-3E47-4236-9828-C184B2E3470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77398" y="9428889"/>
            <a:ext cx="2863850" cy="387350"/>
            <a:chOff x="434" y="5587"/>
            <a:chExt cx="1804" cy="244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E1FEC671-F4FA-47DD-95C7-8AD50F3E40C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D618CF2F-885B-455A-92FA-3C5673C110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BED6721-3A2B-4B8A-9E63-DB26B7DB74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Rectangle 7">
              <a:extLst>
                <a:ext uri="{FF2B5EF4-FFF2-40B4-BE49-F238E27FC236}">
                  <a16:creationId xmlns:a16="http://schemas.microsoft.com/office/drawing/2014/main" id="{AE48530D-469D-4C2D-993E-076B3E04B5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253B3101-9B90-4173-A62E-972B87F060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Rectangle 9">
              <a:extLst>
                <a:ext uri="{FF2B5EF4-FFF2-40B4-BE49-F238E27FC236}">
                  <a16:creationId xmlns:a16="http://schemas.microsoft.com/office/drawing/2014/main" id="{374C1E9D-2AED-42BC-BBED-07ABC3317F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DE7ACC2E-721C-4893-999B-B62BE374A4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Rectangle 11">
              <a:extLst>
                <a:ext uri="{FF2B5EF4-FFF2-40B4-BE49-F238E27FC236}">
                  <a16:creationId xmlns:a16="http://schemas.microsoft.com/office/drawing/2014/main" id="{2700F604-1E94-4A96-BE33-BD7E07B551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Rectangle 12">
              <a:extLst>
                <a:ext uri="{FF2B5EF4-FFF2-40B4-BE49-F238E27FC236}">
                  <a16:creationId xmlns:a16="http://schemas.microsoft.com/office/drawing/2014/main" id="{E8F5E0AF-CAEB-42D8-90A4-65284014A9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AE102D55-5913-411D-9499-B3EC220794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2849BACC-3D13-4BB2-9D06-D7047E7ABB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15">
              <a:extLst>
                <a:ext uri="{FF2B5EF4-FFF2-40B4-BE49-F238E27FC236}">
                  <a16:creationId xmlns:a16="http://schemas.microsoft.com/office/drawing/2014/main" id="{0FF09967-1F91-4E37-BFA0-11FFBB5FD3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Rectangle 16">
              <a:extLst>
                <a:ext uri="{FF2B5EF4-FFF2-40B4-BE49-F238E27FC236}">
                  <a16:creationId xmlns:a16="http://schemas.microsoft.com/office/drawing/2014/main" id="{48B4F762-50FC-4D8D-A30C-44013825C3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17">
              <a:extLst>
                <a:ext uri="{FF2B5EF4-FFF2-40B4-BE49-F238E27FC236}">
                  <a16:creationId xmlns:a16="http://schemas.microsoft.com/office/drawing/2014/main" id="{ACFFAB15-6E3D-41BE-A8AF-054653D010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Rectangle 18">
              <a:extLst>
                <a:ext uri="{FF2B5EF4-FFF2-40B4-BE49-F238E27FC236}">
                  <a16:creationId xmlns:a16="http://schemas.microsoft.com/office/drawing/2014/main" id="{49C0DA84-79CF-480D-85AA-64242359C9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9">
              <a:extLst>
                <a:ext uri="{FF2B5EF4-FFF2-40B4-BE49-F238E27FC236}">
                  <a16:creationId xmlns:a16="http://schemas.microsoft.com/office/drawing/2014/main" id="{ECC95809-0D0C-4576-8C17-96500D59AA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0">
              <a:extLst>
                <a:ext uri="{FF2B5EF4-FFF2-40B4-BE49-F238E27FC236}">
                  <a16:creationId xmlns:a16="http://schemas.microsoft.com/office/drawing/2014/main" id="{AF7B9CD2-44E9-4167-8EA7-828B32A127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94082996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9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714BA7-7651-4720-A536-D1CCF8F008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664"/>
            <a:ext cx="18291175" cy="1028878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24" name="Group 4">
            <a:extLst>
              <a:ext uri="{FF2B5EF4-FFF2-40B4-BE49-F238E27FC236}">
                <a16:creationId xmlns:a16="http://schemas.microsoft.com/office/drawing/2014/main" id="{4C7EA7AD-2E7F-4FB8-BC7E-0F2DE17127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77398" y="9428889"/>
            <a:ext cx="2863850" cy="387350"/>
            <a:chOff x="434" y="5587"/>
            <a:chExt cx="1804" cy="244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72F2E4EF-2FC0-49D7-B134-83E2B07052A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37F64C1-8D62-4346-8E0F-5AB2584D1B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32BCFE1-3CC7-4DF8-9C1B-0872EAC3B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CC99C343-9ADC-4B10-89B3-AE06C853A3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318B999C-E6CE-418E-83A4-817DA9097C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Rectangle 9">
              <a:extLst>
                <a:ext uri="{FF2B5EF4-FFF2-40B4-BE49-F238E27FC236}">
                  <a16:creationId xmlns:a16="http://schemas.microsoft.com/office/drawing/2014/main" id="{AB336277-8F35-4094-850D-B2671DCEB6C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AEC20E73-69B9-497D-80DC-D9C1838772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Rectangle 11">
              <a:extLst>
                <a:ext uri="{FF2B5EF4-FFF2-40B4-BE49-F238E27FC236}">
                  <a16:creationId xmlns:a16="http://schemas.microsoft.com/office/drawing/2014/main" id="{AAE32975-ADD0-46DB-88D8-64D16C9835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Rectangle 12">
              <a:extLst>
                <a:ext uri="{FF2B5EF4-FFF2-40B4-BE49-F238E27FC236}">
                  <a16:creationId xmlns:a16="http://schemas.microsoft.com/office/drawing/2014/main" id="{FE1B90DC-35AF-4EAB-B84B-EF2B40A9F14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6FE1B0F5-EAA1-4FC0-A732-B7130FF601B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8F6000B5-BF08-47C3-AC03-F7A8F919F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FEE8D482-C2A5-4FA1-A3FD-43EB400909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Rectangle 16">
              <a:extLst>
                <a:ext uri="{FF2B5EF4-FFF2-40B4-BE49-F238E27FC236}">
                  <a16:creationId xmlns:a16="http://schemas.microsoft.com/office/drawing/2014/main" id="{EFCB31EE-0471-4ADE-BC6C-8CDBF9E52E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9FED9603-E034-4550-B9B2-CF13C777E0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Rectangle 18">
              <a:extLst>
                <a:ext uri="{FF2B5EF4-FFF2-40B4-BE49-F238E27FC236}">
                  <a16:creationId xmlns:a16="http://schemas.microsoft.com/office/drawing/2014/main" id="{34C98779-997B-4EA5-81AE-8ACB528244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19">
              <a:extLst>
                <a:ext uri="{FF2B5EF4-FFF2-40B4-BE49-F238E27FC236}">
                  <a16:creationId xmlns:a16="http://schemas.microsoft.com/office/drawing/2014/main" id="{7999E716-A658-4AEB-B23A-43D188D690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0">
              <a:extLst>
                <a:ext uri="{FF2B5EF4-FFF2-40B4-BE49-F238E27FC236}">
                  <a16:creationId xmlns:a16="http://schemas.microsoft.com/office/drawing/2014/main" id="{505F9539-27DE-436A-8E72-F3110F2143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EB2B2A9C-C87E-487F-B138-6A6D5F9E408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25559" y="2164397"/>
            <a:ext cx="10547131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7890" b="1" cap="none" spc="0" baseline="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691566272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2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714BA7-7651-4720-A536-D1CCF8F008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91175" cy="102981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9496" y="1924049"/>
            <a:ext cx="10562704" cy="7181851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10F7B810-8012-4CA5-99A1-C3042C799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497" y="503499"/>
            <a:ext cx="10562704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3" name="Group 4">
            <a:extLst>
              <a:ext uri="{FF2B5EF4-FFF2-40B4-BE49-F238E27FC236}">
                <a16:creationId xmlns:a16="http://schemas.microsoft.com/office/drawing/2014/main" id="{57828E57-05B8-4554-955E-102F53D073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2195" y="9428889"/>
            <a:ext cx="2860675" cy="384175"/>
            <a:chOff x="436" y="5587"/>
            <a:chExt cx="1802" cy="242"/>
          </a:xfrm>
        </p:grpSpPr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74B8D578-370C-4908-9747-38537DF7797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58C54ADC-8C1A-40DE-AB5F-8CDEBE016F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10862AD4-465F-442A-8274-9C5D4A9704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915FE130-6912-4178-8334-47BCB763B5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FDCC1838-7C6D-46A3-9C85-75B465280F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4D2D567A-CCD7-42F0-AC9B-632737D152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F747D2ED-5426-4BBE-95F1-9B7B56E34A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99F513CC-2337-4FD0-BBAF-308C976481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9ED64B0D-7C33-4DFB-9444-C157F26157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CA5568B6-B3A3-450B-B26B-F3AEA95401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E5463A28-3081-4B6E-BCA8-D14298399A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27799FE4-B1AE-4A53-8339-59311B8B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Rectangle 16">
              <a:extLst>
                <a:ext uri="{FF2B5EF4-FFF2-40B4-BE49-F238E27FC236}">
                  <a16:creationId xmlns:a16="http://schemas.microsoft.com/office/drawing/2014/main" id="{4B6D38D5-A178-4FE3-9C3B-58546425CA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C42B2A13-FF49-480C-8913-44D7715549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8">
              <a:extLst>
                <a:ext uri="{FF2B5EF4-FFF2-40B4-BE49-F238E27FC236}">
                  <a16:creationId xmlns:a16="http://schemas.microsoft.com/office/drawing/2014/main" id="{BB18433C-2C3B-427F-BCFD-63AE17A91B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C2953640-EC30-4964-A9F2-B6377D12DA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DD46B659-8F11-41ED-BB13-1E8AF52581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415E42B-A345-482A-9C6B-92AE17984A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053130" y="2108981"/>
            <a:ext cx="4658319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395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4182259085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4_Highlight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342728-4EF9-4D08-8346-2C6B0C0040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8291175" cy="10298113"/>
          </a:xfrm>
          <a:prstGeom prst="rect">
            <a:avLst/>
          </a:prstGeom>
        </p:spPr>
      </p:pic>
      <p:sp>
        <p:nvSpPr>
          <p:cNvPr id="103" name="Title 8">
            <a:extLst>
              <a:ext uri="{FF2B5EF4-FFF2-40B4-BE49-F238E27FC236}">
                <a16:creationId xmlns:a16="http://schemas.microsoft.com/office/drawing/2014/main" id="{02D8AEAA-779A-4213-96BF-E1CA8D0FD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0824" y="1535145"/>
            <a:ext cx="14696647" cy="7151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360" tIns="720360" rIns="720360" bIns="720360" numCol="1" rtlCol="0" anchor="ctr" anchorCtr="1" compatLnSpc="1">
            <a:prstTxWarp prst="textNoShape">
              <a:avLst/>
            </a:prstTxWarp>
            <a:noAutofit/>
          </a:bodyPr>
          <a:lstStyle>
            <a:lvl1pPr marL="0" marR="0" indent="0" algn="ctr" defTabSz="1827976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/>
              <a:defRPr lang="en-GB" sz="7890" b="1" kern="1200" cap="none" spc="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1827976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tabLst/>
              <a:defRPr/>
            </a:pPr>
            <a:r>
              <a:rPr lang="en-US"/>
              <a:t>CLICK TO EDIT TEXT OF DIVIDER OR MESSAGING SLIDES</a:t>
            </a:r>
          </a:p>
        </p:txBody>
      </p:sp>
      <p:grpSp>
        <p:nvGrpSpPr>
          <p:cNvPr id="40" name="Group 4">
            <a:extLst>
              <a:ext uri="{FF2B5EF4-FFF2-40B4-BE49-F238E27FC236}">
                <a16:creationId xmlns:a16="http://schemas.microsoft.com/office/drawing/2014/main" id="{5F001BEE-7908-4612-90D6-1E9263D173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6" cy="384175"/>
            <a:chOff x="436" y="5587"/>
            <a:chExt cx="1802" cy="242"/>
          </a:xfrm>
        </p:grpSpPr>
        <p:sp>
          <p:nvSpPr>
            <p:cNvPr id="41" name="AutoShape 3">
              <a:extLst>
                <a:ext uri="{FF2B5EF4-FFF2-40B4-BE49-F238E27FC236}">
                  <a16:creationId xmlns:a16="http://schemas.microsoft.com/office/drawing/2014/main" id="{1A0A1E56-602E-420F-B906-A9BFBFF410B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A9E4A703-D252-4CCB-8853-893F30DD25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210249EC-C5A4-4FA7-A209-10196F5166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9085DFCB-AD94-4C5B-84DB-32E5A9D64D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125B402B-38B5-44BF-B09F-CD32FB67DE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2452E17A-E1CF-4C8D-9B5A-DFF22C1602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61291FFE-2898-4F49-A874-E44BE5C37A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8" name="Rectangle 11">
              <a:extLst>
                <a:ext uri="{FF2B5EF4-FFF2-40B4-BE49-F238E27FC236}">
                  <a16:creationId xmlns:a16="http://schemas.microsoft.com/office/drawing/2014/main" id="{71AE509A-0AF3-4604-B18A-E914A108AA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9" name="Rectangle 12">
              <a:extLst>
                <a:ext uri="{FF2B5EF4-FFF2-40B4-BE49-F238E27FC236}">
                  <a16:creationId xmlns:a16="http://schemas.microsoft.com/office/drawing/2014/main" id="{20E2F37B-73C4-4392-9903-1CFA997E09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10429613-328D-441B-B5D1-ABB25A96AD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29C658A2-C7A1-4452-B4D6-7566FFEB22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6DCAD8A5-DAAA-4F82-8A88-15D79BA9C7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3" name="Rectangle 16">
              <a:extLst>
                <a:ext uri="{FF2B5EF4-FFF2-40B4-BE49-F238E27FC236}">
                  <a16:creationId xmlns:a16="http://schemas.microsoft.com/office/drawing/2014/main" id="{9D8917AF-6A2E-4960-A4E0-8196F71F42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DEB04A77-A246-42BE-AEB0-D35A30C70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5" name="Rectangle 18">
              <a:extLst>
                <a:ext uri="{FF2B5EF4-FFF2-40B4-BE49-F238E27FC236}">
                  <a16:creationId xmlns:a16="http://schemas.microsoft.com/office/drawing/2014/main" id="{7691FA5B-A410-465A-B649-1751B519EA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CDF1719C-AE81-4C8D-BA63-F3E790BDD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21F1F581-6E00-41DF-BA0D-3CAB642E73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</p:grpSp>
    </p:spTree>
    <p:extLst>
      <p:ext uri="{BB962C8B-B14F-4D97-AF65-F5344CB8AC3E}">
        <p14:creationId xmlns:p14="http://schemas.microsoft.com/office/powerpoint/2010/main" val="203618512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6_Highlight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33CDB6C-3233-43B3-9563-7AB177D0A6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4663"/>
            <a:ext cx="18291177" cy="10288786"/>
          </a:xfrm>
          <a:prstGeom prst="rect">
            <a:avLst/>
          </a:prstGeom>
        </p:spPr>
      </p:pic>
      <p:grpSp>
        <p:nvGrpSpPr>
          <p:cNvPr id="40" name="Group 4">
            <a:extLst>
              <a:ext uri="{FF2B5EF4-FFF2-40B4-BE49-F238E27FC236}">
                <a16:creationId xmlns:a16="http://schemas.microsoft.com/office/drawing/2014/main" id="{5F001BEE-7908-4612-90D6-1E9263D173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6" cy="384175"/>
            <a:chOff x="436" y="5587"/>
            <a:chExt cx="1802" cy="242"/>
          </a:xfrm>
        </p:grpSpPr>
        <p:sp>
          <p:nvSpPr>
            <p:cNvPr id="41" name="AutoShape 3">
              <a:extLst>
                <a:ext uri="{FF2B5EF4-FFF2-40B4-BE49-F238E27FC236}">
                  <a16:creationId xmlns:a16="http://schemas.microsoft.com/office/drawing/2014/main" id="{1A0A1E56-602E-420F-B906-A9BFBFF410B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A9E4A703-D252-4CCB-8853-893F30DD25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210249EC-C5A4-4FA7-A209-10196F5166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9085DFCB-AD94-4C5B-84DB-32E5A9D64D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125B402B-38B5-44BF-B09F-CD32FB67DE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2452E17A-E1CF-4C8D-9B5A-DFF22C1602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61291FFE-2898-4F49-A874-E44BE5C37A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8" name="Rectangle 11">
              <a:extLst>
                <a:ext uri="{FF2B5EF4-FFF2-40B4-BE49-F238E27FC236}">
                  <a16:creationId xmlns:a16="http://schemas.microsoft.com/office/drawing/2014/main" id="{71AE509A-0AF3-4604-B18A-E914A108AA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9" name="Rectangle 12">
              <a:extLst>
                <a:ext uri="{FF2B5EF4-FFF2-40B4-BE49-F238E27FC236}">
                  <a16:creationId xmlns:a16="http://schemas.microsoft.com/office/drawing/2014/main" id="{20E2F37B-73C4-4392-9903-1CFA997E09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10429613-328D-441B-B5D1-ABB25A96AD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29C658A2-C7A1-4452-B4D6-7566FFEB22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6DCAD8A5-DAAA-4F82-8A88-15D79BA9C7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3" name="Rectangle 16">
              <a:extLst>
                <a:ext uri="{FF2B5EF4-FFF2-40B4-BE49-F238E27FC236}">
                  <a16:creationId xmlns:a16="http://schemas.microsoft.com/office/drawing/2014/main" id="{9D8917AF-6A2E-4960-A4E0-8196F71F42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DEB04A77-A246-42BE-AEB0-D35A30C70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5" name="Rectangle 18">
              <a:extLst>
                <a:ext uri="{FF2B5EF4-FFF2-40B4-BE49-F238E27FC236}">
                  <a16:creationId xmlns:a16="http://schemas.microsoft.com/office/drawing/2014/main" id="{7691FA5B-A410-465A-B649-1751B519EA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CDF1719C-AE81-4C8D-BA63-F3E790BDD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21F1F581-6E00-41DF-BA0D-3CAB642E73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</p:grpSp>
      <p:sp>
        <p:nvSpPr>
          <p:cNvPr id="22" name="Title 8">
            <a:extLst>
              <a:ext uri="{FF2B5EF4-FFF2-40B4-BE49-F238E27FC236}">
                <a16:creationId xmlns:a16="http://schemas.microsoft.com/office/drawing/2014/main" id="{5D0B2425-375E-49AD-B2E0-01408CF1D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0824" y="1535145"/>
            <a:ext cx="14696647" cy="7151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360" tIns="720360" rIns="720360" bIns="720360" numCol="1" rtlCol="0" anchor="ctr" anchorCtr="1" compatLnSpc="1">
            <a:prstTxWarp prst="textNoShape">
              <a:avLst/>
            </a:prstTxWarp>
            <a:noAutofit/>
          </a:bodyPr>
          <a:lstStyle>
            <a:lvl1pPr marL="0" marR="0" indent="0" algn="ctr" defTabSz="1827976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/>
              <a:defRPr lang="en-GB" sz="7890" b="1" kern="1200" cap="none" spc="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1827976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tabLst/>
              <a:defRPr/>
            </a:pPr>
            <a:r>
              <a:rPr lang="en-US"/>
              <a:t>CLICK TO EDIT TEXT OF DIVIDER OR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215989649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_Highlight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C798D1-668F-4600-873C-F4F6B93492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664"/>
            <a:ext cx="18291175" cy="10288785"/>
          </a:xfrm>
          <a:prstGeom prst="rect">
            <a:avLst/>
          </a:prstGeom>
        </p:spPr>
      </p:pic>
      <p:grpSp>
        <p:nvGrpSpPr>
          <p:cNvPr id="65" name="Group 4">
            <a:extLst>
              <a:ext uri="{FF2B5EF4-FFF2-40B4-BE49-F238E27FC236}">
                <a16:creationId xmlns:a16="http://schemas.microsoft.com/office/drawing/2014/main" id="{2561A8D0-0F6D-4105-82DB-132B3C41BB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1673" y="9428889"/>
            <a:ext cx="2860676" cy="384175"/>
            <a:chOff x="436" y="5587"/>
            <a:chExt cx="1802" cy="242"/>
          </a:xfrm>
        </p:grpSpPr>
        <p:sp>
          <p:nvSpPr>
            <p:cNvPr id="66" name="AutoShape 3">
              <a:extLst>
                <a:ext uri="{FF2B5EF4-FFF2-40B4-BE49-F238E27FC236}">
                  <a16:creationId xmlns:a16="http://schemas.microsoft.com/office/drawing/2014/main" id="{9715932D-C23D-4D8F-8E8B-62242BA35BC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67" name="Freeform 5">
              <a:extLst>
                <a:ext uri="{FF2B5EF4-FFF2-40B4-BE49-F238E27FC236}">
                  <a16:creationId xmlns:a16="http://schemas.microsoft.com/office/drawing/2014/main" id="{E6385836-5BE8-46C6-AD5C-3B7AB2C460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809D4C3D-3385-4988-8966-D35416AEA0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69" name="Rectangle 7">
              <a:extLst>
                <a:ext uri="{FF2B5EF4-FFF2-40B4-BE49-F238E27FC236}">
                  <a16:creationId xmlns:a16="http://schemas.microsoft.com/office/drawing/2014/main" id="{A7F66AD0-AE85-4676-9506-9578EE3C25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A73CE4BA-53E7-48C3-A041-48936A5078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1" name="Rectangle 9">
              <a:extLst>
                <a:ext uri="{FF2B5EF4-FFF2-40B4-BE49-F238E27FC236}">
                  <a16:creationId xmlns:a16="http://schemas.microsoft.com/office/drawing/2014/main" id="{A83A5351-979C-439C-9293-E0893D3FCA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2" name="Rectangle 10">
              <a:extLst>
                <a:ext uri="{FF2B5EF4-FFF2-40B4-BE49-F238E27FC236}">
                  <a16:creationId xmlns:a16="http://schemas.microsoft.com/office/drawing/2014/main" id="{F57E20DA-E5F5-483B-B5D8-369B3D4629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3" name="Rectangle 11">
              <a:extLst>
                <a:ext uri="{FF2B5EF4-FFF2-40B4-BE49-F238E27FC236}">
                  <a16:creationId xmlns:a16="http://schemas.microsoft.com/office/drawing/2014/main" id="{F981BDEB-559E-43EB-84BD-340C8915A9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4" name="Rectangle 12">
              <a:extLst>
                <a:ext uri="{FF2B5EF4-FFF2-40B4-BE49-F238E27FC236}">
                  <a16:creationId xmlns:a16="http://schemas.microsoft.com/office/drawing/2014/main" id="{64E564C4-D915-48B2-A76E-CBE97CEDDC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id="{2D9BDDD9-534C-4AB4-81E9-EB75D48B23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id="{DC11195B-E18B-4A95-967B-558FA0A8C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id="{93857615-AE68-4A9E-A31B-3D7FC157C5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8" name="Rectangle 16">
              <a:extLst>
                <a:ext uri="{FF2B5EF4-FFF2-40B4-BE49-F238E27FC236}">
                  <a16:creationId xmlns:a16="http://schemas.microsoft.com/office/drawing/2014/main" id="{74618ADE-3D16-4571-A5B3-BFDAB93938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E323FA8D-2A63-45E9-B3B7-99D91C27B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80" name="Rectangle 18">
              <a:extLst>
                <a:ext uri="{FF2B5EF4-FFF2-40B4-BE49-F238E27FC236}">
                  <a16:creationId xmlns:a16="http://schemas.microsoft.com/office/drawing/2014/main" id="{2B0FF016-4D0D-4939-92C6-780213C03B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id="{721B0454-C7CF-4BAA-BAEF-48A656D2A9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82" name="Freeform 20">
              <a:extLst>
                <a:ext uri="{FF2B5EF4-FFF2-40B4-BE49-F238E27FC236}">
                  <a16:creationId xmlns:a16="http://schemas.microsoft.com/office/drawing/2014/main" id="{9B279460-5364-473E-A940-E670FB2EDA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</p:grpSp>
      <p:sp>
        <p:nvSpPr>
          <p:cNvPr id="22" name="Title 8">
            <a:extLst>
              <a:ext uri="{FF2B5EF4-FFF2-40B4-BE49-F238E27FC236}">
                <a16:creationId xmlns:a16="http://schemas.microsoft.com/office/drawing/2014/main" id="{F1C9E0FF-1EE0-4D50-866A-8E9EA23E4E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0824" y="1535145"/>
            <a:ext cx="14696647" cy="7151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360" tIns="720360" rIns="720360" bIns="720360" numCol="1" rtlCol="0" anchor="ctr" anchorCtr="1" compatLnSpc="1">
            <a:prstTxWarp prst="textNoShape">
              <a:avLst/>
            </a:prstTxWarp>
            <a:noAutofit/>
          </a:bodyPr>
          <a:lstStyle>
            <a:lvl1pPr marL="0" marR="0" indent="0" algn="ctr" defTabSz="1827976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/>
              <a:defRPr lang="en-GB" sz="7890" b="1" kern="1200" cap="none" spc="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1827976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tabLst/>
              <a:defRPr/>
            </a:pPr>
            <a:r>
              <a:rPr lang="en-US"/>
              <a:t>CLICK TO EDIT TEXT OF DIVIDER OR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399447069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B1D6800-97C0-4EBB-8759-0335DDD2E7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664"/>
            <a:ext cx="18291175" cy="102887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AFB491-0EC1-4172-87C1-49A52FCBA5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00348" y="641620"/>
            <a:ext cx="6782532" cy="5283461"/>
          </a:xfrm>
        </p:spPr>
        <p:txBody>
          <a:bodyPr lIns="0" tIns="0" rIns="0" bIns="0" anchor="b">
            <a:noAutofit/>
          </a:bodyPr>
          <a:lstStyle>
            <a:lvl1pPr marL="0" indent="0" algn="l">
              <a:lnSpc>
                <a:spcPct val="100000"/>
              </a:lnSpc>
              <a:defRPr sz="6601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DA8DC7-EAFB-48F0-A937-C89231E2D2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00346" y="6326437"/>
            <a:ext cx="6782533" cy="115492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60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937" indent="0" algn="ctr">
              <a:buNone/>
              <a:defRPr sz="3001"/>
            </a:lvl2pPr>
            <a:lvl3pPr marL="1371874" indent="0" algn="ctr">
              <a:buNone/>
              <a:defRPr sz="2701"/>
            </a:lvl3pPr>
            <a:lvl4pPr marL="2057811" indent="0" algn="ctr">
              <a:buNone/>
              <a:defRPr sz="2400"/>
            </a:lvl4pPr>
            <a:lvl5pPr marL="2743749" indent="0" algn="ctr">
              <a:buNone/>
              <a:defRPr sz="2400"/>
            </a:lvl5pPr>
            <a:lvl6pPr marL="3429686" indent="0" algn="ctr">
              <a:buNone/>
              <a:defRPr sz="2400"/>
            </a:lvl6pPr>
            <a:lvl7pPr marL="4115623" indent="0" algn="ctr">
              <a:buNone/>
              <a:defRPr sz="2400"/>
            </a:lvl7pPr>
            <a:lvl8pPr marL="4801560" indent="0" algn="ctr">
              <a:buNone/>
              <a:defRPr sz="2400"/>
            </a:lvl8pPr>
            <a:lvl9pPr marL="5487497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grpSp>
        <p:nvGrpSpPr>
          <p:cNvPr id="4" name="Graphic 7">
            <a:extLst>
              <a:ext uri="{FF2B5EF4-FFF2-40B4-BE49-F238E27FC236}">
                <a16:creationId xmlns:a16="http://schemas.microsoft.com/office/drawing/2014/main" id="{14C907F8-C6E2-4B4F-A7C0-9C066CAA2FB8}"/>
              </a:ext>
            </a:extLst>
          </p:cNvPr>
          <p:cNvGrpSpPr/>
          <p:nvPr/>
        </p:nvGrpSpPr>
        <p:grpSpPr>
          <a:xfrm>
            <a:off x="598042" y="519717"/>
            <a:ext cx="1741618" cy="1194413"/>
            <a:chOff x="398625" y="346104"/>
            <a:chExt cx="1160877" cy="795416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1878E58-3BC3-415E-BABE-16D5A1C87366}"/>
                </a:ext>
              </a:extLst>
            </p:cNvPr>
            <p:cNvSpPr/>
            <p:nvPr/>
          </p:nvSpPr>
          <p:spPr>
            <a:xfrm>
              <a:off x="1289168" y="345674"/>
              <a:ext cx="279470" cy="451452"/>
            </a:xfrm>
            <a:custGeom>
              <a:avLst/>
              <a:gdLst>
                <a:gd name="connsiteX0" fmla="*/ 8062 w 279470"/>
                <a:gd name="connsiteY0" fmla="*/ 8062 h 451452"/>
                <a:gd name="connsiteX1" fmla="*/ 275601 w 279470"/>
                <a:gd name="connsiteY1" fmla="*/ 8062 h 451452"/>
                <a:gd name="connsiteX2" fmla="*/ 275601 w 279470"/>
                <a:gd name="connsiteY2" fmla="*/ 111896 h 451452"/>
                <a:gd name="connsiteX3" fmla="*/ 114368 w 279470"/>
                <a:gd name="connsiteY3" fmla="*/ 111896 h 451452"/>
                <a:gd name="connsiteX4" fmla="*/ 114368 w 279470"/>
                <a:gd name="connsiteY4" fmla="*/ 176711 h 451452"/>
                <a:gd name="connsiteX5" fmla="*/ 246364 w 279470"/>
                <a:gd name="connsiteY5" fmla="*/ 176711 h 451452"/>
                <a:gd name="connsiteX6" fmla="*/ 246364 w 279470"/>
                <a:gd name="connsiteY6" fmla="*/ 280545 h 451452"/>
                <a:gd name="connsiteX7" fmla="*/ 114368 w 279470"/>
                <a:gd name="connsiteY7" fmla="*/ 280545 h 451452"/>
                <a:gd name="connsiteX8" fmla="*/ 114368 w 279470"/>
                <a:gd name="connsiteY8" fmla="*/ 349231 h 451452"/>
                <a:gd name="connsiteX9" fmla="*/ 275601 w 279470"/>
                <a:gd name="connsiteY9" fmla="*/ 349231 h 451452"/>
                <a:gd name="connsiteX10" fmla="*/ 275601 w 279470"/>
                <a:gd name="connsiteY10" fmla="*/ 452635 h 451452"/>
                <a:gd name="connsiteX11" fmla="*/ 8062 w 279470"/>
                <a:gd name="connsiteY11" fmla="*/ 452635 h 451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9470" h="451452">
                  <a:moveTo>
                    <a:pt x="8062" y="8062"/>
                  </a:moveTo>
                  <a:lnTo>
                    <a:pt x="275601" y="8062"/>
                  </a:lnTo>
                  <a:lnTo>
                    <a:pt x="275601" y="111896"/>
                  </a:lnTo>
                  <a:lnTo>
                    <a:pt x="114368" y="111896"/>
                  </a:lnTo>
                  <a:lnTo>
                    <a:pt x="114368" y="176711"/>
                  </a:lnTo>
                  <a:lnTo>
                    <a:pt x="246364" y="176711"/>
                  </a:lnTo>
                  <a:lnTo>
                    <a:pt x="246364" y="280545"/>
                  </a:lnTo>
                  <a:lnTo>
                    <a:pt x="114368" y="280545"/>
                  </a:lnTo>
                  <a:lnTo>
                    <a:pt x="114368" y="349231"/>
                  </a:lnTo>
                  <a:lnTo>
                    <a:pt x="275601" y="349231"/>
                  </a:lnTo>
                  <a:lnTo>
                    <a:pt x="275601" y="452635"/>
                  </a:lnTo>
                  <a:lnTo>
                    <a:pt x="8062" y="45263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40DA323-B5B0-47A7-8EA5-DE336384DB0F}"/>
                </a:ext>
              </a:extLst>
            </p:cNvPr>
            <p:cNvSpPr/>
            <p:nvPr/>
          </p:nvSpPr>
          <p:spPr>
            <a:xfrm>
              <a:off x="913603" y="338042"/>
              <a:ext cx="343964" cy="472950"/>
            </a:xfrm>
            <a:custGeom>
              <a:avLst/>
              <a:gdLst>
                <a:gd name="connsiteX0" fmla="*/ 235615 w 343963"/>
                <a:gd name="connsiteY0" fmla="*/ 187138 h 472950"/>
                <a:gd name="connsiteX1" fmla="*/ 213795 w 343963"/>
                <a:gd name="connsiteY1" fmla="*/ 130599 h 472950"/>
                <a:gd name="connsiteX2" fmla="*/ 176711 w 343963"/>
                <a:gd name="connsiteY2" fmla="*/ 115765 h 472950"/>
                <a:gd name="connsiteX3" fmla="*/ 131351 w 343963"/>
                <a:gd name="connsiteY3" fmla="*/ 150699 h 472950"/>
                <a:gd name="connsiteX4" fmla="*/ 116303 w 343963"/>
                <a:gd name="connsiteY4" fmla="*/ 243677 h 472950"/>
                <a:gd name="connsiteX5" fmla="*/ 178109 w 343963"/>
                <a:gd name="connsiteY5" fmla="*/ 362559 h 472950"/>
                <a:gd name="connsiteX6" fmla="*/ 235615 w 343963"/>
                <a:gd name="connsiteY6" fmla="*/ 285705 h 472950"/>
                <a:gd name="connsiteX7" fmla="*/ 338697 w 343963"/>
                <a:gd name="connsiteY7" fmla="*/ 285705 h 472950"/>
                <a:gd name="connsiteX8" fmla="*/ 293336 w 343963"/>
                <a:gd name="connsiteY8" fmla="*/ 419098 h 472950"/>
                <a:gd name="connsiteX9" fmla="*/ 183698 w 343963"/>
                <a:gd name="connsiteY9" fmla="*/ 468113 h 472950"/>
                <a:gd name="connsiteX10" fmla="*/ 90290 w 343963"/>
                <a:gd name="connsiteY10" fmla="*/ 442853 h 472950"/>
                <a:gd name="connsiteX11" fmla="*/ 30097 w 343963"/>
                <a:gd name="connsiteY11" fmla="*/ 364387 h 472950"/>
                <a:gd name="connsiteX12" fmla="*/ 8062 w 343963"/>
                <a:gd name="connsiteY12" fmla="*/ 243677 h 472950"/>
                <a:gd name="connsiteX13" fmla="*/ 31279 w 343963"/>
                <a:gd name="connsiteY13" fmla="*/ 110283 h 472950"/>
                <a:gd name="connsiteX14" fmla="*/ 94268 w 343963"/>
                <a:gd name="connsiteY14" fmla="*/ 31709 h 472950"/>
                <a:gd name="connsiteX15" fmla="*/ 171337 w 343963"/>
                <a:gd name="connsiteY15" fmla="*/ 8062 h 472950"/>
                <a:gd name="connsiteX16" fmla="*/ 294626 w 343963"/>
                <a:gd name="connsiteY16" fmla="*/ 60946 h 472950"/>
                <a:gd name="connsiteX17" fmla="*/ 335902 w 343963"/>
                <a:gd name="connsiteY17" fmla="*/ 187138 h 472950"/>
                <a:gd name="connsiteX18" fmla="*/ 235615 w 343963"/>
                <a:gd name="connsiteY18" fmla="*/ 187138 h 47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3963" h="472950">
                  <a:moveTo>
                    <a:pt x="235615" y="187138"/>
                  </a:moveTo>
                  <a:cubicBezTo>
                    <a:pt x="231638" y="159728"/>
                    <a:pt x="223146" y="139628"/>
                    <a:pt x="213795" y="130599"/>
                  </a:cubicBezTo>
                  <a:cubicBezTo>
                    <a:pt x="201326" y="121355"/>
                    <a:pt x="187783" y="115765"/>
                    <a:pt x="176711" y="115765"/>
                  </a:cubicBezTo>
                  <a:cubicBezTo>
                    <a:pt x="156288" y="115765"/>
                    <a:pt x="139843" y="128664"/>
                    <a:pt x="131351" y="150699"/>
                  </a:cubicBezTo>
                  <a:cubicBezTo>
                    <a:pt x="120495" y="176389"/>
                    <a:pt x="116303" y="207238"/>
                    <a:pt x="116303" y="243677"/>
                  </a:cubicBezTo>
                  <a:cubicBezTo>
                    <a:pt x="116303" y="322358"/>
                    <a:pt x="136726" y="362559"/>
                    <a:pt x="178109" y="362559"/>
                  </a:cubicBezTo>
                  <a:cubicBezTo>
                    <a:pt x="209603" y="362559"/>
                    <a:pt x="230241" y="335042"/>
                    <a:pt x="235615" y="285705"/>
                  </a:cubicBezTo>
                  <a:lnTo>
                    <a:pt x="338697" y="285705"/>
                  </a:lnTo>
                  <a:cubicBezTo>
                    <a:pt x="334505" y="340417"/>
                    <a:pt x="319456" y="385992"/>
                    <a:pt x="293336" y="419098"/>
                  </a:cubicBezTo>
                  <a:cubicBezTo>
                    <a:pt x="265927" y="452097"/>
                    <a:pt x="227446" y="468113"/>
                    <a:pt x="183698" y="468113"/>
                  </a:cubicBezTo>
                  <a:cubicBezTo>
                    <a:pt x="148012" y="468113"/>
                    <a:pt x="116303" y="459084"/>
                    <a:pt x="90290" y="442853"/>
                  </a:cubicBezTo>
                  <a:cubicBezTo>
                    <a:pt x="62988" y="424580"/>
                    <a:pt x="43748" y="398890"/>
                    <a:pt x="30097" y="364387"/>
                  </a:cubicBezTo>
                  <a:cubicBezTo>
                    <a:pt x="16231" y="331495"/>
                    <a:pt x="8062" y="287532"/>
                    <a:pt x="8062" y="243677"/>
                  </a:cubicBezTo>
                  <a:cubicBezTo>
                    <a:pt x="8062" y="192512"/>
                    <a:pt x="16231" y="146830"/>
                    <a:pt x="31279" y="110283"/>
                  </a:cubicBezTo>
                  <a:cubicBezTo>
                    <a:pt x="47940" y="75565"/>
                    <a:pt x="69975" y="48370"/>
                    <a:pt x="94268" y="31709"/>
                  </a:cubicBezTo>
                  <a:cubicBezTo>
                    <a:pt x="119205" y="17306"/>
                    <a:pt x="146614" y="8062"/>
                    <a:pt x="171337" y="8062"/>
                  </a:cubicBezTo>
                  <a:cubicBezTo>
                    <a:pt x="228843" y="9889"/>
                    <a:pt x="271409" y="29882"/>
                    <a:pt x="294626" y="60946"/>
                  </a:cubicBezTo>
                  <a:cubicBezTo>
                    <a:pt x="318059" y="95665"/>
                    <a:pt x="333322" y="137800"/>
                    <a:pt x="335902" y="187138"/>
                  </a:cubicBezTo>
                  <a:lnTo>
                    <a:pt x="235615" y="18713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5095675-DD00-4E82-BB31-079F16B93AC2}"/>
                </a:ext>
              </a:extLst>
            </p:cNvPr>
            <p:cNvSpPr/>
            <p:nvPr/>
          </p:nvSpPr>
          <p:spPr>
            <a:xfrm>
              <a:off x="766129" y="345674"/>
              <a:ext cx="118237" cy="451452"/>
            </a:xfrm>
            <a:custGeom>
              <a:avLst/>
              <a:gdLst>
                <a:gd name="connsiteX0" fmla="*/ 8062 w 118237"/>
                <a:gd name="connsiteY0" fmla="*/ 8062 h 451452"/>
                <a:gd name="connsiteX1" fmla="*/ 114153 w 118237"/>
                <a:gd name="connsiteY1" fmla="*/ 8062 h 451452"/>
                <a:gd name="connsiteX2" fmla="*/ 114153 w 118237"/>
                <a:gd name="connsiteY2" fmla="*/ 452312 h 451452"/>
                <a:gd name="connsiteX3" fmla="*/ 8062 w 118237"/>
                <a:gd name="connsiteY3" fmla="*/ 452312 h 451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237" h="451452">
                  <a:moveTo>
                    <a:pt x="8062" y="8062"/>
                  </a:moveTo>
                  <a:lnTo>
                    <a:pt x="114153" y="8062"/>
                  </a:lnTo>
                  <a:lnTo>
                    <a:pt x="114153" y="452312"/>
                  </a:lnTo>
                  <a:lnTo>
                    <a:pt x="8062" y="45231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482E56-7EFB-4513-9A98-24E2696E0852}"/>
                </a:ext>
              </a:extLst>
            </p:cNvPr>
            <p:cNvSpPr/>
            <p:nvPr/>
          </p:nvSpPr>
          <p:spPr>
            <a:xfrm>
              <a:off x="393358" y="345674"/>
              <a:ext cx="322466" cy="451452"/>
            </a:xfrm>
            <a:custGeom>
              <a:avLst/>
              <a:gdLst>
                <a:gd name="connsiteX0" fmla="*/ 8062 w 322465"/>
                <a:gd name="connsiteY0" fmla="*/ 8062 h 451452"/>
                <a:gd name="connsiteX1" fmla="*/ 103512 w 322465"/>
                <a:gd name="connsiteY1" fmla="*/ 8062 h 451452"/>
                <a:gd name="connsiteX2" fmla="*/ 216590 w 322465"/>
                <a:gd name="connsiteY2" fmla="*/ 252491 h 451452"/>
                <a:gd name="connsiteX3" fmla="*/ 216590 w 322465"/>
                <a:gd name="connsiteY3" fmla="*/ 156289 h 451452"/>
                <a:gd name="connsiteX4" fmla="*/ 216590 w 322465"/>
                <a:gd name="connsiteY4" fmla="*/ 8062 h 451452"/>
                <a:gd name="connsiteX5" fmla="*/ 318919 w 322465"/>
                <a:gd name="connsiteY5" fmla="*/ 8062 h 451452"/>
                <a:gd name="connsiteX6" fmla="*/ 318919 w 322465"/>
                <a:gd name="connsiteY6" fmla="*/ 452312 h 451452"/>
                <a:gd name="connsiteX7" fmla="*/ 218094 w 322465"/>
                <a:gd name="connsiteY7" fmla="*/ 452312 h 451452"/>
                <a:gd name="connsiteX8" fmla="*/ 107919 w 322465"/>
                <a:gd name="connsiteY8" fmla="*/ 211860 h 451452"/>
                <a:gd name="connsiteX9" fmla="*/ 107596 w 322465"/>
                <a:gd name="connsiteY9" fmla="*/ 315479 h 451452"/>
                <a:gd name="connsiteX10" fmla="*/ 107919 w 322465"/>
                <a:gd name="connsiteY10" fmla="*/ 452312 h 451452"/>
                <a:gd name="connsiteX11" fmla="*/ 8062 w 322465"/>
                <a:gd name="connsiteY11" fmla="*/ 452312 h 451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2465" h="451452">
                  <a:moveTo>
                    <a:pt x="8062" y="8062"/>
                  </a:moveTo>
                  <a:lnTo>
                    <a:pt x="103512" y="8062"/>
                  </a:lnTo>
                  <a:lnTo>
                    <a:pt x="216590" y="252491"/>
                  </a:lnTo>
                  <a:lnTo>
                    <a:pt x="216590" y="156289"/>
                  </a:lnTo>
                  <a:lnTo>
                    <a:pt x="216590" y="8062"/>
                  </a:lnTo>
                  <a:lnTo>
                    <a:pt x="318919" y="8062"/>
                  </a:lnTo>
                  <a:lnTo>
                    <a:pt x="318919" y="452312"/>
                  </a:lnTo>
                  <a:lnTo>
                    <a:pt x="218094" y="452312"/>
                  </a:lnTo>
                  <a:lnTo>
                    <a:pt x="107919" y="211860"/>
                  </a:lnTo>
                  <a:lnTo>
                    <a:pt x="107596" y="315479"/>
                  </a:lnTo>
                  <a:lnTo>
                    <a:pt x="107919" y="452312"/>
                  </a:lnTo>
                  <a:lnTo>
                    <a:pt x="8062" y="45231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763F811-80FD-4FA0-9301-D8BCBDEA9F9D}"/>
                </a:ext>
              </a:extLst>
            </p:cNvPr>
            <p:cNvSpPr/>
            <p:nvPr/>
          </p:nvSpPr>
          <p:spPr>
            <a:xfrm>
              <a:off x="1243485" y="517871"/>
              <a:ext cx="107489" cy="107489"/>
            </a:xfrm>
            <a:custGeom>
              <a:avLst/>
              <a:gdLst>
                <a:gd name="connsiteX0" fmla="*/ 8062 w 107488"/>
                <a:gd name="connsiteY0" fmla="*/ 8062 h 107488"/>
                <a:gd name="connsiteX1" fmla="*/ 105554 w 107488"/>
                <a:gd name="connsiteY1" fmla="*/ 8062 h 107488"/>
                <a:gd name="connsiteX2" fmla="*/ 105554 w 107488"/>
                <a:gd name="connsiteY2" fmla="*/ 105554 h 107488"/>
                <a:gd name="connsiteX3" fmla="*/ 8062 w 107488"/>
                <a:gd name="connsiteY3" fmla="*/ 105554 h 107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488" h="107488">
                  <a:moveTo>
                    <a:pt x="8062" y="8062"/>
                  </a:moveTo>
                  <a:lnTo>
                    <a:pt x="105554" y="8062"/>
                  </a:lnTo>
                  <a:lnTo>
                    <a:pt x="105554" y="105554"/>
                  </a:lnTo>
                  <a:lnTo>
                    <a:pt x="8062" y="10555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1D77F7E-CB12-4828-ADC5-8ADD364F78B4}"/>
                </a:ext>
              </a:extLst>
            </p:cNvPr>
            <p:cNvSpPr/>
            <p:nvPr/>
          </p:nvSpPr>
          <p:spPr>
            <a:xfrm>
              <a:off x="872220" y="517871"/>
              <a:ext cx="107489" cy="107489"/>
            </a:xfrm>
            <a:custGeom>
              <a:avLst/>
              <a:gdLst>
                <a:gd name="connsiteX0" fmla="*/ 8062 w 107488"/>
                <a:gd name="connsiteY0" fmla="*/ 8062 h 107488"/>
                <a:gd name="connsiteX1" fmla="*/ 105554 w 107488"/>
                <a:gd name="connsiteY1" fmla="*/ 8062 h 107488"/>
                <a:gd name="connsiteX2" fmla="*/ 105554 w 107488"/>
                <a:gd name="connsiteY2" fmla="*/ 105554 h 107488"/>
                <a:gd name="connsiteX3" fmla="*/ 8062 w 107488"/>
                <a:gd name="connsiteY3" fmla="*/ 105554 h 107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488" h="107488">
                  <a:moveTo>
                    <a:pt x="8062" y="8062"/>
                  </a:moveTo>
                  <a:lnTo>
                    <a:pt x="105554" y="8062"/>
                  </a:lnTo>
                  <a:lnTo>
                    <a:pt x="105554" y="105554"/>
                  </a:lnTo>
                  <a:lnTo>
                    <a:pt x="8062" y="10555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23ACE09-4F95-4CA7-8078-08E8E6F47DCB}"/>
                </a:ext>
              </a:extLst>
            </p:cNvPr>
            <p:cNvSpPr/>
            <p:nvPr/>
          </p:nvSpPr>
          <p:spPr>
            <a:xfrm>
              <a:off x="668636" y="517871"/>
              <a:ext cx="107489" cy="107489"/>
            </a:xfrm>
            <a:custGeom>
              <a:avLst/>
              <a:gdLst>
                <a:gd name="connsiteX0" fmla="*/ 8062 w 107488"/>
                <a:gd name="connsiteY0" fmla="*/ 8062 h 107488"/>
                <a:gd name="connsiteX1" fmla="*/ 105554 w 107488"/>
                <a:gd name="connsiteY1" fmla="*/ 8062 h 107488"/>
                <a:gd name="connsiteX2" fmla="*/ 105554 w 107488"/>
                <a:gd name="connsiteY2" fmla="*/ 105554 h 107488"/>
                <a:gd name="connsiteX3" fmla="*/ 8062 w 107488"/>
                <a:gd name="connsiteY3" fmla="*/ 105554 h 107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488" h="107488">
                  <a:moveTo>
                    <a:pt x="8062" y="8062"/>
                  </a:moveTo>
                  <a:lnTo>
                    <a:pt x="105554" y="8062"/>
                  </a:lnTo>
                  <a:lnTo>
                    <a:pt x="105554" y="105554"/>
                  </a:lnTo>
                  <a:lnTo>
                    <a:pt x="8062" y="10555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8D9C0B4-6FA2-4BE5-AA70-3AC3EAC7A235}"/>
                </a:ext>
              </a:extLst>
            </p:cNvPr>
            <p:cNvSpPr/>
            <p:nvPr/>
          </p:nvSpPr>
          <p:spPr>
            <a:xfrm>
              <a:off x="390563" y="911387"/>
              <a:ext cx="193480" cy="214977"/>
            </a:xfrm>
            <a:custGeom>
              <a:avLst/>
              <a:gdLst>
                <a:gd name="connsiteX0" fmla="*/ 141348 w 193479"/>
                <a:gd name="connsiteY0" fmla="*/ 160373 h 214977"/>
                <a:gd name="connsiteX1" fmla="*/ 56324 w 193479"/>
                <a:gd name="connsiteY1" fmla="*/ 160373 h 214977"/>
                <a:gd name="connsiteX2" fmla="*/ 32247 w 193479"/>
                <a:gd name="connsiteY2" fmla="*/ 216697 h 214977"/>
                <a:gd name="connsiteX3" fmla="*/ 8062 w 193479"/>
                <a:gd name="connsiteY3" fmla="*/ 216697 h 214977"/>
                <a:gd name="connsiteX4" fmla="*/ 99749 w 193479"/>
                <a:gd name="connsiteY4" fmla="*/ 8062 h 214977"/>
                <a:gd name="connsiteX5" fmla="*/ 189180 w 193479"/>
                <a:gd name="connsiteY5" fmla="*/ 216697 h 214977"/>
                <a:gd name="connsiteX6" fmla="*/ 164780 w 193479"/>
                <a:gd name="connsiteY6" fmla="*/ 216697 h 214977"/>
                <a:gd name="connsiteX7" fmla="*/ 141348 w 193479"/>
                <a:gd name="connsiteY7" fmla="*/ 160373 h 214977"/>
                <a:gd name="connsiteX8" fmla="*/ 132641 w 193479"/>
                <a:gd name="connsiteY8" fmla="*/ 139628 h 214977"/>
                <a:gd name="connsiteX9" fmla="*/ 99427 w 193479"/>
                <a:gd name="connsiteY9" fmla="*/ 59764 h 214977"/>
                <a:gd name="connsiteX10" fmla="*/ 65353 w 193479"/>
                <a:gd name="connsiteY10" fmla="*/ 139628 h 214977"/>
                <a:gd name="connsiteX11" fmla="*/ 132641 w 193479"/>
                <a:gd name="connsiteY11" fmla="*/ 139628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479" h="214977">
                  <a:moveTo>
                    <a:pt x="141348" y="160373"/>
                  </a:moveTo>
                  <a:lnTo>
                    <a:pt x="56324" y="160373"/>
                  </a:lnTo>
                  <a:lnTo>
                    <a:pt x="32247" y="216697"/>
                  </a:lnTo>
                  <a:lnTo>
                    <a:pt x="8062" y="216697"/>
                  </a:lnTo>
                  <a:lnTo>
                    <a:pt x="99749" y="8062"/>
                  </a:lnTo>
                  <a:lnTo>
                    <a:pt x="189180" y="216697"/>
                  </a:lnTo>
                  <a:lnTo>
                    <a:pt x="164780" y="216697"/>
                  </a:lnTo>
                  <a:lnTo>
                    <a:pt x="141348" y="160373"/>
                  </a:lnTo>
                  <a:close/>
                  <a:moveTo>
                    <a:pt x="132641" y="139628"/>
                  </a:moveTo>
                  <a:lnTo>
                    <a:pt x="99427" y="59764"/>
                  </a:lnTo>
                  <a:lnTo>
                    <a:pt x="65353" y="139628"/>
                  </a:lnTo>
                  <a:lnTo>
                    <a:pt x="132641" y="13962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4311AFD-284F-4A65-AFB9-6F0DAB9E34DC}"/>
                </a:ext>
              </a:extLst>
            </p:cNvPr>
            <p:cNvSpPr/>
            <p:nvPr/>
          </p:nvSpPr>
          <p:spPr>
            <a:xfrm>
              <a:off x="568564" y="917514"/>
              <a:ext cx="171982" cy="214977"/>
            </a:xfrm>
            <a:custGeom>
              <a:avLst/>
              <a:gdLst>
                <a:gd name="connsiteX0" fmla="*/ 171229 w 171981"/>
                <a:gd name="connsiteY0" fmla="*/ 27732 h 214977"/>
                <a:gd name="connsiteX1" fmla="*/ 171229 w 171981"/>
                <a:gd name="connsiteY1" fmla="*/ 55142 h 214977"/>
                <a:gd name="connsiteX2" fmla="*/ 111036 w 171981"/>
                <a:gd name="connsiteY2" fmla="*/ 28807 h 214977"/>
                <a:gd name="connsiteX3" fmla="*/ 54282 w 171981"/>
                <a:gd name="connsiteY3" fmla="*/ 53314 h 214977"/>
                <a:gd name="connsiteX4" fmla="*/ 30527 w 171981"/>
                <a:gd name="connsiteY4" fmla="*/ 111788 h 214977"/>
                <a:gd name="connsiteX5" fmla="*/ 57936 w 171981"/>
                <a:gd name="connsiteY5" fmla="*/ 172412 h 214977"/>
                <a:gd name="connsiteX6" fmla="*/ 111036 w 171981"/>
                <a:gd name="connsiteY6" fmla="*/ 193157 h 214977"/>
                <a:gd name="connsiteX7" fmla="*/ 171122 w 171981"/>
                <a:gd name="connsiteY7" fmla="*/ 167145 h 214977"/>
                <a:gd name="connsiteX8" fmla="*/ 171122 w 171981"/>
                <a:gd name="connsiteY8" fmla="*/ 194769 h 214977"/>
                <a:gd name="connsiteX9" fmla="*/ 111143 w 171981"/>
                <a:gd name="connsiteY9" fmla="*/ 214010 h 214977"/>
                <a:gd name="connsiteX10" fmla="*/ 38373 w 171981"/>
                <a:gd name="connsiteY10" fmla="*/ 183806 h 214977"/>
                <a:gd name="connsiteX11" fmla="*/ 8062 w 171981"/>
                <a:gd name="connsiteY11" fmla="*/ 111573 h 214977"/>
                <a:gd name="connsiteX12" fmla="*/ 38481 w 171981"/>
                <a:gd name="connsiteY12" fmla="*/ 38481 h 214977"/>
                <a:gd name="connsiteX13" fmla="*/ 112218 w 171981"/>
                <a:gd name="connsiteY13" fmla="*/ 8062 h 214977"/>
                <a:gd name="connsiteX14" fmla="*/ 171229 w 171981"/>
                <a:gd name="connsiteY14" fmla="*/ 27732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981" h="214977">
                  <a:moveTo>
                    <a:pt x="171229" y="27732"/>
                  </a:moveTo>
                  <a:lnTo>
                    <a:pt x="171229" y="55142"/>
                  </a:lnTo>
                  <a:cubicBezTo>
                    <a:pt x="152526" y="37621"/>
                    <a:pt x="132426" y="28807"/>
                    <a:pt x="111036" y="28807"/>
                  </a:cubicBezTo>
                  <a:cubicBezTo>
                    <a:pt x="89001" y="28807"/>
                    <a:pt x="70083" y="36976"/>
                    <a:pt x="54282" y="53314"/>
                  </a:cubicBezTo>
                  <a:cubicBezTo>
                    <a:pt x="38481" y="69438"/>
                    <a:pt x="30527" y="88893"/>
                    <a:pt x="30527" y="111788"/>
                  </a:cubicBezTo>
                  <a:cubicBezTo>
                    <a:pt x="30527" y="136511"/>
                    <a:pt x="39663" y="156718"/>
                    <a:pt x="57936" y="172412"/>
                  </a:cubicBezTo>
                  <a:cubicBezTo>
                    <a:pt x="73845" y="186278"/>
                    <a:pt x="91580" y="193157"/>
                    <a:pt x="111036" y="193157"/>
                  </a:cubicBezTo>
                  <a:cubicBezTo>
                    <a:pt x="132426" y="193157"/>
                    <a:pt x="152419" y="184451"/>
                    <a:pt x="171122" y="167145"/>
                  </a:cubicBezTo>
                  <a:lnTo>
                    <a:pt x="171122" y="194769"/>
                  </a:lnTo>
                  <a:cubicBezTo>
                    <a:pt x="152096" y="207561"/>
                    <a:pt x="132104" y="214010"/>
                    <a:pt x="111143" y="214010"/>
                  </a:cubicBezTo>
                  <a:cubicBezTo>
                    <a:pt x="82874" y="214010"/>
                    <a:pt x="58581" y="203906"/>
                    <a:pt x="38373" y="183806"/>
                  </a:cubicBezTo>
                  <a:cubicBezTo>
                    <a:pt x="18166" y="163705"/>
                    <a:pt x="8062" y="139628"/>
                    <a:pt x="8062" y="111573"/>
                  </a:cubicBezTo>
                  <a:cubicBezTo>
                    <a:pt x="8062" y="83089"/>
                    <a:pt x="18166" y="58796"/>
                    <a:pt x="38481" y="38481"/>
                  </a:cubicBezTo>
                  <a:cubicBezTo>
                    <a:pt x="59011" y="18166"/>
                    <a:pt x="83626" y="8062"/>
                    <a:pt x="112218" y="8062"/>
                  </a:cubicBezTo>
                  <a:cubicBezTo>
                    <a:pt x="132856" y="8169"/>
                    <a:pt x="152419" y="14726"/>
                    <a:pt x="171229" y="2773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62A4770-2E6D-4EF8-8AA1-52F8464C87CE}"/>
                </a:ext>
              </a:extLst>
            </p:cNvPr>
            <p:cNvSpPr/>
            <p:nvPr/>
          </p:nvSpPr>
          <p:spPr>
            <a:xfrm>
              <a:off x="755810" y="920953"/>
              <a:ext cx="128986" cy="214977"/>
            </a:xfrm>
            <a:custGeom>
              <a:avLst/>
              <a:gdLst>
                <a:gd name="connsiteX0" fmla="*/ 78682 w 128986"/>
                <a:gd name="connsiteY0" fmla="*/ 28807 h 214977"/>
                <a:gd name="connsiteX1" fmla="*/ 78682 w 128986"/>
                <a:gd name="connsiteY1" fmla="*/ 207131 h 214977"/>
                <a:gd name="connsiteX2" fmla="*/ 56324 w 128986"/>
                <a:gd name="connsiteY2" fmla="*/ 207131 h 214977"/>
                <a:gd name="connsiteX3" fmla="*/ 56324 w 128986"/>
                <a:gd name="connsiteY3" fmla="*/ 28807 h 214977"/>
                <a:gd name="connsiteX4" fmla="*/ 8062 w 128986"/>
                <a:gd name="connsiteY4" fmla="*/ 28807 h 214977"/>
                <a:gd name="connsiteX5" fmla="*/ 8062 w 128986"/>
                <a:gd name="connsiteY5" fmla="*/ 8062 h 214977"/>
                <a:gd name="connsiteX6" fmla="*/ 126944 w 128986"/>
                <a:gd name="connsiteY6" fmla="*/ 8062 h 214977"/>
                <a:gd name="connsiteX7" fmla="*/ 126944 w 128986"/>
                <a:gd name="connsiteY7" fmla="*/ 28807 h 214977"/>
                <a:gd name="connsiteX8" fmla="*/ 78682 w 128986"/>
                <a:gd name="connsiteY8" fmla="*/ 28807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986" h="214977">
                  <a:moveTo>
                    <a:pt x="78682" y="28807"/>
                  </a:moveTo>
                  <a:lnTo>
                    <a:pt x="78682" y="207131"/>
                  </a:lnTo>
                  <a:lnTo>
                    <a:pt x="56324" y="207131"/>
                  </a:lnTo>
                  <a:lnTo>
                    <a:pt x="56324" y="28807"/>
                  </a:lnTo>
                  <a:lnTo>
                    <a:pt x="8062" y="28807"/>
                  </a:lnTo>
                  <a:lnTo>
                    <a:pt x="8062" y="8062"/>
                  </a:lnTo>
                  <a:lnTo>
                    <a:pt x="126944" y="8062"/>
                  </a:lnTo>
                  <a:lnTo>
                    <a:pt x="126944" y="28807"/>
                  </a:lnTo>
                  <a:lnTo>
                    <a:pt x="78682" y="28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C97DB74-F185-417A-B710-A0A3AE686469}"/>
                </a:ext>
              </a:extLst>
            </p:cNvPr>
            <p:cNvSpPr/>
            <p:nvPr/>
          </p:nvSpPr>
          <p:spPr>
            <a:xfrm>
              <a:off x="904789" y="920953"/>
              <a:ext cx="32247" cy="214977"/>
            </a:xfrm>
            <a:custGeom>
              <a:avLst/>
              <a:gdLst>
                <a:gd name="connsiteX0" fmla="*/ 30312 w 32246"/>
                <a:gd name="connsiteY0" fmla="*/ 8062 h 214977"/>
                <a:gd name="connsiteX1" fmla="*/ 30312 w 32246"/>
                <a:gd name="connsiteY1" fmla="*/ 207131 h 214977"/>
                <a:gd name="connsiteX2" fmla="*/ 8062 w 32246"/>
                <a:gd name="connsiteY2" fmla="*/ 207131 h 214977"/>
                <a:gd name="connsiteX3" fmla="*/ 8062 w 32246"/>
                <a:gd name="connsiteY3" fmla="*/ 8062 h 214977"/>
                <a:gd name="connsiteX4" fmla="*/ 30312 w 32246"/>
                <a:gd name="connsiteY4" fmla="*/ 8062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46" h="214977">
                  <a:moveTo>
                    <a:pt x="30312" y="8062"/>
                  </a:moveTo>
                  <a:lnTo>
                    <a:pt x="30312" y="207131"/>
                  </a:lnTo>
                  <a:lnTo>
                    <a:pt x="8062" y="207131"/>
                  </a:lnTo>
                  <a:lnTo>
                    <a:pt x="8062" y="8062"/>
                  </a:lnTo>
                  <a:lnTo>
                    <a:pt x="30312" y="806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C2BDCAC-D95F-4A48-8F45-862DB47B5308}"/>
                </a:ext>
              </a:extLst>
            </p:cNvPr>
            <p:cNvSpPr/>
            <p:nvPr/>
          </p:nvSpPr>
          <p:spPr>
            <a:xfrm>
              <a:off x="963693" y="909559"/>
              <a:ext cx="225726" cy="225726"/>
            </a:xfrm>
            <a:custGeom>
              <a:avLst/>
              <a:gdLst>
                <a:gd name="connsiteX0" fmla="*/ 8062 w 225726"/>
                <a:gd name="connsiteY0" fmla="*/ 218524 h 225726"/>
                <a:gd name="connsiteX1" fmla="*/ 41061 w 225726"/>
                <a:gd name="connsiteY1" fmla="*/ 8062 h 225726"/>
                <a:gd name="connsiteX2" fmla="*/ 117485 w 225726"/>
                <a:gd name="connsiteY2" fmla="*/ 176281 h 225726"/>
                <a:gd name="connsiteX3" fmla="*/ 195629 w 225726"/>
                <a:gd name="connsiteY3" fmla="*/ 8062 h 225726"/>
                <a:gd name="connsiteX4" fmla="*/ 226479 w 225726"/>
                <a:gd name="connsiteY4" fmla="*/ 218524 h 225726"/>
                <a:gd name="connsiteX5" fmla="*/ 203798 w 225726"/>
                <a:gd name="connsiteY5" fmla="*/ 218524 h 225726"/>
                <a:gd name="connsiteX6" fmla="*/ 185203 w 225726"/>
                <a:gd name="connsiteY6" fmla="*/ 80079 h 225726"/>
                <a:gd name="connsiteX7" fmla="*/ 117270 w 225726"/>
                <a:gd name="connsiteY7" fmla="*/ 226694 h 225726"/>
                <a:gd name="connsiteX8" fmla="*/ 50305 w 225726"/>
                <a:gd name="connsiteY8" fmla="*/ 79972 h 225726"/>
                <a:gd name="connsiteX9" fmla="*/ 30742 w 225726"/>
                <a:gd name="connsiteY9" fmla="*/ 218632 h 225726"/>
                <a:gd name="connsiteX10" fmla="*/ 8062 w 225726"/>
                <a:gd name="connsiteY10" fmla="*/ 218632 h 22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5726" h="225726">
                  <a:moveTo>
                    <a:pt x="8062" y="218524"/>
                  </a:moveTo>
                  <a:lnTo>
                    <a:pt x="41061" y="8062"/>
                  </a:lnTo>
                  <a:lnTo>
                    <a:pt x="117485" y="176281"/>
                  </a:lnTo>
                  <a:lnTo>
                    <a:pt x="195629" y="8062"/>
                  </a:lnTo>
                  <a:lnTo>
                    <a:pt x="226479" y="218524"/>
                  </a:lnTo>
                  <a:lnTo>
                    <a:pt x="203798" y="218524"/>
                  </a:lnTo>
                  <a:lnTo>
                    <a:pt x="185203" y="80079"/>
                  </a:lnTo>
                  <a:lnTo>
                    <a:pt x="117270" y="226694"/>
                  </a:lnTo>
                  <a:lnTo>
                    <a:pt x="50305" y="79972"/>
                  </a:lnTo>
                  <a:lnTo>
                    <a:pt x="30742" y="218632"/>
                  </a:lnTo>
                  <a:lnTo>
                    <a:pt x="8062" y="21863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C1BE10D-58D6-450E-AA58-6C18E5390A25}"/>
                </a:ext>
              </a:extLst>
            </p:cNvPr>
            <p:cNvSpPr/>
            <p:nvPr/>
          </p:nvSpPr>
          <p:spPr>
            <a:xfrm>
              <a:off x="1223063" y="920953"/>
              <a:ext cx="32247" cy="214977"/>
            </a:xfrm>
            <a:custGeom>
              <a:avLst/>
              <a:gdLst>
                <a:gd name="connsiteX0" fmla="*/ 30312 w 32246"/>
                <a:gd name="connsiteY0" fmla="*/ 8062 h 214977"/>
                <a:gd name="connsiteX1" fmla="*/ 30312 w 32246"/>
                <a:gd name="connsiteY1" fmla="*/ 207131 h 214977"/>
                <a:gd name="connsiteX2" fmla="*/ 8062 w 32246"/>
                <a:gd name="connsiteY2" fmla="*/ 207131 h 214977"/>
                <a:gd name="connsiteX3" fmla="*/ 8062 w 32246"/>
                <a:gd name="connsiteY3" fmla="*/ 8062 h 214977"/>
                <a:gd name="connsiteX4" fmla="*/ 30312 w 32246"/>
                <a:gd name="connsiteY4" fmla="*/ 8062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46" h="214977">
                  <a:moveTo>
                    <a:pt x="30312" y="8062"/>
                  </a:moveTo>
                  <a:lnTo>
                    <a:pt x="30312" y="207131"/>
                  </a:lnTo>
                  <a:lnTo>
                    <a:pt x="8062" y="207131"/>
                  </a:lnTo>
                  <a:lnTo>
                    <a:pt x="8062" y="8062"/>
                  </a:lnTo>
                  <a:lnTo>
                    <a:pt x="30312" y="8062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F60BEAF-C5B9-4B67-9E2E-EF254FB98178}"/>
                </a:ext>
              </a:extLst>
            </p:cNvPr>
            <p:cNvSpPr/>
            <p:nvPr/>
          </p:nvSpPr>
          <p:spPr>
            <a:xfrm>
              <a:off x="1278097" y="920953"/>
              <a:ext cx="161233" cy="214977"/>
            </a:xfrm>
            <a:custGeom>
              <a:avLst/>
              <a:gdLst>
                <a:gd name="connsiteX0" fmla="*/ 44823 w 161232"/>
                <a:gd name="connsiteY0" fmla="*/ 186385 h 214977"/>
                <a:gd name="connsiteX1" fmla="*/ 150699 w 161232"/>
                <a:gd name="connsiteY1" fmla="*/ 186385 h 214977"/>
                <a:gd name="connsiteX2" fmla="*/ 150699 w 161232"/>
                <a:gd name="connsiteY2" fmla="*/ 207131 h 214977"/>
                <a:gd name="connsiteX3" fmla="*/ 8062 w 161232"/>
                <a:gd name="connsiteY3" fmla="*/ 207131 h 214977"/>
                <a:gd name="connsiteX4" fmla="*/ 116625 w 161232"/>
                <a:gd name="connsiteY4" fmla="*/ 28807 h 214977"/>
                <a:gd name="connsiteX5" fmla="*/ 21928 w 161232"/>
                <a:gd name="connsiteY5" fmla="*/ 28807 h 214977"/>
                <a:gd name="connsiteX6" fmla="*/ 21928 w 161232"/>
                <a:gd name="connsiteY6" fmla="*/ 8062 h 214977"/>
                <a:gd name="connsiteX7" fmla="*/ 153601 w 161232"/>
                <a:gd name="connsiteY7" fmla="*/ 8062 h 214977"/>
                <a:gd name="connsiteX8" fmla="*/ 44823 w 161232"/>
                <a:gd name="connsiteY8" fmla="*/ 186385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232" h="214977">
                  <a:moveTo>
                    <a:pt x="44823" y="186385"/>
                  </a:moveTo>
                  <a:lnTo>
                    <a:pt x="150699" y="186385"/>
                  </a:lnTo>
                  <a:lnTo>
                    <a:pt x="150699" y="207131"/>
                  </a:lnTo>
                  <a:lnTo>
                    <a:pt x="8062" y="207131"/>
                  </a:lnTo>
                  <a:lnTo>
                    <a:pt x="116625" y="28807"/>
                  </a:lnTo>
                  <a:lnTo>
                    <a:pt x="21928" y="28807"/>
                  </a:lnTo>
                  <a:lnTo>
                    <a:pt x="21928" y="8062"/>
                  </a:lnTo>
                  <a:lnTo>
                    <a:pt x="153601" y="8062"/>
                  </a:lnTo>
                  <a:lnTo>
                    <a:pt x="44823" y="18638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D2218E2-3F6A-4652-9C77-B02E9993CA47}"/>
                </a:ext>
              </a:extLst>
            </p:cNvPr>
            <p:cNvSpPr/>
            <p:nvPr/>
          </p:nvSpPr>
          <p:spPr>
            <a:xfrm>
              <a:off x="1452228" y="920953"/>
              <a:ext cx="118237" cy="214977"/>
            </a:xfrm>
            <a:custGeom>
              <a:avLst/>
              <a:gdLst>
                <a:gd name="connsiteX0" fmla="*/ 111251 w 118237"/>
                <a:gd name="connsiteY0" fmla="*/ 28807 h 214977"/>
                <a:gd name="connsiteX1" fmla="*/ 30419 w 118237"/>
                <a:gd name="connsiteY1" fmla="*/ 28807 h 214977"/>
                <a:gd name="connsiteX2" fmla="*/ 30419 w 118237"/>
                <a:gd name="connsiteY2" fmla="*/ 87818 h 214977"/>
                <a:gd name="connsiteX3" fmla="*/ 109101 w 118237"/>
                <a:gd name="connsiteY3" fmla="*/ 87818 h 214977"/>
                <a:gd name="connsiteX4" fmla="*/ 109101 w 118237"/>
                <a:gd name="connsiteY4" fmla="*/ 108564 h 214977"/>
                <a:gd name="connsiteX5" fmla="*/ 30419 w 118237"/>
                <a:gd name="connsiteY5" fmla="*/ 108564 h 214977"/>
                <a:gd name="connsiteX6" fmla="*/ 30419 w 118237"/>
                <a:gd name="connsiteY6" fmla="*/ 186278 h 214977"/>
                <a:gd name="connsiteX7" fmla="*/ 111251 w 118237"/>
                <a:gd name="connsiteY7" fmla="*/ 186278 h 214977"/>
                <a:gd name="connsiteX8" fmla="*/ 111251 w 118237"/>
                <a:gd name="connsiteY8" fmla="*/ 207023 h 214977"/>
                <a:gd name="connsiteX9" fmla="*/ 8062 w 118237"/>
                <a:gd name="connsiteY9" fmla="*/ 207023 h 214977"/>
                <a:gd name="connsiteX10" fmla="*/ 8062 w 118237"/>
                <a:gd name="connsiteY10" fmla="*/ 8062 h 214977"/>
                <a:gd name="connsiteX11" fmla="*/ 111251 w 118237"/>
                <a:gd name="connsiteY11" fmla="*/ 8062 h 214977"/>
                <a:gd name="connsiteX12" fmla="*/ 111251 w 118237"/>
                <a:gd name="connsiteY12" fmla="*/ 28807 h 21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237" h="214977">
                  <a:moveTo>
                    <a:pt x="111251" y="28807"/>
                  </a:moveTo>
                  <a:lnTo>
                    <a:pt x="30419" y="28807"/>
                  </a:lnTo>
                  <a:lnTo>
                    <a:pt x="30419" y="87818"/>
                  </a:lnTo>
                  <a:lnTo>
                    <a:pt x="109101" y="87818"/>
                  </a:lnTo>
                  <a:lnTo>
                    <a:pt x="109101" y="108564"/>
                  </a:lnTo>
                  <a:lnTo>
                    <a:pt x="30419" y="108564"/>
                  </a:lnTo>
                  <a:lnTo>
                    <a:pt x="30419" y="186278"/>
                  </a:lnTo>
                  <a:lnTo>
                    <a:pt x="111251" y="186278"/>
                  </a:lnTo>
                  <a:lnTo>
                    <a:pt x="111251" y="207023"/>
                  </a:lnTo>
                  <a:lnTo>
                    <a:pt x="8062" y="207023"/>
                  </a:lnTo>
                  <a:lnTo>
                    <a:pt x="8062" y="8062"/>
                  </a:lnTo>
                  <a:lnTo>
                    <a:pt x="111251" y="8062"/>
                  </a:lnTo>
                  <a:lnTo>
                    <a:pt x="111251" y="28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33430632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7_Highlight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C798D1-668F-4600-873C-F4F6B93492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91175" cy="10298113"/>
          </a:xfrm>
          <a:prstGeom prst="rect">
            <a:avLst/>
          </a:prstGeom>
        </p:spPr>
      </p:pic>
      <p:grpSp>
        <p:nvGrpSpPr>
          <p:cNvPr id="40" name="Group 4">
            <a:extLst>
              <a:ext uri="{FF2B5EF4-FFF2-40B4-BE49-F238E27FC236}">
                <a16:creationId xmlns:a16="http://schemas.microsoft.com/office/drawing/2014/main" id="{5F001BEE-7908-4612-90D6-1E9263D173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6" cy="384175"/>
            <a:chOff x="436" y="5587"/>
            <a:chExt cx="1802" cy="242"/>
          </a:xfrm>
        </p:grpSpPr>
        <p:sp>
          <p:nvSpPr>
            <p:cNvPr id="41" name="AutoShape 3">
              <a:extLst>
                <a:ext uri="{FF2B5EF4-FFF2-40B4-BE49-F238E27FC236}">
                  <a16:creationId xmlns:a16="http://schemas.microsoft.com/office/drawing/2014/main" id="{1A0A1E56-602E-420F-B906-A9BFBFF410B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A9E4A703-D252-4CCB-8853-893F30DD25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210249EC-C5A4-4FA7-A209-10196F5166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9085DFCB-AD94-4C5B-84DB-32E5A9D64D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125B402B-38B5-44BF-B09F-CD32FB67DE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2452E17A-E1CF-4C8D-9B5A-DFF22C1602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61291FFE-2898-4F49-A874-E44BE5C37A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8" name="Rectangle 11">
              <a:extLst>
                <a:ext uri="{FF2B5EF4-FFF2-40B4-BE49-F238E27FC236}">
                  <a16:creationId xmlns:a16="http://schemas.microsoft.com/office/drawing/2014/main" id="{71AE509A-0AF3-4604-B18A-E914A108AA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49" name="Rectangle 12">
              <a:extLst>
                <a:ext uri="{FF2B5EF4-FFF2-40B4-BE49-F238E27FC236}">
                  <a16:creationId xmlns:a16="http://schemas.microsoft.com/office/drawing/2014/main" id="{20E2F37B-73C4-4392-9903-1CFA997E09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10429613-328D-441B-B5D1-ABB25A96AD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29C658A2-C7A1-4452-B4D6-7566FFEB22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6DCAD8A5-DAAA-4F82-8A88-15D79BA9C7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3" name="Rectangle 16">
              <a:extLst>
                <a:ext uri="{FF2B5EF4-FFF2-40B4-BE49-F238E27FC236}">
                  <a16:creationId xmlns:a16="http://schemas.microsoft.com/office/drawing/2014/main" id="{9D8917AF-6A2E-4960-A4E0-8196F71F42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DEB04A77-A246-42BE-AEB0-D35A30C70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5" name="Rectangle 18">
              <a:extLst>
                <a:ext uri="{FF2B5EF4-FFF2-40B4-BE49-F238E27FC236}">
                  <a16:creationId xmlns:a16="http://schemas.microsoft.com/office/drawing/2014/main" id="{7691FA5B-A410-465A-B649-1751B519EA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CDF1719C-AE81-4C8D-BA63-F3E790BDD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21F1F581-6E00-41DF-BA0D-3CAB642E73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</p:grpSp>
      <p:sp>
        <p:nvSpPr>
          <p:cNvPr id="22" name="Title 8">
            <a:extLst>
              <a:ext uri="{FF2B5EF4-FFF2-40B4-BE49-F238E27FC236}">
                <a16:creationId xmlns:a16="http://schemas.microsoft.com/office/drawing/2014/main" id="{8AE6EDDE-2FA2-488D-9A94-C6030DDAF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0824" y="1535145"/>
            <a:ext cx="14696647" cy="7151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360" tIns="720360" rIns="720360" bIns="720360" numCol="1" rtlCol="0" anchor="ctr" anchorCtr="1" compatLnSpc="1">
            <a:prstTxWarp prst="textNoShape">
              <a:avLst/>
            </a:prstTxWarp>
            <a:noAutofit/>
          </a:bodyPr>
          <a:lstStyle>
            <a:lvl1pPr marL="0" marR="0" indent="0" algn="ctr" defTabSz="1827976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/>
              <a:defRPr lang="en-GB" sz="7890" b="1" kern="1200" cap="none" spc="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1827976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tabLst/>
              <a:defRPr/>
            </a:pPr>
            <a:r>
              <a:rPr lang="en-US"/>
              <a:t>CLICK TO EDIT TEXT OF DIVIDER OR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346791148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9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99111" y="1622878"/>
            <a:ext cx="16932039" cy="744073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447963" indent="-447963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1pPr>
            <a:lvl2pPr marL="961135" indent="-481982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06C0BE3-7D2D-4D4D-9756-4577D76660CA}"/>
              </a:ext>
            </a:extLst>
          </p:cNvPr>
          <p:cNvSpPr/>
          <p:nvPr/>
        </p:nvSpPr>
        <p:spPr>
          <a:xfrm>
            <a:off x="0" y="9161084"/>
            <a:ext cx="825500" cy="1137028"/>
          </a:xfrm>
          <a:custGeom>
            <a:avLst/>
            <a:gdLst>
              <a:gd name="connsiteX0" fmla="*/ 0 w 1069237"/>
              <a:gd name="connsiteY0" fmla="*/ 0 h 1472747"/>
              <a:gd name="connsiteX1" fmla="*/ 1069237 w 1069237"/>
              <a:gd name="connsiteY1" fmla="*/ 1472747 h 1472747"/>
              <a:gd name="connsiteX2" fmla="*/ 0 w 1069237"/>
              <a:gd name="connsiteY2" fmla="*/ 1472747 h 1472747"/>
              <a:gd name="connsiteX3" fmla="*/ 0 w 1069237"/>
              <a:gd name="connsiteY3" fmla="*/ 0 h 1472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9237" h="1472747">
                <a:moveTo>
                  <a:pt x="0" y="0"/>
                </a:moveTo>
                <a:lnTo>
                  <a:pt x="1069237" y="1472747"/>
                </a:lnTo>
                <a:lnTo>
                  <a:pt x="0" y="147274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49000">
                <a:schemeClr val="accent1"/>
              </a:gs>
            </a:gsLst>
            <a:lin ang="19200000" scaled="0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2774EEE-9211-49C8-8033-B12604EA8027}"/>
              </a:ext>
            </a:extLst>
          </p:cNvPr>
          <p:cNvSpPr/>
          <p:nvPr/>
        </p:nvSpPr>
        <p:spPr>
          <a:xfrm>
            <a:off x="18075175" y="0"/>
            <a:ext cx="216000" cy="10298112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6200000" scaled="1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035664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9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99111" y="1622878"/>
            <a:ext cx="16932039" cy="744073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447963" indent="-447963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1pPr>
            <a:lvl2pPr marL="961135" indent="-481982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06C0BE3-7D2D-4D4D-9756-4577D76660CA}"/>
              </a:ext>
            </a:extLst>
          </p:cNvPr>
          <p:cNvSpPr/>
          <p:nvPr/>
        </p:nvSpPr>
        <p:spPr>
          <a:xfrm rot="10800000">
            <a:off x="17170400" y="1"/>
            <a:ext cx="1120775" cy="1543734"/>
          </a:xfrm>
          <a:custGeom>
            <a:avLst/>
            <a:gdLst>
              <a:gd name="connsiteX0" fmla="*/ 0 w 1069237"/>
              <a:gd name="connsiteY0" fmla="*/ 0 h 1472747"/>
              <a:gd name="connsiteX1" fmla="*/ 1069237 w 1069237"/>
              <a:gd name="connsiteY1" fmla="*/ 1472747 h 1472747"/>
              <a:gd name="connsiteX2" fmla="*/ 0 w 1069237"/>
              <a:gd name="connsiteY2" fmla="*/ 1472747 h 1472747"/>
              <a:gd name="connsiteX3" fmla="*/ 0 w 1069237"/>
              <a:gd name="connsiteY3" fmla="*/ 0 h 1472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9237" h="1472747">
                <a:moveTo>
                  <a:pt x="0" y="0"/>
                </a:moveTo>
                <a:lnTo>
                  <a:pt x="1069237" y="1472747"/>
                </a:lnTo>
                <a:lnTo>
                  <a:pt x="0" y="147274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77000">
                <a:schemeClr val="accent3"/>
              </a:gs>
            </a:gsLst>
            <a:lin ang="19200000" scaled="0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2774EEE-9211-49C8-8033-B12604EA8027}"/>
              </a:ext>
            </a:extLst>
          </p:cNvPr>
          <p:cNvSpPr/>
          <p:nvPr/>
        </p:nvSpPr>
        <p:spPr>
          <a:xfrm>
            <a:off x="0" y="0"/>
            <a:ext cx="216000" cy="10298112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6200000" scaled="1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953851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1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6" name="Rectangle 2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585716" y="2334741"/>
            <a:ext cx="5169831" cy="2379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>
              <a:lnSpc>
                <a:spcPts val="5494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0871" y="962463"/>
            <a:ext cx="8738097" cy="8143438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B7BF019-652A-42B2-BBB8-6676B2DC765B}"/>
              </a:ext>
            </a:extLst>
          </p:cNvPr>
          <p:cNvGrpSpPr/>
          <p:nvPr/>
        </p:nvGrpSpPr>
        <p:grpSpPr>
          <a:xfrm>
            <a:off x="10740533" y="0"/>
            <a:ext cx="7550642" cy="10265075"/>
            <a:chOff x="10743192" y="33039"/>
            <a:chExt cx="7550642" cy="1026507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DAA23BC-C621-493A-B736-7CDDA8BE9596}"/>
                </a:ext>
              </a:extLst>
            </p:cNvPr>
            <p:cNvSpPr/>
            <p:nvPr userDrawn="1"/>
          </p:nvSpPr>
          <p:spPr>
            <a:xfrm>
              <a:off x="10743193" y="33039"/>
              <a:ext cx="7550641" cy="7557486"/>
            </a:xfrm>
            <a:custGeom>
              <a:avLst/>
              <a:gdLst>
                <a:gd name="connsiteX0" fmla="*/ 2010508 w 3427492"/>
                <a:gd name="connsiteY0" fmla="*/ 0 h 3427492"/>
                <a:gd name="connsiteX1" fmla="*/ 0 w 3427492"/>
                <a:gd name="connsiteY1" fmla="*/ 0 h 3427492"/>
                <a:gd name="connsiteX2" fmla="*/ 0 w 3427492"/>
                <a:gd name="connsiteY2" fmla="*/ 3427493 h 3427492"/>
                <a:gd name="connsiteX3" fmla="*/ 1713746 w 3427492"/>
                <a:gd name="connsiteY3" fmla="*/ 3427493 h 3427492"/>
                <a:gd name="connsiteX4" fmla="*/ 1713746 w 3427492"/>
                <a:gd name="connsiteY4" fmla="*/ 2517280 h 3427492"/>
                <a:gd name="connsiteX5" fmla="*/ 2377440 w 3427492"/>
                <a:gd name="connsiteY5" fmla="*/ 3427493 h 3427492"/>
                <a:gd name="connsiteX6" fmla="*/ 3427493 w 3427492"/>
                <a:gd name="connsiteY6" fmla="*/ 3427493 h 3427492"/>
                <a:gd name="connsiteX7" fmla="*/ 3427493 w 3427492"/>
                <a:gd name="connsiteY7" fmla="*/ 1951641 h 3427492"/>
                <a:gd name="connsiteX8" fmla="*/ 3254829 w 3427492"/>
                <a:gd name="connsiteY8" fmla="*/ 1713746 h 342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7492" h="3427492">
                  <a:moveTo>
                    <a:pt x="2010508" y="0"/>
                  </a:moveTo>
                  <a:lnTo>
                    <a:pt x="0" y="0"/>
                  </a:lnTo>
                  <a:lnTo>
                    <a:pt x="0" y="3427493"/>
                  </a:lnTo>
                  <a:lnTo>
                    <a:pt x="1713746" y="3427493"/>
                  </a:lnTo>
                  <a:lnTo>
                    <a:pt x="1713746" y="2517280"/>
                  </a:lnTo>
                  <a:lnTo>
                    <a:pt x="2377440" y="3427493"/>
                  </a:lnTo>
                  <a:lnTo>
                    <a:pt x="3427493" y="3427493"/>
                  </a:lnTo>
                  <a:lnTo>
                    <a:pt x="3427493" y="1951641"/>
                  </a:lnTo>
                  <a:lnTo>
                    <a:pt x="3254829" y="1713746"/>
                  </a:lnTo>
                  <a:close/>
                </a:path>
              </a:pathLst>
            </a:custGeom>
            <a:solidFill>
              <a:schemeClr val="bg1"/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162F793-1874-4C9D-8535-AC1066509668}"/>
                </a:ext>
              </a:extLst>
            </p:cNvPr>
            <p:cNvSpPr/>
            <p:nvPr userDrawn="1"/>
          </p:nvSpPr>
          <p:spPr>
            <a:xfrm>
              <a:off x="14518514" y="5583542"/>
              <a:ext cx="1462094" cy="2006983"/>
            </a:xfrm>
            <a:custGeom>
              <a:avLst/>
              <a:gdLst>
                <a:gd name="connsiteX0" fmla="*/ 0 w 663693"/>
                <a:gd name="connsiteY0" fmla="*/ 910213 h 910213"/>
                <a:gd name="connsiteX1" fmla="*/ 663694 w 663693"/>
                <a:gd name="connsiteY1" fmla="*/ 910213 h 910213"/>
                <a:gd name="connsiteX2" fmla="*/ 0 w 663693"/>
                <a:gd name="connsiteY2" fmla="*/ 0 h 910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3693" h="910213">
                  <a:moveTo>
                    <a:pt x="0" y="910213"/>
                  </a:moveTo>
                  <a:lnTo>
                    <a:pt x="663694" y="9102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2D3"/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C6DFB0D-42B0-4224-9082-AAA02A38CBD3}"/>
                </a:ext>
              </a:extLst>
            </p:cNvPr>
            <p:cNvSpPr/>
            <p:nvPr userDrawn="1"/>
          </p:nvSpPr>
          <p:spPr>
            <a:xfrm>
              <a:off x="15172269" y="33039"/>
              <a:ext cx="3121565" cy="4303291"/>
            </a:xfrm>
            <a:custGeom>
              <a:avLst/>
              <a:gdLst>
                <a:gd name="connsiteX0" fmla="*/ 0 w 1416984"/>
                <a:gd name="connsiteY0" fmla="*/ 0 h 1951641"/>
                <a:gd name="connsiteX1" fmla="*/ 1244321 w 1416984"/>
                <a:gd name="connsiteY1" fmla="*/ 1713746 h 1951641"/>
                <a:gd name="connsiteX2" fmla="*/ 1416985 w 1416984"/>
                <a:gd name="connsiteY2" fmla="*/ 1951641 h 1951641"/>
                <a:gd name="connsiteX3" fmla="*/ 1416985 w 1416984"/>
                <a:gd name="connsiteY3" fmla="*/ 0 h 195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6984" h="1951641">
                  <a:moveTo>
                    <a:pt x="0" y="0"/>
                  </a:moveTo>
                  <a:lnTo>
                    <a:pt x="1244321" y="1713746"/>
                  </a:lnTo>
                  <a:lnTo>
                    <a:pt x="1416985" y="1951641"/>
                  </a:lnTo>
                  <a:lnTo>
                    <a:pt x="1416985" y="0"/>
                  </a:lnTo>
                  <a:close/>
                </a:path>
              </a:pathLst>
            </a:custGeom>
            <a:solidFill>
              <a:srgbClr val="D0D2D3"/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4E9D890-252F-4D93-986B-B3B0D88979A7}"/>
                </a:ext>
              </a:extLst>
            </p:cNvPr>
            <p:cNvSpPr/>
            <p:nvPr userDrawn="1"/>
          </p:nvSpPr>
          <p:spPr>
            <a:xfrm>
              <a:off x="10743192" y="7590525"/>
              <a:ext cx="3775321" cy="2674550"/>
            </a:xfrm>
            <a:custGeom>
              <a:avLst/>
              <a:gdLst>
                <a:gd name="connsiteX0" fmla="*/ 1713746 w 1713746"/>
                <a:gd name="connsiteY0" fmla="*/ 3427577 h 3427576"/>
                <a:gd name="connsiteX1" fmla="*/ 1713746 w 1713746"/>
                <a:gd name="connsiteY1" fmla="*/ 1713830 h 3427576"/>
                <a:gd name="connsiteX2" fmla="*/ 1713746 w 1713746"/>
                <a:gd name="connsiteY2" fmla="*/ 0 h 3427576"/>
                <a:gd name="connsiteX3" fmla="*/ 0 w 1713746"/>
                <a:gd name="connsiteY3" fmla="*/ 0 h 3427576"/>
                <a:gd name="connsiteX4" fmla="*/ 0 w 1713746"/>
                <a:gd name="connsiteY4" fmla="*/ 3427577 h 3427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3746" h="3427576">
                  <a:moveTo>
                    <a:pt x="1713746" y="3427577"/>
                  </a:moveTo>
                  <a:lnTo>
                    <a:pt x="1713746" y="1713830"/>
                  </a:lnTo>
                  <a:lnTo>
                    <a:pt x="1713746" y="0"/>
                  </a:lnTo>
                  <a:lnTo>
                    <a:pt x="0" y="0"/>
                  </a:lnTo>
                  <a:lnTo>
                    <a:pt x="0" y="342757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C9FBF5E-940D-47BA-89A2-58A0B8E8DB32}"/>
                </a:ext>
              </a:extLst>
            </p:cNvPr>
            <p:cNvSpPr/>
            <p:nvPr userDrawn="1"/>
          </p:nvSpPr>
          <p:spPr>
            <a:xfrm>
              <a:off x="14518514" y="7590526"/>
              <a:ext cx="3434212" cy="2707588"/>
            </a:xfrm>
            <a:custGeom>
              <a:avLst/>
              <a:gdLst>
                <a:gd name="connsiteX0" fmla="*/ 0 w 2289077"/>
                <a:gd name="connsiteY0" fmla="*/ 0 h 1803111"/>
                <a:gd name="connsiteX1" fmla="*/ 974560 w 2289077"/>
                <a:gd name="connsiteY1" fmla="*/ 0 h 1803111"/>
                <a:gd name="connsiteX2" fmla="*/ 2289077 w 2289077"/>
                <a:gd name="connsiteY2" fmla="*/ 1803111 h 1803111"/>
                <a:gd name="connsiteX3" fmla="*/ 0 w 2289077"/>
                <a:gd name="connsiteY3" fmla="*/ 1803111 h 1803111"/>
                <a:gd name="connsiteX4" fmla="*/ 0 w 2289077"/>
                <a:gd name="connsiteY4" fmla="*/ 0 h 180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9077" h="1803111">
                  <a:moveTo>
                    <a:pt x="0" y="0"/>
                  </a:moveTo>
                  <a:lnTo>
                    <a:pt x="974560" y="0"/>
                  </a:lnTo>
                  <a:lnTo>
                    <a:pt x="2289077" y="1803111"/>
                  </a:lnTo>
                  <a:lnTo>
                    <a:pt x="0" y="1803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D1A195A-40AE-470E-B83C-CD7143431359}"/>
                </a:ext>
              </a:extLst>
            </p:cNvPr>
            <p:cNvSpPr/>
            <p:nvPr userDrawn="1"/>
          </p:nvSpPr>
          <p:spPr>
            <a:xfrm>
              <a:off x="15980605" y="7590526"/>
              <a:ext cx="2313229" cy="2707588"/>
            </a:xfrm>
            <a:custGeom>
              <a:avLst/>
              <a:gdLst>
                <a:gd name="connsiteX0" fmla="*/ 0 w 1541885"/>
                <a:gd name="connsiteY0" fmla="*/ 0 h 1803111"/>
                <a:gd name="connsiteX1" fmla="*/ 1541885 w 1541885"/>
                <a:gd name="connsiteY1" fmla="*/ 0 h 1803111"/>
                <a:gd name="connsiteX2" fmla="*/ 1541885 w 1541885"/>
                <a:gd name="connsiteY2" fmla="*/ 1803111 h 1803111"/>
                <a:gd name="connsiteX3" fmla="*/ 1314517 w 1541885"/>
                <a:gd name="connsiteY3" fmla="*/ 1803111 h 1803111"/>
                <a:gd name="connsiteX4" fmla="*/ 0 w 1541885"/>
                <a:gd name="connsiteY4" fmla="*/ 0 h 180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885" h="1803111">
                  <a:moveTo>
                    <a:pt x="0" y="0"/>
                  </a:moveTo>
                  <a:lnTo>
                    <a:pt x="1541885" y="0"/>
                  </a:lnTo>
                  <a:lnTo>
                    <a:pt x="1541885" y="1803111"/>
                  </a:lnTo>
                  <a:lnTo>
                    <a:pt x="1314517" y="1803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/>
            </a:p>
          </p:txBody>
        </p:sp>
      </p:grpSp>
      <p:grpSp>
        <p:nvGrpSpPr>
          <p:cNvPr id="42" name="Group 4">
            <a:extLst>
              <a:ext uri="{FF2B5EF4-FFF2-40B4-BE49-F238E27FC236}">
                <a16:creationId xmlns:a16="http://schemas.microsoft.com/office/drawing/2014/main" id="{731B3CF6-3E84-49EF-A113-C4258841DA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43" name="AutoShape 3">
              <a:extLst>
                <a:ext uri="{FF2B5EF4-FFF2-40B4-BE49-F238E27FC236}">
                  <a16:creationId xmlns:a16="http://schemas.microsoft.com/office/drawing/2014/main" id="{96DBB05C-8808-4D0F-B526-48FB68FAEB3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24D9E065-997A-466B-A12C-B1A106569B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4305E2B0-8ACD-48B6-8C3D-FF2C6A14DF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Rectangle 7">
              <a:extLst>
                <a:ext uri="{FF2B5EF4-FFF2-40B4-BE49-F238E27FC236}">
                  <a16:creationId xmlns:a16="http://schemas.microsoft.com/office/drawing/2014/main" id="{604B3458-4127-4D5C-97A3-219E2A0497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B4288A8A-19B7-48C9-8D6B-B39007CF4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Rectangle 9">
              <a:extLst>
                <a:ext uri="{FF2B5EF4-FFF2-40B4-BE49-F238E27FC236}">
                  <a16:creationId xmlns:a16="http://schemas.microsoft.com/office/drawing/2014/main" id="{4D5D3D68-77A5-4FA8-8A11-0AA12BF5A6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D99DAE53-DAC5-452E-B129-C759E337E9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Rectangle 11">
              <a:extLst>
                <a:ext uri="{FF2B5EF4-FFF2-40B4-BE49-F238E27FC236}">
                  <a16:creationId xmlns:a16="http://schemas.microsoft.com/office/drawing/2014/main" id="{226CF397-0D73-430E-A2C7-CF08333073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37FA94E8-55F9-4AA4-94DE-C2EF2033E9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7C1655CC-1445-4835-8131-313C86B49B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1942793A-71BE-46B4-8487-E1DEBFE651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D943A140-13C0-4E00-A543-F91FA35F51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Rectangle 16">
              <a:extLst>
                <a:ext uri="{FF2B5EF4-FFF2-40B4-BE49-F238E27FC236}">
                  <a16:creationId xmlns:a16="http://schemas.microsoft.com/office/drawing/2014/main" id="{80F4A413-BFEB-4272-9A96-F3C46C97D2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47048AC0-34D8-4B5C-88E4-0BB6C1E035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Rectangle 18">
              <a:extLst>
                <a:ext uri="{FF2B5EF4-FFF2-40B4-BE49-F238E27FC236}">
                  <a16:creationId xmlns:a16="http://schemas.microsoft.com/office/drawing/2014/main" id="{AC3DFB14-F188-4AD7-931E-A252AB5322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471D4C6A-E71F-474C-860F-C091469B4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095A9031-E958-4404-AE5E-E04DF54F2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3388C133-A534-413D-ACD6-4CD7219B558F}"/>
              </a:ext>
            </a:extLst>
          </p:cNvPr>
          <p:cNvSpPr/>
          <p:nvPr/>
        </p:nvSpPr>
        <p:spPr>
          <a:xfrm>
            <a:off x="10014686" y="-1"/>
            <a:ext cx="722671" cy="10298113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6200000" scaled="1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311264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9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99111" y="1622878"/>
            <a:ext cx="16932039" cy="744073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447963" indent="-447963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1pPr>
            <a:lvl2pPr marL="961135" indent="-481982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06C0BE3-7D2D-4D4D-9756-4577D76660CA}"/>
              </a:ext>
            </a:extLst>
          </p:cNvPr>
          <p:cNvSpPr/>
          <p:nvPr/>
        </p:nvSpPr>
        <p:spPr>
          <a:xfrm rot="10800000">
            <a:off x="17170400" y="1"/>
            <a:ext cx="1120775" cy="1543734"/>
          </a:xfrm>
          <a:custGeom>
            <a:avLst/>
            <a:gdLst>
              <a:gd name="connsiteX0" fmla="*/ 0 w 1069237"/>
              <a:gd name="connsiteY0" fmla="*/ 0 h 1472747"/>
              <a:gd name="connsiteX1" fmla="*/ 1069237 w 1069237"/>
              <a:gd name="connsiteY1" fmla="*/ 1472747 h 1472747"/>
              <a:gd name="connsiteX2" fmla="*/ 0 w 1069237"/>
              <a:gd name="connsiteY2" fmla="*/ 1472747 h 1472747"/>
              <a:gd name="connsiteX3" fmla="*/ 0 w 1069237"/>
              <a:gd name="connsiteY3" fmla="*/ 0 h 1472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9237" h="1472747">
                <a:moveTo>
                  <a:pt x="0" y="0"/>
                </a:moveTo>
                <a:lnTo>
                  <a:pt x="1069237" y="1472747"/>
                </a:lnTo>
                <a:lnTo>
                  <a:pt x="0" y="147274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77000">
                <a:schemeClr val="accent1"/>
              </a:gs>
            </a:gsLst>
            <a:lin ang="19200000" scaled="0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2774EEE-9211-49C8-8033-B12604EA8027}"/>
              </a:ext>
            </a:extLst>
          </p:cNvPr>
          <p:cNvSpPr/>
          <p:nvPr/>
        </p:nvSpPr>
        <p:spPr>
          <a:xfrm>
            <a:off x="0" y="0"/>
            <a:ext cx="216000" cy="10298112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60000">
                <a:schemeClr val="accent3"/>
              </a:gs>
            </a:gsLst>
            <a:lin ang="16200000" scaled="1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64261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0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6" name="Rectangle 2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585716" y="2334741"/>
            <a:ext cx="5169831" cy="2379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>
              <a:lnSpc>
                <a:spcPts val="5494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0871" y="962463"/>
            <a:ext cx="8738097" cy="8143438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B7BF019-652A-42B2-BBB8-6676B2DC765B}"/>
              </a:ext>
            </a:extLst>
          </p:cNvPr>
          <p:cNvGrpSpPr/>
          <p:nvPr/>
        </p:nvGrpSpPr>
        <p:grpSpPr>
          <a:xfrm>
            <a:off x="10740533" y="0"/>
            <a:ext cx="7550642" cy="10265075"/>
            <a:chOff x="10743192" y="33039"/>
            <a:chExt cx="7550642" cy="1026507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DAA23BC-C621-493A-B736-7CDDA8BE9596}"/>
                </a:ext>
              </a:extLst>
            </p:cNvPr>
            <p:cNvSpPr/>
            <p:nvPr userDrawn="1"/>
          </p:nvSpPr>
          <p:spPr>
            <a:xfrm>
              <a:off x="10743193" y="33039"/>
              <a:ext cx="7550641" cy="7557486"/>
            </a:xfrm>
            <a:custGeom>
              <a:avLst/>
              <a:gdLst>
                <a:gd name="connsiteX0" fmla="*/ 2010508 w 3427492"/>
                <a:gd name="connsiteY0" fmla="*/ 0 h 3427492"/>
                <a:gd name="connsiteX1" fmla="*/ 0 w 3427492"/>
                <a:gd name="connsiteY1" fmla="*/ 0 h 3427492"/>
                <a:gd name="connsiteX2" fmla="*/ 0 w 3427492"/>
                <a:gd name="connsiteY2" fmla="*/ 3427493 h 3427492"/>
                <a:gd name="connsiteX3" fmla="*/ 1713746 w 3427492"/>
                <a:gd name="connsiteY3" fmla="*/ 3427493 h 3427492"/>
                <a:gd name="connsiteX4" fmla="*/ 1713746 w 3427492"/>
                <a:gd name="connsiteY4" fmla="*/ 2517280 h 3427492"/>
                <a:gd name="connsiteX5" fmla="*/ 2377440 w 3427492"/>
                <a:gd name="connsiteY5" fmla="*/ 3427493 h 3427492"/>
                <a:gd name="connsiteX6" fmla="*/ 3427493 w 3427492"/>
                <a:gd name="connsiteY6" fmla="*/ 3427493 h 3427492"/>
                <a:gd name="connsiteX7" fmla="*/ 3427493 w 3427492"/>
                <a:gd name="connsiteY7" fmla="*/ 1951641 h 3427492"/>
                <a:gd name="connsiteX8" fmla="*/ 3254829 w 3427492"/>
                <a:gd name="connsiteY8" fmla="*/ 1713746 h 342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7492" h="3427492">
                  <a:moveTo>
                    <a:pt x="2010508" y="0"/>
                  </a:moveTo>
                  <a:lnTo>
                    <a:pt x="0" y="0"/>
                  </a:lnTo>
                  <a:lnTo>
                    <a:pt x="0" y="3427493"/>
                  </a:lnTo>
                  <a:lnTo>
                    <a:pt x="1713746" y="3427493"/>
                  </a:lnTo>
                  <a:lnTo>
                    <a:pt x="1713746" y="2517280"/>
                  </a:lnTo>
                  <a:lnTo>
                    <a:pt x="2377440" y="3427493"/>
                  </a:lnTo>
                  <a:lnTo>
                    <a:pt x="3427493" y="3427493"/>
                  </a:lnTo>
                  <a:lnTo>
                    <a:pt x="3427493" y="1951641"/>
                  </a:lnTo>
                  <a:lnTo>
                    <a:pt x="3254829" y="1713746"/>
                  </a:lnTo>
                  <a:close/>
                </a:path>
              </a:pathLst>
            </a:custGeom>
            <a:solidFill>
              <a:schemeClr val="bg1"/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162F793-1874-4C9D-8535-AC1066509668}"/>
                </a:ext>
              </a:extLst>
            </p:cNvPr>
            <p:cNvSpPr/>
            <p:nvPr userDrawn="1"/>
          </p:nvSpPr>
          <p:spPr>
            <a:xfrm>
              <a:off x="14518514" y="5583542"/>
              <a:ext cx="1462094" cy="2006983"/>
            </a:xfrm>
            <a:custGeom>
              <a:avLst/>
              <a:gdLst>
                <a:gd name="connsiteX0" fmla="*/ 0 w 663693"/>
                <a:gd name="connsiteY0" fmla="*/ 910213 h 910213"/>
                <a:gd name="connsiteX1" fmla="*/ 663694 w 663693"/>
                <a:gd name="connsiteY1" fmla="*/ 910213 h 910213"/>
                <a:gd name="connsiteX2" fmla="*/ 0 w 663693"/>
                <a:gd name="connsiteY2" fmla="*/ 0 h 910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3693" h="910213">
                  <a:moveTo>
                    <a:pt x="0" y="910213"/>
                  </a:moveTo>
                  <a:lnTo>
                    <a:pt x="663694" y="9102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2D3"/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C6DFB0D-42B0-4224-9082-AAA02A38CBD3}"/>
                </a:ext>
              </a:extLst>
            </p:cNvPr>
            <p:cNvSpPr/>
            <p:nvPr userDrawn="1"/>
          </p:nvSpPr>
          <p:spPr>
            <a:xfrm>
              <a:off x="15172269" y="33039"/>
              <a:ext cx="3121565" cy="4303291"/>
            </a:xfrm>
            <a:custGeom>
              <a:avLst/>
              <a:gdLst>
                <a:gd name="connsiteX0" fmla="*/ 0 w 1416984"/>
                <a:gd name="connsiteY0" fmla="*/ 0 h 1951641"/>
                <a:gd name="connsiteX1" fmla="*/ 1244321 w 1416984"/>
                <a:gd name="connsiteY1" fmla="*/ 1713746 h 1951641"/>
                <a:gd name="connsiteX2" fmla="*/ 1416985 w 1416984"/>
                <a:gd name="connsiteY2" fmla="*/ 1951641 h 1951641"/>
                <a:gd name="connsiteX3" fmla="*/ 1416985 w 1416984"/>
                <a:gd name="connsiteY3" fmla="*/ 0 h 195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6984" h="1951641">
                  <a:moveTo>
                    <a:pt x="0" y="0"/>
                  </a:moveTo>
                  <a:lnTo>
                    <a:pt x="1244321" y="1713746"/>
                  </a:lnTo>
                  <a:lnTo>
                    <a:pt x="1416985" y="1951641"/>
                  </a:lnTo>
                  <a:lnTo>
                    <a:pt x="1416985" y="0"/>
                  </a:lnTo>
                  <a:close/>
                </a:path>
              </a:pathLst>
            </a:custGeom>
            <a:solidFill>
              <a:srgbClr val="D0D2D3"/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4E9D890-252F-4D93-986B-B3B0D88979A7}"/>
                </a:ext>
              </a:extLst>
            </p:cNvPr>
            <p:cNvSpPr/>
            <p:nvPr userDrawn="1"/>
          </p:nvSpPr>
          <p:spPr>
            <a:xfrm>
              <a:off x="10743192" y="7590525"/>
              <a:ext cx="3775321" cy="2674550"/>
            </a:xfrm>
            <a:custGeom>
              <a:avLst/>
              <a:gdLst>
                <a:gd name="connsiteX0" fmla="*/ 1713746 w 1713746"/>
                <a:gd name="connsiteY0" fmla="*/ 3427577 h 3427576"/>
                <a:gd name="connsiteX1" fmla="*/ 1713746 w 1713746"/>
                <a:gd name="connsiteY1" fmla="*/ 1713830 h 3427576"/>
                <a:gd name="connsiteX2" fmla="*/ 1713746 w 1713746"/>
                <a:gd name="connsiteY2" fmla="*/ 0 h 3427576"/>
                <a:gd name="connsiteX3" fmla="*/ 0 w 1713746"/>
                <a:gd name="connsiteY3" fmla="*/ 0 h 3427576"/>
                <a:gd name="connsiteX4" fmla="*/ 0 w 1713746"/>
                <a:gd name="connsiteY4" fmla="*/ 3427577 h 3427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3746" h="3427576">
                  <a:moveTo>
                    <a:pt x="1713746" y="3427577"/>
                  </a:moveTo>
                  <a:lnTo>
                    <a:pt x="1713746" y="1713830"/>
                  </a:lnTo>
                  <a:lnTo>
                    <a:pt x="1713746" y="0"/>
                  </a:lnTo>
                  <a:lnTo>
                    <a:pt x="0" y="0"/>
                  </a:lnTo>
                  <a:lnTo>
                    <a:pt x="0" y="342757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C9FBF5E-940D-47BA-89A2-58A0B8E8DB32}"/>
                </a:ext>
              </a:extLst>
            </p:cNvPr>
            <p:cNvSpPr/>
            <p:nvPr userDrawn="1"/>
          </p:nvSpPr>
          <p:spPr>
            <a:xfrm>
              <a:off x="14518514" y="7590526"/>
              <a:ext cx="3434212" cy="2707588"/>
            </a:xfrm>
            <a:custGeom>
              <a:avLst/>
              <a:gdLst>
                <a:gd name="connsiteX0" fmla="*/ 0 w 2289077"/>
                <a:gd name="connsiteY0" fmla="*/ 0 h 1803111"/>
                <a:gd name="connsiteX1" fmla="*/ 974560 w 2289077"/>
                <a:gd name="connsiteY1" fmla="*/ 0 h 1803111"/>
                <a:gd name="connsiteX2" fmla="*/ 2289077 w 2289077"/>
                <a:gd name="connsiteY2" fmla="*/ 1803111 h 1803111"/>
                <a:gd name="connsiteX3" fmla="*/ 0 w 2289077"/>
                <a:gd name="connsiteY3" fmla="*/ 1803111 h 1803111"/>
                <a:gd name="connsiteX4" fmla="*/ 0 w 2289077"/>
                <a:gd name="connsiteY4" fmla="*/ 0 h 180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9077" h="1803111">
                  <a:moveTo>
                    <a:pt x="0" y="0"/>
                  </a:moveTo>
                  <a:lnTo>
                    <a:pt x="974560" y="0"/>
                  </a:lnTo>
                  <a:lnTo>
                    <a:pt x="2289077" y="1803111"/>
                  </a:lnTo>
                  <a:lnTo>
                    <a:pt x="0" y="1803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D1A195A-40AE-470E-B83C-CD7143431359}"/>
                </a:ext>
              </a:extLst>
            </p:cNvPr>
            <p:cNvSpPr/>
            <p:nvPr userDrawn="1"/>
          </p:nvSpPr>
          <p:spPr>
            <a:xfrm>
              <a:off x="15980605" y="7590526"/>
              <a:ext cx="2313229" cy="2707588"/>
            </a:xfrm>
            <a:custGeom>
              <a:avLst/>
              <a:gdLst>
                <a:gd name="connsiteX0" fmla="*/ 0 w 1541885"/>
                <a:gd name="connsiteY0" fmla="*/ 0 h 1803111"/>
                <a:gd name="connsiteX1" fmla="*/ 1541885 w 1541885"/>
                <a:gd name="connsiteY1" fmla="*/ 0 h 1803111"/>
                <a:gd name="connsiteX2" fmla="*/ 1541885 w 1541885"/>
                <a:gd name="connsiteY2" fmla="*/ 1803111 h 1803111"/>
                <a:gd name="connsiteX3" fmla="*/ 1314517 w 1541885"/>
                <a:gd name="connsiteY3" fmla="*/ 1803111 h 1803111"/>
                <a:gd name="connsiteX4" fmla="*/ 0 w 1541885"/>
                <a:gd name="connsiteY4" fmla="*/ 0 h 180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885" h="1803111">
                  <a:moveTo>
                    <a:pt x="0" y="0"/>
                  </a:moveTo>
                  <a:lnTo>
                    <a:pt x="1541885" y="0"/>
                  </a:lnTo>
                  <a:lnTo>
                    <a:pt x="1541885" y="1803111"/>
                  </a:lnTo>
                  <a:lnTo>
                    <a:pt x="1314517" y="1803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/>
            </a:p>
          </p:txBody>
        </p:sp>
      </p:grpSp>
      <p:grpSp>
        <p:nvGrpSpPr>
          <p:cNvPr id="42" name="Group 4">
            <a:extLst>
              <a:ext uri="{FF2B5EF4-FFF2-40B4-BE49-F238E27FC236}">
                <a16:creationId xmlns:a16="http://schemas.microsoft.com/office/drawing/2014/main" id="{731B3CF6-3E84-49EF-A113-C4258841DA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43" name="AutoShape 3">
              <a:extLst>
                <a:ext uri="{FF2B5EF4-FFF2-40B4-BE49-F238E27FC236}">
                  <a16:creationId xmlns:a16="http://schemas.microsoft.com/office/drawing/2014/main" id="{96DBB05C-8808-4D0F-B526-48FB68FAEB3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24D9E065-997A-466B-A12C-B1A106569B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4305E2B0-8ACD-48B6-8C3D-FF2C6A14DF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Rectangle 7">
              <a:extLst>
                <a:ext uri="{FF2B5EF4-FFF2-40B4-BE49-F238E27FC236}">
                  <a16:creationId xmlns:a16="http://schemas.microsoft.com/office/drawing/2014/main" id="{604B3458-4127-4D5C-97A3-219E2A0497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B4288A8A-19B7-48C9-8D6B-B39007CF4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Rectangle 9">
              <a:extLst>
                <a:ext uri="{FF2B5EF4-FFF2-40B4-BE49-F238E27FC236}">
                  <a16:creationId xmlns:a16="http://schemas.microsoft.com/office/drawing/2014/main" id="{4D5D3D68-77A5-4FA8-8A11-0AA12BF5A6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D99DAE53-DAC5-452E-B129-C759E337E9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Rectangle 11">
              <a:extLst>
                <a:ext uri="{FF2B5EF4-FFF2-40B4-BE49-F238E27FC236}">
                  <a16:creationId xmlns:a16="http://schemas.microsoft.com/office/drawing/2014/main" id="{226CF397-0D73-430E-A2C7-CF08333073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37FA94E8-55F9-4AA4-94DE-C2EF2033E9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7C1655CC-1445-4835-8131-313C86B49B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1942793A-71BE-46B4-8487-E1DEBFE651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D943A140-13C0-4E00-A543-F91FA35F51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Rectangle 16">
              <a:extLst>
                <a:ext uri="{FF2B5EF4-FFF2-40B4-BE49-F238E27FC236}">
                  <a16:creationId xmlns:a16="http://schemas.microsoft.com/office/drawing/2014/main" id="{80F4A413-BFEB-4272-9A96-F3C46C97D2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47048AC0-34D8-4B5C-88E4-0BB6C1E035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Rectangle 18">
              <a:extLst>
                <a:ext uri="{FF2B5EF4-FFF2-40B4-BE49-F238E27FC236}">
                  <a16:creationId xmlns:a16="http://schemas.microsoft.com/office/drawing/2014/main" id="{AC3DFB14-F188-4AD7-931E-A252AB5322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471D4C6A-E71F-474C-860F-C091469B4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095A9031-E958-4404-AE5E-E04DF54F2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3388C133-A534-413D-ACD6-4CD7219B558F}"/>
              </a:ext>
            </a:extLst>
          </p:cNvPr>
          <p:cNvSpPr/>
          <p:nvPr/>
        </p:nvSpPr>
        <p:spPr>
          <a:xfrm>
            <a:off x="10014686" y="-1"/>
            <a:ext cx="722671" cy="10298113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60000">
                <a:schemeClr val="accent3"/>
              </a:gs>
            </a:gsLst>
            <a:lin ang="16200000" scaled="1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684498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9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99111" y="1622878"/>
            <a:ext cx="16932039" cy="744073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447963" indent="-447963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1pPr>
            <a:lvl2pPr marL="961135" indent="-481982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06C0BE3-7D2D-4D4D-9756-4577D76660CA}"/>
              </a:ext>
            </a:extLst>
          </p:cNvPr>
          <p:cNvSpPr/>
          <p:nvPr/>
        </p:nvSpPr>
        <p:spPr>
          <a:xfrm rot="10800000">
            <a:off x="17170400" y="1"/>
            <a:ext cx="1120775" cy="1543734"/>
          </a:xfrm>
          <a:custGeom>
            <a:avLst/>
            <a:gdLst>
              <a:gd name="connsiteX0" fmla="*/ 0 w 1069237"/>
              <a:gd name="connsiteY0" fmla="*/ 0 h 1472747"/>
              <a:gd name="connsiteX1" fmla="*/ 1069237 w 1069237"/>
              <a:gd name="connsiteY1" fmla="*/ 1472747 h 1472747"/>
              <a:gd name="connsiteX2" fmla="*/ 0 w 1069237"/>
              <a:gd name="connsiteY2" fmla="*/ 1472747 h 1472747"/>
              <a:gd name="connsiteX3" fmla="*/ 0 w 1069237"/>
              <a:gd name="connsiteY3" fmla="*/ 0 h 1472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9237" h="1472747">
                <a:moveTo>
                  <a:pt x="0" y="0"/>
                </a:moveTo>
                <a:lnTo>
                  <a:pt x="1069237" y="1472747"/>
                </a:lnTo>
                <a:lnTo>
                  <a:pt x="0" y="147274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6200000" scaled="0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2774EEE-9211-49C8-8033-B12604EA8027}"/>
              </a:ext>
            </a:extLst>
          </p:cNvPr>
          <p:cNvSpPr/>
          <p:nvPr/>
        </p:nvSpPr>
        <p:spPr>
          <a:xfrm>
            <a:off x="0" y="0"/>
            <a:ext cx="216000" cy="10298112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40000">
                <a:schemeClr val="accent1"/>
              </a:gs>
              <a:gs pos="0">
                <a:schemeClr val="accent2"/>
              </a:gs>
            </a:gsLst>
            <a:lin ang="16200000" scaled="1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563975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3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6" name="Rectangle 2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585716" y="2334741"/>
            <a:ext cx="5169831" cy="2379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>
              <a:lnSpc>
                <a:spcPts val="5494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0871" y="962463"/>
            <a:ext cx="8738097" cy="8143438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B7BF019-652A-42B2-BBB8-6676B2DC765B}"/>
              </a:ext>
            </a:extLst>
          </p:cNvPr>
          <p:cNvGrpSpPr/>
          <p:nvPr/>
        </p:nvGrpSpPr>
        <p:grpSpPr>
          <a:xfrm>
            <a:off x="10740533" y="0"/>
            <a:ext cx="7550642" cy="10265075"/>
            <a:chOff x="10743192" y="33039"/>
            <a:chExt cx="7550642" cy="1026507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DAA23BC-C621-493A-B736-7CDDA8BE9596}"/>
                </a:ext>
              </a:extLst>
            </p:cNvPr>
            <p:cNvSpPr/>
            <p:nvPr userDrawn="1"/>
          </p:nvSpPr>
          <p:spPr>
            <a:xfrm>
              <a:off x="10743193" y="33039"/>
              <a:ext cx="7550641" cy="7557486"/>
            </a:xfrm>
            <a:custGeom>
              <a:avLst/>
              <a:gdLst>
                <a:gd name="connsiteX0" fmla="*/ 2010508 w 3427492"/>
                <a:gd name="connsiteY0" fmla="*/ 0 h 3427492"/>
                <a:gd name="connsiteX1" fmla="*/ 0 w 3427492"/>
                <a:gd name="connsiteY1" fmla="*/ 0 h 3427492"/>
                <a:gd name="connsiteX2" fmla="*/ 0 w 3427492"/>
                <a:gd name="connsiteY2" fmla="*/ 3427493 h 3427492"/>
                <a:gd name="connsiteX3" fmla="*/ 1713746 w 3427492"/>
                <a:gd name="connsiteY3" fmla="*/ 3427493 h 3427492"/>
                <a:gd name="connsiteX4" fmla="*/ 1713746 w 3427492"/>
                <a:gd name="connsiteY4" fmla="*/ 2517280 h 3427492"/>
                <a:gd name="connsiteX5" fmla="*/ 2377440 w 3427492"/>
                <a:gd name="connsiteY5" fmla="*/ 3427493 h 3427492"/>
                <a:gd name="connsiteX6" fmla="*/ 3427493 w 3427492"/>
                <a:gd name="connsiteY6" fmla="*/ 3427493 h 3427492"/>
                <a:gd name="connsiteX7" fmla="*/ 3427493 w 3427492"/>
                <a:gd name="connsiteY7" fmla="*/ 1951641 h 3427492"/>
                <a:gd name="connsiteX8" fmla="*/ 3254829 w 3427492"/>
                <a:gd name="connsiteY8" fmla="*/ 1713746 h 342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7492" h="3427492">
                  <a:moveTo>
                    <a:pt x="2010508" y="0"/>
                  </a:moveTo>
                  <a:lnTo>
                    <a:pt x="0" y="0"/>
                  </a:lnTo>
                  <a:lnTo>
                    <a:pt x="0" y="3427493"/>
                  </a:lnTo>
                  <a:lnTo>
                    <a:pt x="1713746" y="3427493"/>
                  </a:lnTo>
                  <a:lnTo>
                    <a:pt x="1713746" y="2517280"/>
                  </a:lnTo>
                  <a:lnTo>
                    <a:pt x="2377440" y="3427493"/>
                  </a:lnTo>
                  <a:lnTo>
                    <a:pt x="3427493" y="3427493"/>
                  </a:lnTo>
                  <a:lnTo>
                    <a:pt x="3427493" y="1951641"/>
                  </a:lnTo>
                  <a:lnTo>
                    <a:pt x="3254829" y="1713746"/>
                  </a:lnTo>
                  <a:close/>
                </a:path>
              </a:pathLst>
            </a:custGeom>
            <a:solidFill>
              <a:schemeClr val="bg1"/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162F793-1874-4C9D-8535-AC1066509668}"/>
                </a:ext>
              </a:extLst>
            </p:cNvPr>
            <p:cNvSpPr/>
            <p:nvPr userDrawn="1"/>
          </p:nvSpPr>
          <p:spPr>
            <a:xfrm>
              <a:off x="14518514" y="5583542"/>
              <a:ext cx="1462094" cy="2006983"/>
            </a:xfrm>
            <a:custGeom>
              <a:avLst/>
              <a:gdLst>
                <a:gd name="connsiteX0" fmla="*/ 0 w 663693"/>
                <a:gd name="connsiteY0" fmla="*/ 910213 h 910213"/>
                <a:gd name="connsiteX1" fmla="*/ 663694 w 663693"/>
                <a:gd name="connsiteY1" fmla="*/ 910213 h 910213"/>
                <a:gd name="connsiteX2" fmla="*/ 0 w 663693"/>
                <a:gd name="connsiteY2" fmla="*/ 0 h 910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3693" h="910213">
                  <a:moveTo>
                    <a:pt x="0" y="910213"/>
                  </a:moveTo>
                  <a:lnTo>
                    <a:pt x="663694" y="9102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2D3"/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C6DFB0D-42B0-4224-9082-AAA02A38CBD3}"/>
                </a:ext>
              </a:extLst>
            </p:cNvPr>
            <p:cNvSpPr/>
            <p:nvPr userDrawn="1"/>
          </p:nvSpPr>
          <p:spPr>
            <a:xfrm>
              <a:off x="15172269" y="33039"/>
              <a:ext cx="3121565" cy="4303291"/>
            </a:xfrm>
            <a:custGeom>
              <a:avLst/>
              <a:gdLst>
                <a:gd name="connsiteX0" fmla="*/ 0 w 1416984"/>
                <a:gd name="connsiteY0" fmla="*/ 0 h 1951641"/>
                <a:gd name="connsiteX1" fmla="*/ 1244321 w 1416984"/>
                <a:gd name="connsiteY1" fmla="*/ 1713746 h 1951641"/>
                <a:gd name="connsiteX2" fmla="*/ 1416985 w 1416984"/>
                <a:gd name="connsiteY2" fmla="*/ 1951641 h 1951641"/>
                <a:gd name="connsiteX3" fmla="*/ 1416985 w 1416984"/>
                <a:gd name="connsiteY3" fmla="*/ 0 h 195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6984" h="1951641">
                  <a:moveTo>
                    <a:pt x="0" y="0"/>
                  </a:moveTo>
                  <a:lnTo>
                    <a:pt x="1244321" y="1713746"/>
                  </a:lnTo>
                  <a:lnTo>
                    <a:pt x="1416985" y="1951641"/>
                  </a:lnTo>
                  <a:lnTo>
                    <a:pt x="1416985" y="0"/>
                  </a:lnTo>
                  <a:close/>
                </a:path>
              </a:pathLst>
            </a:custGeom>
            <a:solidFill>
              <a:srgbClr val="D0D2D3"/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4E9D890-252F-4D93-986B-B3B0D88979A7}"/>
                </a:ext>
              </a:extLst>
            </p:cNvPr>
            <p:cNvSpPr/>
            <p:nvPr userDrawn="1"/>
          </p:nvSpPr>
          <p:spPr>
            <a:xfrm>
              <a:off x="10743192" y="7590525"/>
              <a:ext cx="3775321" cy="2674550"/>
            </a:xfrm>
            <a:custGeom>
              <a:avLst/>
              <a:gdLst>
                <a:gd name="connsiteX0" fmla="*/ 1713746 w 1713746"/>
                <a:gd name="connsiteY0" fmla="*/ 3427577 h 3427576"/>
                <a:gd name="connsiteX1" fmla="*/ 1713746 w 1713746"/>
                <a:gd name="connsiteY1" fmla="*/ 1713830 h 3427576"/>
                <a:gd name="connsiteX2" fmla="*/ 1713746 w 1713746"/>
                <a:gd name="connsiteY2" fmla="*/ 0 h 3427576"/>
                <a:gd name="connsiteX3" fmla="*/ 0 w 1713746"/>
                <a:gd name="connsiteY3" fmla="*/ 0 h 3427576"/>
                <a:gd name="connsiteX4" fmla="*/ 0 w 1713746"/>
                <a:gd name="connsiteY4" fmla="*/ 3427577 h 3427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3746" h="3427576">
                  <a:moveTo>
                    <a:pt x="1713746" y="3427577"/>
                  </a:moveTo>
                  <a:lnTo>
                    <a:pt x="1713746" y="1713830"/>
                  </a:lnTo>
                  <a:lnTo>
                    <a:pt x="1713746" y="0"/>
                  </a:lnTo>
                  <a:lnTo>
                    <a:pt x="0" y="0"/>
                  </a:lnTo>
                  <a:lnTo>
                    <a:pt x="0" y="342757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C9FBF5E-940D-47BA-89A2-58A0B8E8DB32}"/>
                </a:ext>
              </a:extLst>
            </p:cNvPr>
            <p:cNvSpPr/>
            <p:nvPr userDrawn="1"/>
          </p:nvSpPr>
          <p:spPr>
            <a:xfrm>
              <a:off x="14518514" y="7590526"/>
              <a:ext cx="3434212" cy="2707588"/>
            </a:xfrm>
            <a:custGeom>
              <a:avLst/>
              <a:gdLst>
                <a:gd name="connsiteX0" fmla="*/ 0 w 2289077"/>
                <a:gd name="connsiteY0" fmla="*/ 0 h 1803111"/>
                <a:gd name="connsiteX1" fmla="*/ 974560 w 2289077"/>
                <a:gd name="connsiteY1" fmla="*/ 0 h 1803111"/>
                <a:gd name="connsiteX2" fmla="*/ 2289077 w 2289077"/>
                <a:gd name="connsiteY2" fmla="*/ 1803111 h 1803111"/>
                <a:gd name="connsiteX3" fmla="*/ 0 w 2289077"/>
                <a:gd name="connsiteY3" fmla="*/ 1803111 h 1803111"/>
                <a:gd name="connsiteX4" fmla="*/ 0 w 2289077"/>
                <a:gd name="connsiteY4" fmla="*/ 0 h 180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9077" h="1803111">
                  <a:moveTo>
                    <a:pt x="0" y="0"/>
                  </a:moveTo>
                  <a:lnTo>
                    <a:pt x="974560" y="0"/>
                  </a:lnTo>
                  <a:lnTo>
                    <a:pt x="2289077" y="1803111"/>
                  </a:lnTo>
                  <a:lnTo>
                    <a:pt x="0" y="1803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D1A195A-40AE-470E-B83C-CD7143431359}"/>
                </a:ext>
              </a:extLst>
            </p:cNvPr>
            <p:cNvSpPr/>
            <p:nvPr userDrawn="1"/>
          </p:nvSpPr>
          <p:spPr>
            <a:xfrm>
              <a:off x="15980605" y="7590526"/>
              <a:ext cx="2313229" cy="2707588"/>
            </a:xfrm>
            <a:custGeom>
              <a:avLst/>
              <a:gdLst>
                <a:gd name="connsiteX0" fmla="*/ 0 w 1541885"/>
                <a:gd name="connsiteY0" fmla="*/ 0 h 1803111"/>
                <a:gd name="connsiteX1" fmla="*/ 1541885 w 1541885"/>
                <a:gd name="connsiteY1" fmla="*/ 0 h 1803111"/>
                <a:gd name="connsiteX2" fmla="*/ 1541885 w 1541885"/>
                <a:gd name="connsiteY2" fmla="*/ 1803111 h 1803111"/>
                <a:gd name="connsiteX3" fmla="*/ 1314517 w 1541885"/>
                <a:gd name="connsiteY3" fmla="*/ 1803111 h 1803111"/>
                <a:gd name="connsiteX4" fmla="*/ 0 w 1541885"/>
                <a:gd name="connsiteY4" fmla="*/ 0 h 180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885" h="1803111">
                  <a:moveTo>
                    <a:pt x="0" y="0"/>
                  </a:moveTo>
                  <a:lnTo>
                    <a:pt x="1541885" y="0"/>
                  </a:lnTo>
                  <a:lnTo>
                    <a:pt x="1541885" y="1803111"/>
                  </a:lnTo>
                  <a:lnTo>
                    <a:pt x="1314517" y="1803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/>
            </a:p>
          </p:txBody>
        </p:sp>
      </p:grpSp>
      <p:grpSp>
        <p:nvGrpSpPr>
          <p:cNvPr id="42" name="Group 4">
            <a:extLst>
              <a:ext uri="{FF2B5EF4-FFF2-40B4-BE49-F238E27FC236}">
                <a16:creationId xmlns:a16="http://schemas.microsoft.com/office/drawing/2014/main" id="{731B3CF6-3E84-49EF-A113-C4258841DA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43" name="AutoShape 3">
              <a:extLst>
                <a:ext uri="{FF2B5EF4-FFF2-40B4-BE49-F238E27FC236}">
                  <a16:creationId xmlns:a16="http://schemas.microsoft.com/office/drawing/2014/main" id="{96DBB05C-8808-4D0F-B526-48FB68FAEB3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24D9E065-997A-466B-A12C-B1A106569B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4305E2B0-8ACD-48B6-8C3D-FF2C6A14DF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Rectangle 7">
              <a:extLst>
                <a:ext uri="{FF2B5EF4-FFF2-40B4-BE49-F238E27FC236}">
                  <a16:creationId xmlns:a16="http://schemas.microsoft.com/office/drawing/2014/main" id="{604B3458-4127-4D5C-97A3-219E2A0497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B4288A8A-19B7-48C9-8D6B-B39007CF4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Rectangle 9">
              <a:extLst>
                <a:ext uri="{FF2B5EF4-FFF2-40B4-BE49-F238E27FC236}">
                  <a16:creationId xmlns:a16="http://schemas.microsoft.com/office/drawing/2014/main" id="{4D5D3D68-77A5-4FA8-8A11-0AA12BF5A6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D99DAE53-DAC5-452E-B129-C759E337E9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Rectangle 11">
              <a:extLst>
                <a:ext uri="{FF2B5EF4-FFF2-40B4-BE49-F238E27FC236}">
                  <a16:creationId xmlns:a16="http://schemas.microsoft.com/office/drawing/2014/main" id="{226CF397-0D73-430E-A2C7-CF08333073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37FA94E8-55F9-4AA4-94DE-C2EF2033E9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7C1655CC-1445-4835-8131-313C86B49B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1942793A-71BE-46B4-8487-E1DEBFE651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D943A140-13C0-4E00-A543-F91FA35F51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Rectangle 16">
              <a:extLst>
                <a:ext uri="{FF2B5EF4-FFF2-40B4-BE49-F238E27FC236}">
                  <a16:creationId xmlns:a16="http://schemas.microsoft.com/office/drawing/2014/main" id="{80F4A413-BFEB-4272-9A96-F3C46C97D2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47048AC0-34D8-4B5C-88E4-0BB6C1E035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Rectangle 18">
              <a:extLst>
                <a:ext uri="{FF2B5EF4-FFF2-40B4-BE49-F238E27FC236}">
                  <a16:creationId xmlns:a16="http://schemas.microsoft.com/office/drawing/2014/main" id="{AC3DFB14-F188-4AD7-931E-A252AB5322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471D4C6A-E71F-474C-860F-C091469B4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095A9031-E958-4404-AE5E-E04DF54F2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3388C133-A534-413D-ACD6-4CD7219B558F}"/>
              </a:ext>
            </a:extLst>
          </p:cNvPr>
          <p:cNvSpPr/>
          <p:nvPr/>
        </p:nvSpPr>
        <p:spPr>
          <a:xfrm>
            <a:off x="10014686" y="-1"/>
            <a:ext cx="722671" cy="10298113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50000">
                <a:schemeClr val="accent1"/>
              </a:gs>
              <a:gs pos="0">
                <a:schemeClr val="accent2"/>
              </a:gs>
            </a:gsLst>
            <a:lin ang="16200000" scaled="1"/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831773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9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217604" y="6161318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99111" y="1622878"/>
            <a:ext cx="16932039" cy="744073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447963" indent="-447963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1pPr>
            <a:lvl2pPr marL="961135" indent="-481982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016C38-5606-42A6-9545-D1BEF1CC8C42}"/>
              </a:ext>
            </a:extLst>
          </p:cNvPr>
          <p:cNvSpPr/>
          <p:nvPr userDrawn="1"/>
        </p:nvSpPr>
        <p:spPr>
          <a:xfrm>
            <a:off x="0" y="0"/>
            <a:ext cx="18291175" cy="10298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 descr="Tag=AccentColor&#10;Flavor=Light&#10;Target=Fill">
            <a:extLst>
              <a:ext uri="{FF2B5EF4-FFF2-40B4-BE49-F238E27FC236}">
                <a16:creationId xmlns:a16="http://schemas.microsoft.com/office/drawing/2014/main" id="{74B856A1-66DA-4A77-96DC-5C1B636B6AC4}"/>
              </a:ext>
            </a:extLst>
          </p:cNvPr>
          <p:cNvSpPr/>
          <p:nvPr userDrawn="1"/>
        </p:nvSpPr>
        <p:spPr>
          <a:xfrm flipH="1">
            <a:off x="-1" y="-1"/>
            <a:ext cx="3320716" cy="2478505"/>
          </a:xfrm>
          <a:custGeom>
            <a:avLst/>
            <a:gdLst>
              <a:gd name="connsiteX0" fmla="*/ 3021543 w 3021543"/>
              <a:gd name="connsiteY0" fmla="*/ 0 h 1435442"/>
              <a:gd name="connsiteX1" fmla="*/ 2963800 w 3021543"/>
              <a:gd name="connsiteY1" fmla="*/ 7242 h 1435442"/>
              <a:gd name="connsiteX2" fmla="*/ 2793803 w 3021543"/>
              <a:gd name="connsiteY2" fmla="*/ 24082 h 1435442"/>
              <a:gd name="connsiteX3" fmla="*/ 2414348 w 3021543"/>
              <a:gd name="connsiteY3" fmla="*/ 29696 h 1435442"/>
              <a:gd name="connsiteX4" fmla="*/ 2091558 w 3021543"/>
              <a:gd name="connsiteY4" fmla="*/ 27450 h 1435442"/>
              <a:gd name="connsiteX5" fmla="*/ 1645319 w 3021543"/>
              <a:gd name="connsiteY5" fmla="*/ 28573 h 1435442"/>
              <a:gd name="connsiteX6" fmla="*/ 1243602 w 3021543"/>
              <a:gd name="connsiteY6" fmla="*/ 60008 h 1435442"/>
              <a:gd name="connsiteX7" fmla="*/ 753851 w 3021543"/>
              <a:gd name="connsiteY7" fmla="*/ 57763 h 1435442"/>
              <a:gd name="connsiteX8" fmla="*/ 465465 w 3021543"/>
              <a:gd name="connsiteY8" fmla="*/ 116142 h 1435442"/>
              <a:gd name="connsiteX9" fmla="*/ 546416 w 3021543"/>
              <a:gd name="connsiteY9" fmla="*/ 136351 h 1435442"/>
              <a:gd name="connsiteX10" fmla="*/ 689091 w 3021543"/>
              <a:gd name="connsiteY10" fmla="*/ 180136 h 1435442"/>
              <a:gd name="connsiteX11" fmla="*/ 704269 w 3021543"/>
              <a:gd name="connsiteY11" fmla="*/ 208203 h 1435442"/>
              <a:gd name="connsiteX12" fmla="*/ 683020 w 3021543"/>
              <a:gd name="connsiteY12" fmla="*/ 221675 h 1435442"/>
              <a:gd name="connsiteX13" fmla="*/ 621295 w 3021543"/>
              <a:gd name="connsiteY13" fmla="*/ 247496 h 1435442"/>
              <a:gd name="connsiteX14" fmla="*/ 848968 w 3021543"/>
              <a:gd name="connsiteY14" fmla="*/ 285668 h 1435442"/>
              <a:gd name="connsiteX15" fmla="*/ 768018 w 3021543"/>
              <a:gd name="connsiteY15" fmla="*/ 309244 h 1435442"/>
              <a:gd name="connsiteX16" fmla="*/ 684032 w 3021543"/>
              <a:gd name="connsiteY16" fmla="*/ 326085 h 1435442"/>
              <a:gd name="connsiteX17" fmla="*/ 592962 w 3021543"/>
              <a:gd name="connsiteY17" fmla="*/ 338434 h 1435442"/>
              <a:gd name="connsiteX18" fmla="*/ 509988 w 3021543"/>
              <a:gd name="connsiteY18" fmla="*/ 363133 h 1435442"/>
              <a:gd name="connsiteX19" fmla="*/ 726531 w 3021543"/>
              <a:gd name="connsiteY19" fmla="*/ 373237 h 1435442"/>
              <a:gd name="connsiteX20" fmla="*/ 614212 w 3021543"/>
              <a:gd name="connsiteY20" fmla="*/ 395691 h 1435442"/>
              <a:gd name="connsiteX21" fmla="*/ 522131 w 3021543"/>
              <a:gd name="connsiteY21" fmla="*/ 424881 h 1435442"/>
              <a:gd name="connsiteX22" fmla="*/ 457370 w 3021543"/>
              <a:gd name="connsiteY22" fmla="*/ 438353 h 1435442"/>
              <a:gd name="connsiteX23" fmla="*/ 388562 w 3021543"/>
              <a:gd name="connsiteY23" fmla="*/ 441721 h 1435442"/>
              <a:gd name="connsiteX24" fmla="*/ 372372 w 3021543"/>
              <a:gd name="connsiteY24" fmla="*/ 463052 h 1435442"/>
              <a:gd name="connsiteX25" fmla="*/ 393622 w 3021543"/>
              <a:gd name="connsiteY25" fmla="*/ 485506 h 1435442"/>
              <a:gd name="connsiteX26" fmla="*/ 426002 w 3021543"/>
              <a:gd name="connsiteY26" fmla="*/ 487751 h 1435442"/>
              <a:gd name="connsiteX27" fmla="*/ 619271 w 3021543"/>
              <a:gd name="connsiteY27" fmla="*/ 493365 h 1435442"/>
              <a:gd name="connsiteX28" fmla="*/ 0 w 3021543"/>
              <a:gd name="connsiteY28" fmla="*/ 542762 h 1435442"/>
              <a:gd name="connsiteX29" fmla="*/ 83986 w 3021543"/>
              <a:gd name="connsiteY29" fmla="*/ 573075 h 1435442"/>
              <a:gd name="connsiteX30" fmla="*/ 112319 w 3021543"/>
              <a:gd name="connsiteY30" fmla="*/ 656154 h 1435442"/>
              <a:gd name="connsiteX31" fmla="*/ 215531 w 3021543"/>
              <a:gd name="connsiteY31" fmla="*/ 703306 h 1435442"/>
              <a:gd name="connsiteX32" fmla="*/ 282315 w 3021543"/>
              <a:gd name="connsiteY32" fmla="*/ 720147 h 1435442"/>
              <a:gd name="connsiteX33" fmla="*/ 435109 w 3021543"/>
              <a:gd name="connsiteY33" fmla="*/ 744846 h 1435442"/>
              <a:gd name="connsiteX34" fmla="*/ 457370 w 3021543"/>
              <a:gd name="connsiteY34" fmla="*/ 785263 h 1435442"/>
              <a:gd name="connsiteX35" fmla="*/ 476596 w 3021543"/>
              <a:gd name="connsiteY35" fmla="*/ 830170 h 1435442"/>
              <a:gd name="connsiteX36" fmla="*/ 517071 w 3021543"/>
              <a:gd name="connsiteY36" fmla="*/ 859360 h 1435442"/>
              <a:gd name="connsiteX37" fmla="*/ 202377 w 3021543"/>
              <a:gd name="connsiteY37" fmla="*/ 854869 h 1435442"/>
              <a:gd name="connsiteX38" fmla="*/ 557546 w 3021543"/>
              <a:gd name="connsiteY38" fmla="*/ 949175 h 1435442"/>
              <a:gd name="connsiteX39" fmla="*/ 526178 w 3021543"/>
              <a:gd name="connsiteY39" fmla="*/ 986223 h 1435442"/>
              <a:gd name="connsiteX40" fmla="*/ 720459 w 3021543"/>
              <a:gd name="connsiteY40" fmla="*/ 1036744 h 1435442"/>
              <a:gd name="connsiteX41" fmla="*/ 616236 w 3021543"/>
              <a:gd name="connsiteY41" fmla="*/ 1042357 h 1435442"/>
              <a:gd name="connsiteX42" fmla="*/ 1222353 w 3021543"/>
              <a:gd name="connsiteY42" fmla="*/ 1253422 h 1435442"/>
              <a:gd name="connsiteX43" fmla="*/ 2087511 w 3021543"/>
              <a:gd name="connsiteY43" fmla="*/ 1406107 h 1435442"/>
              <a:gd name="connsiteX44" fmla="*/ 2425479 w 3021543"/>
              <a:gd name="connsiteY44" fmla="*/ 1435297 h 1435442"/>
              <a:gd name="connsiteX45" fmla="*/ 2809994 w 3021543"/>
              <a:gd name="connsiteY45" fmla="*/ 1426315 h 1435442"/>
              <a:gd name="connsiteX46" fmla="*/ 2953618 w 3021543"/>
              <a:gd name="connsiteY46" fmla="*/ 1417071 h 1435442"/>
              <a:gd name="connsiteX47" fmla="*/ 3021543 w 3021543"/>
              <a:gd name="connsiteY47" fmla="*/ 1407897 h 1435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3021543" h="1435442">
                <a:moveTo>
                  <a:pt x="3021543" y="0"/>
                </a:moveTo>
                <a:lnTo>
                  <a:pt x="2963800" y="7242"/>
                </a:lnTo>
                <a:cubicBezTo>
                  <a:pt x="2907134" y="13978"/>
                  <a:pt x="2850469" y="22960"/>
                  <a:pt x="2793803" y="24082"/>
                </a:cubicBezTo>
                <a:cubicBezTo>
                  <a:pt x="2667318" y="27450"/>
                  <a:pt x="2539821" y="19592"/>
                  <a:pt x="2414348" y="29696"/>
                </a:cubicBezTo>
                <a:cubicBezTo>
                  <a:pt x="2307089" y="38677"/>
                  <a:pt x="2198818" y="28573"/>
                  <a:pt x="2091558" y="27450"/>
                </a:cubicBezTo>
                <a:cubicBezTo>
                  <a:pt x="1942812" y="26328"/>
                  <a:pt x="1793053" y="18469"/>
                  <a:pt x="1645319" y="28573"/>
                </a:cubicBezTo>
                <a:cubicBezTo>
                  <a:pt x="1510738" y="36432"/>
                  <a:pt x="1376158" y="38677"/>
                  <a:pt x="1243602" y="60008"/>
                </a:cubicBezTo>
                <a:cubicBezTo>
                  <a:pt x="1079677" y="71235"/>
                  <a:pt x="916765" y="64499"/>
                  <a:pt x="753851" y="57763"/>
                </a:cubicBezTo>
                <a:cubicBezTo>
                  <a:pt x="653675" y="53272"/>
                  <a:pt x="554511" y="38677"/>
                  <a:pt x="465465" y="116142"/>
                </a:cubicBezTo>
                <a:cubicBezTo>
                  <a:pt x="489751" y="134105"/>
                  <a:pt x="519095" y="130737"/>
                  <a:pt x="546416" y="136351"/>
                </a:cubicBezTo>
                <a:cubicBezTo>
                  <a:pt x="594986" y="147578"/>
                  <a:pt x="643557" y="158804"/>
                  <a:pt x="689091" y="180136"/>
                </a:cubicBezTo>
                <a:cubicBezTo>
                  <a:pt x="699210" y="184626"/>
                  <a:pt x="708317" y="193608"/>
                  <a:pt x="704269" y="208203"/>
                </a:cubicBezTo>
                <a:cubicBezTo>
                  <a:pt x="701234" y="219430"/>
                  <a:pt x="691115" y="219430"/>
                  <a:pt x="683020" y="221675"/>
                </a:cubicBezTo>
                <a:cubicBezTo>
                  <a:pt x="664806" y="228411"/>
                  <a:pt x="642545" y="223920"/>
                  <a:pt x="621295" y="247496"/>
                </a:cubicBezTo>
                <a:cubicBezTo>
                  <a:pt x="702245" y="259846"/>
                  <a:pt x="780160" y="236270"/>
                  <a:pt x="848968" y="285668"/>
                </a:cubicBezTo>
                <a:cubicBezTo>
                  <a:pt x="823671" y="310367"/>
                  <a:pt x="795339" y="304753"/>
                  <a:pt x="768018" y="309244"/>
                </a:cubicBezTo>
                <a:cubicBezTo>
                  <a:pt x="739685" y="313735"/>
                  <a:pt x="712365" y="321594"/>
                  <a:pt x="684032" y="326085"/>
                </a:cubicBezTo>
                <a:cubicBezTo>
                  <a:pt x="653675" y="331698"/>
                  <a:pt x="623319" y="332821"/>
                  <a:pt x="592962" y="338434"/>
                </a:cubicBezTo>
                <a:cubicBezTo>
                  <a:pt x="567666" y="342925"/>
                  <a:pt x="540345" y="335066"/>
                  <a:pt x="509988" y="363133"/>
                </a:cubicBezTo>
                <a:cubicBezTo>
                  <a:pt x="584867" y="383342"/>
                  <a:pt x="652663" y="353029"/>
                  <a:pt x="726531" y="373237"/>
                </a:cubicBezTo>
                <a:cubicBezTo>
                  <a:pt x="683020" y="391200"/>
                  <a:pt x="647604" y="385587"/>
                  <a:pt x="614212" y="395691"/>
                </a:cubicBezTo>
                <a:cubicBezTo>
                  <a:pt x="583855" y="405795"/>
                  <a:pt x="547428" y="394568"/>
                  <a:pt x="522131" y="424881"/>
                </a:cubicBezTo>
                <a:cubicBezTo>
                  <a:pt x="502905" y="448457"/>
                  <a:pt x="482668" y="451825"/>
                  <a:pt x="457370" y="438353"/>
                </a:cubicBezTo>
                <a:cubicBezTo>
                  <a:pt x="435109" y="426003"/>
                  <a:pt x="410824" y="429371"/>
                  <a:pt x="388562" y="441721"/>
                </a:cubicBezTo>
                <a:cubicBezTo>
                  <a:pt x="380468" y="446212"/>
                  <a:pt x="372372" y="451825"/>
                  <a:pt x="372372" y="463052"/>
                </a:cubicBezTo>
                <a:cubicBezTo>
                  <a:pt x="372372" y="478770"/>
                  <a:pt x="382491" y="483260"/>
                  <a:pt x="393622" y="485506"/>
                </a:cubicBezTo>
                <a:cubicBezTo>
                  <a:pt x="403741" y="487751"/>
                  <a:pt x="415883" y="489997"/>
                  <a:pt x="426002" y="487751"/>
                </a:cubicBezTo>
                <a:cubicBezTo>
                  <a:pt x="490762" y="475402"/>
                  <a:pt x="554511" y="495610"/>
                  <a:pt x="619271" y="493365"/>
                </a:cubicBezTo>
                <a:cubicBezTo>
                  <a:pt x="415883" y="541640"/>
                  <a:pt x="210471" y="525922"/>
                  <a:pt x="0" y="542762"/>
                </a:cubicBezTo>
                <a:cubicBezTo>
                  <a:pt x="27321" y="576443"/>
                  <a:pt x="62737" y="548376"/>
                  <a:pt x="83986" y="573075"/>
                </a:cubicBezTo>
                <a:cubicBezTo>
                  <a:pt x="63748" y="624719"/>
                  <a:pt x="71844" y="652785"/>
                  <a:pt x="112319" y="656154"/>
                </a:cubicBezTo>
                <a:cubicBezTo>
                  <a:pt x="151782" y="659522"/>
                  <a:pt x="194281" y="641559"/>
                  <a:pt x="215531" y="703306"/>
                </a:cubicBezTo>
                <a:cubicBezTo>
                  <a:pt x="221602" y="722392"/>
                  <a:pt x="259042" y="716779"/>
                  <a:pt x="282315" y="720147"/>
                </a:cubicBezTo>
                <a:cubicBezTo>
                  <a:pt x="332909" y="728005"/>
                  <a:pt x="386539" y="720147"/>
                  <a:pt x="435109" y="744846"/>
                </a:cubicBezTo>
                <a:cubicBezTo>
                  <a:pt x="454335" y="753827"/>
                  <a:pt x="467489" y="760563"/>
                  <a:pt x="457370" y="785263"/>
                </a:cubicBezTo>
                <a:cubicBezTo>
                  <a:pt x="447252" y="811084"/>
                  <a:pt x="460406" y="820066"/>
                  <a:pt x="476596" y="830170"/>
                </a:cubicBezTo>
                <a:cubicBezTo>
                  <a:pt x="488739" y="838028"/>
                  <a:pt x="506953" y="835783"/>
                  <a:pt x="517071" y="859360"/>
                </a:cubicBezTo>
                <a:cubicBezTo>
                  <a:pt x="410824" y="855992"/>
                  <a:pt x="307612" y="836906"/>
                  <a:pt x="202377" y="854869"/>
                </a:cubicBezTo>
                <a:cubicBezTo>
                  <a:pt x="317731" y="899776"/>
                  <a:pt x="444216" y="897531"/>
                  <a:pt x="557546" y="949175"/>
                </a:cubicBezTo>
                <a:cubicBezTo>
                  <a:pt x="553499" y="967137"/>
                  <a:pt x="527190" y="959278"/>
                  <a:pt x="526178" y="986223"/>
                </a:cubicBezTo>
                <a:cubicBezTo>
                  <a:pt x="585879" y="1014290"/>
                  <a:pt x="657723" y="995204"/>
                  <a:pt x="720459" y="1036744"/>
                </a:cubicBezTo>
                <a:cubicBezTo>
                  <a:pt x="684032" y="1055829"/>
                  <a:pt x="650640" y="1024394"/>
                  <a:pt x="616236" y="1042357"/>
                </a:cubicBezTo>
                <a:cubicBezTo>
                  <a:pt x="627367" y="1069302"/>
                  <a:pt x="1131283" y="1235459"/>
                  <a:pt x="1222353" y="1253422"/>
                </a:cubicBezTo>
                <a:cubicBezTo>
                  <a:pt x="1407527" y="1290470"/>
                  <a:pt x="1940788" y="1384776"/>
                  <a:pt x="2087511" y="1406107"/>
                </a:cubicBezTo>
                <a:cubicBezTo>
                  <a:pt x="2200841" y="1421824"/>
                  <a:pt x="2313160" y="1434174"/>
                  <a:pt x="2425479" y="1435297"/>
                </a:cubicBezTo>
                <a:cubicBezTo>
                  <a:pt x="2553988" y="1436419"/>
                  <a:pt x="2681485" y="1430806"/>
                  <a:pt x="2809994" y="1426315"/>
                </a:cubicBezTo>
                <a:cubicBezTo>
                  <a:pt x="2858058" y="1424631"/>
                  <a:pt x="2905933" y="1421684"/>
                  <a:pt x="2953618" y="1417071"/>
                </a:cubicBezTo>
                <a:lnTo>
                  <a:pt x="3021543" y="1407897"/>
                </a:lnTo>
                <a:close/>
              </a:path>
            </a:pathLst>
          </a:custGeom>
          <a:solidFill>
            <a:schemeClr val="accent1">
              <a:alpha val="2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722298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1">
            <a:extLst>
              <a:ext uri="{FF2B5EF4-FFF2-40B4-BE49-F238E27FC236}">
                <a16:creationId xmlns:a16="http://schemas.microsoft.com/office/drawing/2014/main" id="{F3840433-1F5D-4581-A86A-3070644CB0AA}"/>
              </a:ext>
            </a:extLst>
          </p:cNvPr>
          <p:cNvSpPr/>
          <p:nvPr/>
        </p:nvSpPr>
        <p:spPr>
          <a:xfrm>
            <a:off x="8000636" y="1"/>
            <a:ext cx="10290540" cy="10299868"/>
          </a:xfrm>
          <a:custGeom>
            <a:avLst/>
            <a:gdLst>
              <a:gd name="connsiteX0" fmla="*/ 4023499 w 6859169"/>
              <a:gd name="connsiteY0" fmla="*/ 0 h 6859169"/>
              <a:gd name="connsiteX1" fmla="*/ 0 w 6859169"/>
              <a:gd name="connsiteY1" fmla="*/ 0 h 6859169"/>
              <a:gd name="connsiteX2" fmla="*/ 0 w 6859169"/>
              <a:gd name="connsiteY2" fmla="*/ 6859170 h 6859169"/>
              <a:gd name="connsiteX3" fmla="*/ 3429585 w 6859169"/>
              <a:gd name="connsiteY3" fmla="*/ 6859170 h 6859169"/>
              <a:gd name="connsiteX4" fmla="*/ 3429585 w 6859169"/>
              <a:gd name="connsiteY4" fmla="*/ 5037498 h 6859169"/>
              <a:gd name="connsiteX5" fmla="*/ 4757665 w 6859169"/>
              <a:gd name="connsiteY5" fmla="*/ 6859170 h 6859169"/>
              <a:gd name="connsiteX6" fmla="*/ 6859170 w 6859169"/>
              <a:gd name="connsiteY6" fmla="*/ 6859170 h 6859169"/>
              <a:gd name="connsiteX7" fmla="*/ 6859170 w 6859169"/>
              <a:gd name="connsiteY7" fmla="*/ 3905635 h 6859169"/>
              <a:gd name="connsiteX8" fmla="*/ 6513513 w 6859169"/>
              <a:gd name="connsiteY8" fmla="*/ 3429585 h 6859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59169" h="6859169">
                <a:moveTo>
                  <a:pt x="4023499" y="0"/>
                </a:moveTo>
                <a:lnTo>
                  <a:pt x="0" y="0"/>
                </a:lnTo>
                <a:lnTo>
                  <a:pt x="0" y="6859170"/>
                </a:lnTo>
                <a:lnTo>
                  <a:pt x="3429585" y="6859170"/>
                </a:lnTo>
                <a:lnTo>
                  <a:pt x="3429585" y="5037498"/>
                </a:lnTo>
                <a:lnTo>
                  <a:pt x="4757665" y="6859170"/>
                </a:lnTo>
                <a:lnTo>
                  <a:pt x="6859170" y="6859170"/>
                </a:lnTo>
                <a:lnTo>
                  <a:pt x="6859170" y="3905635"/>
                </a:lnTo>
                <a:lnTo>
                  <a:pt x="6513513" y="3429585"/>
                </a:lnTo>
                <a:close/>
              </a:path>
            </a:pathLst>
          </a:custGeom>
          <a:solidFill>
            <a:srgbClr val="FFFFFF">
              <a:alpha val="79000"/>
            </a:srgbClr>
          </a:solidFill>
          <a:ln w="835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85920" y="1778333"/>
            <a:ext cx="16932040" cy="779986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 marL="1078474" indent="-456765">
              <a:buFontTx/>
              <a:buNone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737365" y="377910"/>
            <a:ext cx="16932040" cy="874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50393F41-E020-4F87-97E6-0CF866D2952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17" name="AutoShape 3">
              <a:extLst>
                <a:ext uri="{FF2B5EF4-FFF2-40B4-BE49-F238E27FC236}">
                  <a16:creationId xmlns:a16="http://schemas.microsoft.com/office/drawing/2014/main" id="{ABF72DF2-BBDC-4B26-B2C6-A8CC61F3334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5D1F0F11-F994-46B2-B01F-D619EFD854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06CA5F68-0CBF-444C-9FF3-E3C9AC945E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0BB7D1B-71F0-4026-8CA6-1D75C4E679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9B933893-10EF-4E43-AFF2-1C0533E336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3AA90100-2726-4700-B122-05DF25DE5E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4D41C97A-FE62-496B-8E72-C0B95325C0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Rectangle 11">
              <a:extLst>
                <a:ext uri="{FF2B5EF4-FFF2-40B4-BE49-F238E27FC236}">
                  <a16:creationId xmlns:a16="http://schemas.microsoft.com/office/drawing/2014/main" id="{984B2EEB-2D31-4758-B2D5-B877227AFA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Rectangle 12">
              <a:extLst>
                <a:ext uri="{FF2B5EF4-FFF2-40B4-BE49-F238E27FC236}">
                  <a16:creationId xmlns:a16="http://schemas.microsoft.com/office/drawing/2014/main" id="{6CD48259-36B2-4B45-BE49-FF58E64787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D4C16B3A-27CB-4C66-ABFE-AFB43171BC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A3736CA-77D2-4CB9-BE17-712F052CC2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id="{B2F1856E-C937-4A55-B053-95DFC63D5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Rectangle 16">
              <a:extLst>
                <a:ext uri="{FF2B5EF4-FFF2-40B4-BE49-F238E27FC236}">
                  <a16:creationId xmlns:a16="http://schemas.microsoft.com/office/drawing/2014/main" id="{F7484A04-F7D5-446A-9889-90C30C0F72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id="{DFC4A199-A536-4E1D-B416-E0369D45AE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18">
              <a:extLst>
                <a:ext uri="{FF2B5EF4-FFF2-40B4-BE49-F238E27FC236}">
                  <a16:creationId xmlns:a16="http://schemas.microsoft.com/office/drawing/2014/main" id="{36F4B590-3ACA-40CE-B728-DA82A9E436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19">
              <a:extLst>
                <a:ext uri="{FF2B5EF4-FFF2-40B4-BE49-F238E27FC236}">
                  <a16:creationId xmlns:a16="http://schemas.microsoft.com/office/drawing/2014/main" id="{FFE0797C-26F6-4E29-81CE-6561523501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0">
              <a:extLst>
                <a:ext uri="{FF2B5EF4-FFF2-40B4-BE49-F238E27FC236}">
                  <a16:creationId xmlns:a16="http://schemas.microsoft.com/office/drawing/2014/main" id="{84403A51-2D1D-46BF-9AE5-3DBC34652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032269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/>
          <p:cNvSpPr>
            <a:spLocks noChangeAspect="1" noChangeArrowheads="1" noTextEdit="1"/>
          </p:cNvSpPr>
          <p:nvPr userDrawn="1"/>
        </p:nvSpPr>
        <p:spPr bwMode="auto">
          <a:xfrm>
            <a:off x="1" y="257176"/>
            <a:ext cx="18299113" cy="10040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9" name="Freeform 8"/>
          <p:cNvSpPr>
            <a:spLocks/>
          </p:cNvSpPr>
          <p:nvPr userDrawn="1"/>
        </p:nvSpPr>
        <p:spPr bwMode="auto">
          <a:xfrm>
            <a:off x="17916524" y="5216527"/>
            <a:ext cx="355601" cy="555625"/>
          </a:xfrm>
          <a:custGeom>
            <a:avLst/>
            <a:gdLst>
              <a:gd name="T0" fmla="*/ 0 w 37"/>
              <a:gd name="T1" fmla="*/ 0 h 58"/>
              <a:gd name="T2" fmla="*/ 37 w 37"/>
              <a:gd name="T3" fmla="*/ 58 h 58"/>
              <a:gd name="T4" fmla="*/ 37 w 37"/>
              <a:gd name="T5" fmla="*/ 58 h 58"/>
              <a:gd name="T6" fmla="*/ 0 w 37"/>
              <a:gd name="T7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" h="58">
                <a:moveTo>
                  <a:pt x="0" y="0"/>
                </a:moveTo>
                <a:cubicBezTo>
                  <a:pt x="13" y="19"/>
                  <a:pt x="25" y="38"/>
                  <a:pt x="37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25" y="38"/>
                  <a:pt x="13" y="19"/>
                  <a:pt x="0" y="0"/>
                </a:cubicBezTo>
              </a:path>
            </a:pathLst>
          </a:custGeom>
          <a:solidFill>
            <a:srgbClr val="0081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8" name="Freeform 10"/>
          <p:cNvSpPr>
            <a:spLocks/>
          </p:cNvSpPr>
          <p:nvPr userDrawn="1"/>
        </p:nvSpPr>
        <p:spPr bwMode="auto">
          <a:xfrm>
            <a:off x="12954001" y="-4763"/>
            <a:ext cx="2152650" cy="8502649"/>
          </a:xfrm>
          <a:custGeom>
            <a:avLst/>
            <a:gdLst>
              <a:gd name="T0" fmla="*/ 1356 w 1356"/>
              <a:gd name="T1" fmla="*/ 0 h 5356"/>
              <a:gd name="T2" fmla="*/ 0 w 1356"/>
              <a:gd name="T3" fmla="*/ 0 h 5356"/>
              <a:gd name="T4" fmla="*/ 0 w 1356"/>
              <a:gd name="T5" fmla="*/ 5356 h 5356"/>
              <a:gd name="T6" fmla="*/ 0 w 1356"/>
              <a:gd name="T7" fmla="*/ 5356 h 5356"/>
              <a:gd name="T8" fmla="*/ 1356 w 1356"/>
              <a:gd name="T9" fmla="*/ 0 h 5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6" h="5356">
                <a:moveTo>
                  <a:pt x="1356" y="0"/>
                </a:moveTo>
                <a:lnTo>
                  <a:pt x="0" y="0"/>
                </a:lnTo>
                <a:lnTo>
                  <a:pt x="0" y="5356"/>
                </a:lnTo>
                <a:lnTo>
                  <a:pt x="0" y="5356"/>
                </a:lnTo>
                <a:lnTo>
                  <a:pt x="13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1" name="Freeform 12"/>
          <p:cNvSpPr>
            <a:spLocks/>
          </p:cNvSpPr>
          <p:nvPr userDrawn="1"/>
        </p:nvSpPr>
        <p:spPr bwMode="auto">
          <a:xfrm>
            <a:off x="12954001" y="-4763"/>
            <a:ext cx="2152650" cy="8502649"/>
          </a:xfrm>
          <a:custGeom>
            <a:avLst/>
            <a:gdLst>
              <a:gd name="T0" fmla="*/ 1356 w 1356"/>
              <a:gd name="T1" fmla="*/ 0 h 5356"/>
              <a:gd name="T2" fmla="*/ 0 w 1356"/>
              <a:gd name="T3" fmla="*/ 0 h 5356"/>
              <a:gd name="T4" fmla="*/ 0 w 1356"/>
              <a:gd name="T5" fmla="*/ 5356 h 5356"/>
              <a:gd name="T6" fmla="*/ 0 w 1356"/>
              <a:gd name="T7" fmla="*/ 5356 h 5356"/>
              <a:gd name="T8" fmla="*/ 1356 w 1356"/>
              <a:gd name="T9" fmla="*/ 0 h 5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6" h="5356">
                <a:moveTo>
                  <a:pt x="1356" y="0"/>
                </a:moveTo>
                <a:lnTo>
                  <a:pt x="0" y="0"/>
                </a:lnTo>
                <a:lnTo>
                  <a:pt x="0" y="5356"/>
                </a:lnTo>
                <a:lnTo>
                  <a:pt x="0" y="5356"/>
                </a:lnTo>
                <a:lnTo>
                  <a:pt x="13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07F872-5DA1-48D1-9B2D-407E15925350}"/>
              </a:ext>
            </a:extLst>
          </p:cNvPr>
          <p:cNvSpPr/>
          <p:nvPr userDrawn="1"/>
        </p:nvSpPr>
        <p:spPr>
          <a:xfrm>
            <a:off x="0" y="-4762"/>
            <a:ext cx="18272125" cy="103028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 descr="Tag=AccentColor&#10;Flavor=Light&#10;Target=Fill">
            <a:extLst>
              <a:ext uri="{FF2B5EF4-FFF2-40B4-BE49-F238E27FC236}">
                <a16:creationId xmlns:a16="http://schemas.microsoft.com/office/drawing/2014/main" id="{49595E36-AC63-49D6-8E16-47EA7CCAAB79}"/>
              </a:ext>
            </a:extLst>
          </p:cNvPr>
          <p:cNvSpPr/>
          <p:nvPr userDrawn="1"/>
        </p:nvSpPr>
        <p:spPr>
          <a:xfrm>
            <a:off x="-1" y="-1"/>
            <a:ext cx="12079706" cy="10298113"/>
          </a:xfrm>
          <a:custGeom>
            <a:avLst/>
            <a:gdLst>
              <a:gd name="connsiteX0" fmla="*/ 0 w 7534656"/>
              <a:gd name="connsiteY0" fmla="*/ 0 h 6858000"/>
              <a:gd name="connsiteX1" fmla="*/ 234679 w 7534656"/>
              <a:gd name="connsiteY1" fmla="*/ 0 h 6858000"/>
              <a:gd name="connsiteX2" fmla="*/ 2022952 w 7534656"/>
              <a:gd name="connsiteY2" fmla="*/ 0 h 6858000"/>
              <a:gd name="connsiteX3" fmla="*/ 2238233 w 7534656"/>
              <a:gd name="connsiteY3" fmla="*/ 0 h 6858000"/>
              <a:gd name="connsiteX4" fmla="*/ 3114003 w 7534656"/>
              <a:gd name="connsiteY4" fmla="*/ 0 h 6858000"/>
              <a:gd name="connsiteX5" fmla="*/ 6526057 w 7534656"/>
              <a:gd name="connsiteY5" fmla="*/ 0 h 6858000"/>
              <a:gd name="connsiteX6" fmla="*/ 6223681 w 7534656"/>
              <a:gd name="connsiteY6" fmla="*/ 110269 h 6858000"/>
              <a:gd name="connsiteX7" fmla="*/ 6267294 w 7534656"/>
              <a:gd name="connsiteY7" fmla="*/ 135168 h 6858000"/>
              <a:gd name="connsiteX8" fmla="*/ 6528964 w 7534656"/>
              <a:gd name="connsiteY8" fmla="*/ 71141 h 6858000"/>
              <a:gd name="connsiteX9" fmla="*/ 6581298 w 7534656"/>
              <a:gd name="connsiteY9" fmla="*/ 88927 h 6858000"/>
              <a:gd name="connsiteX10" fmla="*/ 6555131 w 7534656"/>
              <a:gd name="connsiteY10" fmla="*/ 163625 h 6858000"/>
              <a:gd name="connsiteX11" fmla="*/ 6441741 w 7534656"/>
              <a:gd name="connsiteY11" fmla="*/ 192082 h 6858000"/>
              <a:gd name="connsiteX12" fmla="*/ 6264386 w 7534656"/>
              <a:gd name="connsiteY12" fmla="*/ 373491 h 6858000"/>
              <a:gd name="connsiteX13" fmla="*/ 6531872 w 7534656"/>
              <a:gd name="connsiteY13" fmla="*/ 352148 h 6858000"/>
              <a:gd name="connsiteX14" fmla="*/ 6578391 w 7534656"/>
              <a:gd name="connsiteY14" fmla="*/ 394834 h 6858000"/>
              <a:gd name="connsiteX15" fmla="*/ 6595836 w 7534656"/>
              <a:gd name="connsiteY15" fmla="*/ 451747 h 6858000"/>
              <a:gd name="connsiteX16" fmla="*/ 6674337 w 7534656"/>
              <a:gd name="connsiteY16" fmla="*/ 359262 h 6858000"/>
              <a:gd name="connsiteX17" fmla="*/ 6741209 w 7534656"/>
              <a:gd name="connsiteY17" fmla="*/ 334364 h 6858000"/>
              <a:gd name="connsiteX18" fmla="*/ 6761561 w 7534656"/>
              <a:gd name="connsiteY18" fmla="*/ 416176 h 6858000"/>
              <a:gd name="connsiteX19" fmla="*/ 6700505 w 7534656"/>
              <a:gd name="connsiteY19" fmla="*/ 505101 h 6858000"/>
              <a:gd name="connsiteX20" fmla="*/ 6537687 w 7534656"/>
              <a:gd name="connsiteY20" fmla="*/ 558458 h 6858000"/>
              <a:gd name="connsiteX21" fmla="*/ 6712134 w 7534656"/>
              <a:gd name="connsiteY21" fmla="*/ 558458 h 6858000"/>
              <a:gd name="connsiteX22" fmla="*/ 6912748 w 7534656"/>
              <a:gd name="connsiteY22" fmla="*/ 522887 h 6858000"/>
              <a:gd name="connsiteX23" fmla="*/ 7124992 w 7534656"/>
              <a:gd name="connsiteY23" fmla="*/ 533558 h 6858000"/>
              <a:gd name="connsiteX24" fmla="*/ 7325607 w 7534656"/>
              <a:gd name="connsiteY24" fmla="*/ 462417 h 6858000"/>
              <a:gd name="connsiteX25" fmla="*/ 7529129 w 7534656"/>
              <a:gd name="connsiteY25" fmla="*/ 465975 h 6858000"/>
              <a:gd name="connsiteX26" fmla="*/ 6627818 w 7534656"/>
              <a:gd name="connsiteY26" fmla="*/ 910606 h 6858000"/>
              <a:gd name="connsiteX27" fmla="*/ 6671430 w 7534656"/>
              <a:gd name="connsiteY27" fmla="*/ 921277 h 6858000"/>
              <a:gd name="connsiteX28" fmla="*/ 6729579 w 7534656"/>
              <a:gd name="connsiteY28" fmla="*/ 949734 h 6858000"/>
              <a:gd name="connsiteX29" fmla="*/ 6685967 w 7534656"/>
              <a:gd name="connsiteY29" fmla="*/ 1006647 h 6858000"/>
              <a:gd name="connsiteX30" fmla="*/ 6450463 w 7534656"/>
              <a:gd name="connsiteY30" fmla="*/ 1113358 h 6858000"/>
              <a:gd name="connsiteX31" fmla="*/ 6392314 w 7534656"/>
              <a:gd name="connsiteY31" fmla="*/ 1220069 h 6858000"/>
              <a:gd name="connsiteX32" fmla="*/ 6465001 w 7534656"/>
              <a:gd name="connsiteY32" fmla="*/ 1209399 h 6858000"/>
              <a:gd name="connsiteX33" fmla="*/ 6528964 w 7534656"/>
              <a:gd name="connsiteY33" fmla="*/ 1230741 h 6858000"/>
              <a:gd name="connsiteX34" fmla="*/ 6502798 w 7534656"/>
              <a:gd name="connsiteY34" fmla="*/ 1365909 h 6858000"/>
              <a:gd name="connsiteX35" fmla="*/ 6168440 w 7534656"/>
              <a:gd name="connsiteY35" fmla="*/ 1540204 h 6858000"/>
              <a:gd name="connsiteX36" fmla="*/ 6139366 w 7534656"/>
              <a:gd name="connsiteY36" fmla="*/ 1597117 h 6858000"/>
              <a:gd name="connsiteX37" fmla="*/ 6180070 w 7534656"/>
              <a:gd name="connsiteY37" fmla="*/ 1636245 h 6858000"/>
              <a:gd name="connsiteX38" fmla="*/ 6287645 w 7534656"/>
              <a:gd name="connsiteY38" fmla="*/ 1657587 h 6858000"/>
              <a:gd name="connsiteX39" fmla="*/ 6136458 w 7534656"/>
              <a:gd name="connsiteY39" fmla="*/ 1849668 h 6858000"/>
              <a:gd name="connsiteX40" fmla="*/ 6081216 w 7534656"/>
              <a:gd name="connsiteY40" fmla="*/ 1903025 h 6858000"/>
              <a:gd name="connsiteX41" fmla="*/ 5985270 w 7534656"/>
              <a:gd name="connsiteY41" fmla="*/ 1984836 h 6858000"/>
              <a:gd name="connsiteX42" fmla="*/ 5985270 w 7534656"/>
              <a:gd name="connsiteY42" fmla="*/ 2013292 h 6858000"/>
              <a:gd name="connsiteX43" fmla="*/ 6113198 w 7534656"/>
              <a:gd name="connsiteY43" fmla="*/ 2102219 h 6858000"/>
              <a:gd name="connsiteX44" fmla="*/ 6345795 w 7534656"/>
              <a:gd name="connsiteY44" fmla="*/ 2077320 h 6858000"/>
              <a:gd name="connsiteX45" fmla="*/ 6002715 w 7534656"/>
              <a:gd name="connsiteY45" fmla="*/ 2208931 h 6858000"/>
              <a:gd name="connsiteX46" fmla="*/ 7113363 w 7534656"/>
              <a:gd name="connsiteY46" fmla="*/ 1892353 h 6858000"/>
              <a:gd name="connsiteX47" fmla="*/ 7043584 w 7534656"/>
              <a:gd name="connsiteY47" fmla="*/ 1974165 h 6858000"/>
              <a:gd name="connsiteX48" fmla="*/ 6653985 w 7534656"/>
              <a:gd name="connsiteY48" fmla="*/ 2191146 h 6858000"/>
              <a:gd name="connsiteX49" fmla="*/ 6543502 w 7534656"/>
              <a:gd name="connsiteY49" fmla="*/ 2326314 h 6858000"/>
              <a:gd name="connsiteX50" fmla="*/ 6427203 w 7534656"/>
              <a:gd name="connsiteY50" fmla="*/ 2401012 h 6858000"/>
              <a:gd name="connsiteX51" fmla="*/ 6264386 w 7534656"/>
              <a:gd name="connsiteY51" fmla="*/ 2401012 h 6858000"/>
              <a:gd name="connsiteX52" fmla="*/ 6148088 w 7534656"/>
              <a:gd name="connsiteY52" fmla="*/ 2518395 h 6858000"/>
              <a:gd name="connsiteX53" fmla="*/ 6267294 w 7534656"/>
              <a:gd name="connsiteY53" fmla="*/ 2543294 h 6858000"/>
              <a:gd name="connsiteX54" fmla="*/ 6406851 w 7534656"/>
              <a:gd name="connsiteY54" fmla="*/ 2525509 h 6858000"/>
              <a:gd name="connsiteX55" fmla="*/ 6563854 w 7534656"/>
              <a:gd name="connsiteY55" fmla="*/ 2564636 h 6858000"/>
              <a:gd name="connsiteX56" fmla="*/ 6709227 w 7534656"/>
              <a:gd name="connsiteY56" fmla="*/ 2532623 h 6858000"/>
              <a:gd name="connsiteX57" fmla="*/ 6883674 w 7534656"/>
              <a:gd name="connsiteY57" fmla="*/ 2553965 h 6858000"/>
              <a:gd name="connsiteX58" fmla="*/ 6938916 w 7534656"/>
              <a:gd name="connsiteY58" fmla="*/ 2692689 h 6858000"/>
              <a:gd name="connsiteX59" fmla="*/ 6956360 w 7534656"/>
              <a:gd name="connsiteY59" fmla="*/ 2703362 h 6858000"/>
              <a:gd name="connsiteX60" fmla="*/ 7279088 w 7534656"/>
              <a:gd name="connsiteY60" fmla="*/ 2923898 h 6858000"/>
              <a:gd name="connsiteX61" fmla="*/ 7369219 w 7534656"/>
              <a:gd name="connsiteY61" fmla="*/ 2941684 h 6858000"/>
              <a:gd name="connsiteX62" fmla="*/ 6837155 w 7534656"/>
              <a:gd name="connsiteY62" fmla="*/ 3329402 h 6858000"/>
              <a:gd name="connsiteX63" fmla="*/ 7194772 w 7534656"/>
              <a:gd name="connsiteY63" fmla="*/ 3229805 h 6858000"/>
              <a:gd name="connsiteX64" fmla="*/ 7244198 w 7534656"/>
              <a:gd name="connsiteY64" fmla="*/ 3393429 h 6858000"/>
              <a:gd name="connsiteX65" fmla="*/ 7075566 w 7534656"/>
              <a:gd name="connsiteY65" fmla="*/ 3539269 h 6858000"/>
              <a:gd name="connsiteX66" fmla="*/ 7014509 w 7534656"/>
              <a:gd name="connsiteY66" fmla="*/ 3827390 h 6858000"/>
              <a:gd name="connsiteX67" fmla="*/ 7043584 w 7534656"/>
              <a:gd name="connsiteY67" fmla="*/ 4090612 h 6858000"/>
              <a:gd name="connsiteX68" fmla="*/ 7116270 w 7534656"/>
              <a:gd name="connsiteY68" fmla="*/ 4172424 h 6858000"/>
              <a:gd name="connsiteX69" fmla="*/ 7220938 w 7534656"/>
              <a:gd name="connsiteY69" fmla="*/ 4321821 h 6858000"/>
              <a:gd name="connsiteX70" fmla="*/ 7284903 w 7534656"/>
              <a:gd name="connsiteY70" fmla="*/ 4414305 h 6858000"/>
              <a:gd name="connsiteX71" fmla="*/ 7508777 w 7534656"/>
              <a:gd name="connsiteY71" fmla="*/ 4378734 h 6858000"/>
              <a:gd name="connsiteX72" fmla="*/ 7209309 w 7534656"/>
              <a:gd name="connsiteY72" fmla="*/ 4613499 h 6858000"/>
              <a:gd name="connsiteX73" fmla="*/ 7450627 w 7534656"/>
              <a:gd name="connsiteY73" fmla="*/ 4585042 h 6858000"/>
              <a:gd name="connsiteX74" fmla="*/ 7529129 w 7534656"/>
              <a:gd name="connsiteY74" fmla="*/ 4602828 h 6858000"/>
              <a:gd name="connsiteX75" fmla="*/ 7485517 w 7534656"/>
              <a:gd name="connsiteY75" fmla="*/ 4677526 h 6858000"/>
              <a:gd name="connsiteX76" fmla="*/ 7308162 w 7534656"/>
              <a:gd name="connsiteY76" fmla="*/ 4805580 h 6858000"/>
              <a:gd name="connsiteX77" fmla="*/ 6941823 w 7534656"/>
              <a:gd name="connsiteY77" fmla="*/ 5154171 h 6858000"/>
              <a:gd name="connsiteX78" fmla="*/ 7296533 w 7534656"/>
              <a:gd name="connsiteY78" fmla="*/ 4994104 h 6858000"/>
              <a:gd name="connsiteX79" fmla="*/ 6924378 w 7534656"/>
              <a:gd name="connsiteY79" fmla="*/ 5353367 h 6858000"/>
              <a:gd name="connsiteX80" fmla="*/ 6842970 w 7534656"/>
              <a:gd name="connsiteY80" fmla="*/ 5474306 h 6858000"/>
              <a:gd name="connsiteX81" fmla="*/ 6674337 w 7534656"/>
              <a:gd name="connsiteY81" fmla="*/ 5769542 h 6858000"/>
              <a:gd name="connsiteX82" fmla="*/ 6683059 w 7534656"/>
              <a:gd name="connsiteY82" fmla="*/ 5801555 h 6858000"/>
              <a:gd name="connsiteX83" fmla="*/ 6874952 w 7534656"/>
              <a:gd name="connsiteY83" fmla="*/ 5755314 h 6858000"/>
              <a:gd name="connsiteX84" fmla="*/ 6624910 w 7534656"/>
              <a:gd name="connsiteY84" fmla="*/ 6004307 h 6858000"/>
              <a:gd name="connsiteX85" fmla="*/ 6366147 w 7534656"/>
              <a:gd name="connsiteY85" fmla="*/ 6196388 h 6858000"/>
              <a:gd name="connsiteX86" fmla="*/ 6549317 w 7534656"/>
              <a:gd name="connsiteY86" fmla="*/ 6167932 h 6858000"/>
              <a:gd name="connsiteX87" fmla="*/ 6802265 w 7534656"/>
              <a:gd name="connsiteY87" fmla="*/ 6057663 h 6858000"/>
              <a:gd name="connsiteX88" fmla="*/ 6889489 w 7534656"/>
              <a:gd name="connsiteY88" fmla="*/ 6100347 h 6858000"/>
              <a:gd name="connsiteX89" fmla="*/ 6651077 w 7534656"/>
              <a:gd name="connsiteY89" fmla="*/ 6281757 h 6858000"/>
              <a:gd name="connsiteX90" fmla="*/ 6514427 w 7534656"/>
              <a:gd name="connsiteY90" fmla="*/ 6367127 h 6858000"/>
              <a:gd name="connsiteX91" fmla="*/ 6459185 w 7534656"/>
              <a:gd name="connsiteY91" fmla="*/ 6431153 h 6858000"/>
              <a:gd name="connsiteX92" fmla="*/ 6302183 w 7534656"/>
              <a:gd name="connsiteY92" fmla="*/ 6658805 h 6858000"/>
              <a:gd name="connsiteX93" fmla="*/ 5941659 w 7534656"/>
              <a:gd name="connsiteY93" fmla="*/ 6858000 h 6858000"/>
              <a:gd name="connsiteX94" fmla="*/ 3114003 w 7534656"/>
              <a:gd name="connsiteY94" fmla="*/ 6858000 h 6858000"/>
              <a:gd name="connsiteX95" fmla="*/ 2238233 w 7534656"/>
              <a:gd name="connsiteY95" fmla="*/ 6858000 h 6858000"/>
              <a:gd name="connsiteX96" fmla="*/ 2022952 w 7534656"/>
              <a:gd name="connsiteY96" fmla="*/ 6858000 h 6858000"/>
              <a:gd name="connsiteX97" fmla="*/ 234679 w 7534656"/>
              <a:gd name="connsiteY97" fmla="*/ 6858000 h 6858000"/>
              <a:gd name="connsiteX98" fmla="*/ 0 w 7534656"/>
              <a:gd name="connsiteY9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7534656" h="6858000">
                <a:moveTo>
                  <a:pt x="0" y="0"/>
                </a:moveTo>
                <a:lnTo>
                  <a:pt x="234679" y="0"/>
                </a:lnTo>
                <a:lnTo>
                  <a:pt x="2022952" y="0"/>
                </a:lnTo>
                <a:lnTo>
                  <a:pt x="2238233" y="0"/>
                </a:lnTo>
                <a:lnTo>
                  <a:pt x="3114003" y="0"/>
                </a:lnTo>
                <a:lnTo>
                  <a:pt x="6526057" y="0"/>
                </a:lnTo>
                <a:cubicBezTo>
                  <a:pt x="6424296" y="35571"/>
                  <a:pt x="6325442" y="78255"/>
                  <a:pt x="6223681" y="110269"/>
                </a:cubicBezTo>
                <a:cubicBezTo>
                  <a:pt x="6238219" y="145839"/>
                  <a:pt x="6252756" y="138725"/>
                  <a:pt x="6267294" y="135168"/>
                </a:cubicBezTo>
                <a:cubicBezTo>
                  <a:pt x="6354517" y="120941"/>
                  <a:pt x="6444648" y="110269"/>
                  <a:pt x="6528964" y="71141"/>
                </a:cubicBezTo>
                <a:cubicBezTo>
                  <a:pt x="6549317" y="64027"/>
                  <a:pt x="6572576" y="64027"/>
                  <a:pt x="6581298" y="88927"/>
                </a:cubicBezTo>
                <a:cubicBezTo>
                  <a:pt x="6595836" y="124497"/>
                  <a:pt x="6575484" y="145839"/>
                  <a:pt x="6555131" y="163625"/>
                </a:cubicBezTo>
                <a:cubicBezTo>
                  <a:pt x="6520242" y="195638"/>
                  <a:pt x="6479538" y="188525"/>
                  <a:pt x="6441741" y="192082"/>
                </a:cubicBezTo>
                <a:cubicBezTo>
                  <a:pt x="6337073" y="209867"/>
                  <a:pt x="6287645" y="259665"/>
                  <a:pt x="6264386" y="373491"/>
                </a:cubicBezTo>
                <a:cubicBezTo>
                  <a:pt x="6354517" y="327250"/>
                  <a:pt x="6444648" y="384162"/>
                  <a:pt x="6531872" y="352148"/>
                </a:cubicBezTo>
                <a:cubicBezTo>
                  <a:pt x="6555131" y="345034"/>
                  <a:pt x="6590021" y="355706"/>
                  <a:pt x="6578391" y="394834"/>
                </a:cubicBezTo>
                <a:cubicBezTo>
                  <a:pt x="6566762" y="430405"/>
                  <a:pt x="6528964" y="458860"/>
                  <a:pt x="6595836" y="451747"/>
                </a:cubicBezTo>
                <a:cubicBezTo>
                  <a:pt x="6645263" y="448189"/>
                  <a:pt x="6659800" y="405504"/>
                  <a:pt x="6674337" y="359262"/>
                </a:cubicBezTo>
                <a:cubicBezTo>
                  <a:pt x="6685967" y="334364"/>
                  <a:pt x="6717949" y="320135"/>
                  <a:pt x="6741209" y="334364"/>
                </a:cubicBezTo>
                <a:cubicBezTo>
                  <a:pt x="6770283" y="348592"/>
                  <a:pt x="6761561" y="387720"/>
                  <a:pt x="6761561" y="416176"/>
                </a:cubicBezTo>
                <a:cubicBezTo>
                  <a:pt x="6764469" y="469532"/>
                  <a:pt x="6741209" y="494431"/>
                  <a:pt x="6700505" y="505101"/>
                </a:cubicBezTo>
                <a:cubicBezTo>
                  <a:pt x="6651077" y="519330"/>
                  <a:pt x="6601651" y="537116"/>
                  <a:pt x="6537687" y="558458"/>
                </a:cubicBezTo>
                <a:cubicBezTo>
                  <a:pt x="6607466" y="594028"/>
                  <a:pt x="6659800" y="586915"/>
                  <a:pt x="6712134" y="558458"/>
                </a:cubicBezTo>
                <a:cubicBezTo>
                  <a:pt x="6776098" y="526444"/>
                  <a:pt x="6860414" y="483759"/>
                  <a:pt x="6912748" y="522887"/>
                </a:cubicBezTo>
                <a:cubicBezTo>
                  <a:pt x="6991249" y="579800"/>
                  <a:pt x="7055213" y="544229"/>
                  <a:pt x="7124992" y="533558"/>
                </a:cubicBezTo>
                <a:cubicBezTo>
                  <a:pt x="7270366" y="512216"/>
                  <a:pt x="7180234" y="480203"/>
                  <a:pt x="7325607" y="462417"/>
                </a:cubicBezTo>
                <a:cubicBezTo>
                  <a:pt x="7383756" y="455303"/>
                  <a:pt x="7444813" y="426847"/>
                  <a:pt x="7529129" y="465975"/>
                </a:cubicBezTo>
                <a:cubicBezTo>
                  <a:pt x="7148252" y="672284"/>
                  <a:pt x="6967990" y="658055"/>
                  <a:pt x="6627818" y="910606"/>
                </a:cubicBezTo>
                <a:cubicBezTo>
                  <a:pt x="6642355" y="935506"/>
                  <a:pt x="6656892" y="924835"/>
                  <a:pt x="6671430" y="921277"/>
                </a:cubicBezTo>
                <a:cubicBezTo>
                  <a:pt x="6694689" y="917720"/>
                  <a:pt x="6723764" y="903491"/>
                  <a:pt x="6729579" y="949734"/>
                </a:cubicBezTo>
                <a:cubicBezTo>
                  <a:pt x="6732487" y="985305"/>
                  <a:pt x="6715041" y="1003089"/>
                  <a:pt x="6685967" y="1006647"/>
                </a:cubicBezTo>
                <a:cubicBezTo>
                  <a:pt x="6601651" y="1020875"/>
                  <a:pt x="6526057" y="1070674"/>
                  <a:pt x="6450463" y="1113358"/>
                </a:cubicBezTo>
                <a:cubicBezTo>
                  <a:pt x="6415574" y="1131144"/>
                  <a:pt x="6377777" y="1156043"/>
                  <a:pt x="6392314" y="1220069"/>
                </a:cubicBezTo>
                <a:cubicBezTo>
                  <a:pt x="6421388" y="1237855"/>
                  <a:pt x="6441741" y="1212955"/>
                  <a:pt x="6465001" y="1209399"/>
                </a:cubicBezTo>
                <a:cubicBezTo>
                  <a:pt x="6488260" y="1205842"/>
                  <a:pt x="6543502" y="1220069"/>
                  <a:pt x="6528964" y="1230741"/>
                </a:cubicBezTo>
                <a:cubicBezTo>
                  <a:pt x="6462093" y="1269868"/>
                  <a:pt x="6584206" y="1365909"/>
                  <a:pt x="6502798" y="1365909"/>
                </a:cubicBezTo>
                <a:cubicBezTo>
                  <a:pt x="6369055" y="1365909"/>
                  <a:pt x="6296368" y="1536647"/>
                  <a:pt x="6168440" y="1540204"/>
                </a:cubicBezTo>
                <a:cubicBezTo>
                  <a:pt x="6148088" y="1540204"/>
                  <a:pt x="6139366" y="1572219"/>
                  <a:pt x="6139366" y="1597117"/>
                </a:cubicBezTo>
                <a:cubicBezTo>
                  <a:pt x="6139366" y="1629132"/>
                  <a:pt x="6159717" y="1632688"/>
                  <a:pt x="6180070" y="1636245"/>
                </a:cubicBezTo>
                <a:cubicBezTo>
                  <a:pt x="6212052" y="1639802"/>
                  <a:pt x="6246941" y="1597117"/>
                  <a:pt x="6287645" y="1657587"/>
                </a:cubicBezTo>
                <a:cubicBezTo>
                  <a:pt x="6212052" y="1693158"/>
                  <a:pt x="6133551" y="1728729"/>
                  <a:pt x="6136458" y="1849668"/>
                </a:cubicBezTo>
                <a:cubicBezTo>
                  <a:pt x="6136458" y="1881683"/>
                  <a:pt x="6104476" y="1895910"/>
                  <a:pt x="6081216" y="1903025"/>
                </a:cubicBezTo>
                <a:cubicBezTo>
                  <a:pt x="6040512" y="1917252"/>
                  <a:pt x="6008530" y="1938595"/>
                  <a:pt x="5985270" y="1984836"/>
                </a:cubicBezTo>
                <a:cubicBezTo>
                  <a:pt x="5985270" y="1995507"/>
                  <a:pt x="5985270" y="2002622"/>
                  <a:pt x="5985270" y="2013292"/>
                </a:cubicBezTo>
                <a:cubicBezTo>
                  <a:pt x="5991085" y="2123562"/>
                  <a:pt x="6049234" y="2120004"/>
                  <a:pt x="6113198" y="2102219"/>
                </a:cubicBezTo>
                <a:cubicBezTo>
                  <a:pt x="6188792" y="2080877"/>
                  <a:pt x="6264386" y="2038192"/>
                  <a:pt x="6345795" y="2077320"/>
                </a:cubicBezTo>
                <a:cubicBezTo>
                  <a:pt x="6232404" y="2130676"/>
                  <a:pt x="6107384" y="2134233"/>
                  <a:pt x="6002715" y="2208931"/>
                </a:cubicBezTo>
                <a:cubicBezTo>
                  <a:pt x="6392314" y="2223159"/>
                  <a:pt x="6735394" y="1984836"/>
                  <a:pt x="7113363" y="1892353"/>
                </a:cubicBezTo>
                <a:cubicBezTo>
                  <a:pt x="7101733" y="1952823"/>
                  <a:pt x="7069751" y="1967051"/>
                  <a:pt x="7043584" y="1974165"/>
                </a:cubicBezTo>
                <a:cubicBezTo>
                  <a:pt x="6904026" y="2020407"/>
                  <a:pt x="6781913" y="2112891"/>
                  <a:pt x="6653985" y="2191146"/>
                </a:cubicBezTo>
                <a:cubicBezTo>
                  <a:pt x="6601651" y="2223159"/>
                  <a:pt x="6563854" y="2258731"/>
                  <a:pt x="6543502" y="2326314"/>
                </a:cubicBezTo>
                <a:cubicBezTo>
                  <a:pt x="6526057" y="2390340"/>
                  <a:pt x="6491167" y="2418796"/>
                  <a:pt x="6427203" y="2401012"/>
                </a:cubicBezTo>
                <a:cubicBezTo>
                  <a:pt x="6374869" y="2386784"/>
                  <a:pt x="6319627" y="2393898"/>
                  <a:pt x="6264386" y="2401012"/>
                </a:cubicBezTo>
                <a:cubicBezTo>
                  <a:pt x="6203330" y="2408126"/>
                  <a:pt x="6133551" y="2479267"/>
                  <a:pt x="6148088" y="2518395"/>
                </a:cubicBezTo>
                <a:cubicBezTo>
                  <a:pt x="6177162" y="2582422"/>
                  <a:pt x="6226589" y="2550408"/>
                  <a:pt x="6267294" y="2543294"/>
                </a:cubicBezTo>
                <a:cubicBezTo>
                  <a:pt x="6316720" y="2536181"/>
                  <a:pt x="6406851" y="2518395"/>
                  <a:pt x="6406851" y="2525509"/>
                </a:cubicBezTo>
                <a:cubicBezTo>
                  <a:pt x="6438834" y="2685576"/>
                  <a:pt x="6511520" y="2564636"/>
                  <a:pt x="6563854" y="2564636"/>
                </a:cubicBezTo>
                <a:cubicBezTo>
                  <a:pt x="6613281" y="2564636"/>
                  <a:pt x="6662707" y="2546851"/>
                  <a:pt x="6709227" y="2532623"/>
                </a:cubicBezTo>
                <a:cubicBezTo>
                  <a:pt x="6770283" y="2514837"/>
                  <a:pt x="6825524" y="2546851"/>
                  <a:pt x="6883674" y="2553965"/>
                </a:cubicBezTo>
                <a:cubicBezTo>
                  <a:pt x="6936008" y="2561080"/>
                  <a:pt x="6906934" y="2653563"/>
                  <a:pt x="6938916" y="2692689"/>
                </a:cubicBezTo>
                <a:cubicBezTo>
                  <a:pt x="6944730" y="2703362"/>
                  <a:pt x="6950545" y="2703362"/>
                  <a:pt x="6956360" y="2703362"/>
                </a:cubicBezTo>
                <a:cubicBezTo>
                  <a:pt x="6973805" y="2980812"/>
                  <a:pt x="7279088" y="2913227"/>
                  <a:pt x="7279088" y="2923898"/>
                </a:cubicBezTo>
                <a:cubicBezTo>
                  <a:pt x="7305255" y="2941684"/>
                  <a:pt x="7337237" y="2899000"/>
                  <a:pt x="7369219" y="2941684"/>
                </a:cubicBezTo>
                <a:cubicBezTo>
                  <a:pt x="7232569" y="3137322"/>
                  <a:pt x="7023231" y="3183563"/>
                  <a:pt x="6837155" y="3329402"/>
                </a:cubicBezTo>
                <a:cubicBezTo>
                  <a:pt x="6991249" y="3379202"/>
                  <a:pt x="7081381" y="3208463"/>
                  <a:pt x="7194772" y="3229805"/>
                </a:cubicBezTo>
                <a:cubicBezTo>
                  <a:pt x="7250013" y="3283162"/>
                  <a:pt x="7084288" y="3368530"/>
                  <a:pt x="7244198" y="3393429"/>
                </a:cubicBezTo>
                <a:cubicBezTo>
                  <a:pt x="7174420" y="3439672"/>
                  <a:pt x="7124992" y="3485914"/>
                  <a:pt x="7075566" y="3539269"/>
                </a:cubicBezTo>
                <a:cubicBezTo>
                  <a:pt x="6991249" y="3635309"/>
                  <a:pt x="6973805" y="3699337"/>
                  <a:pt x="7014509" y="3827390"/>
                </a:cubicBezTo>
                <a:cubicBezTo>
                  <a:pt x="7040677" y="3912759"/>
                  <a:pt x="7078473" y="3991015"/>
                  <a:pt x="7043584" y="4090612"/>
                </a:cubicBezTo>
                <a:cubicBezTo>
                  <a:pt x="7020324" y="4158196"/>
                  <a:pt x="7029047" y="4204438"/>
                  <a:pt x="7116270" y="4172424"/>
                </a:cubicBezTo>
                <a:cubicBezTo>
                  <a:pt x="7209309" y="4140411"/>
                  <a:pt x="7244198" y="4200882"/>
                  <a:pt x="7220938" y="4321821"/>
                </a:cubicBezTo>
                <a:cubicBezTo>
                  <a:pt x="7206402" y="4400076"/>
                  <a:pt x="7220938" y="4424975"/>
                  <a:pt x="7284903" y="4414305"/>
                </a:cubicBezTo>
                <a:cubicBezTo>
                  <a:pt x="7354681" y="4403633"/>
                  <a:pt x="7421553" y="4353835"/>
                  <a:pt x="7508777" y="4378734"/>
                </a:cubicBezTo>
                <a:cubicBezTo>
                  <a:pt x="7438998" y="4521016"/>
                  <a:pt x="7290717" y="4478331"/>
                  <a:pt x="7209309" y="4613499"/>
                </a:cubicBezTo>
                <a:cubicBezTo>
                  <a:pt x="7305255" y="4613499"/>
                  <a:pt x="7380849" y="4613499"/>
                  <a:pt x="7450627" y="4585042"/>
                </a:cubicBezTo>
                <a:cubicBezTo>
                  <a:pt x="7479702" y="4574373"/>
                  <a:pt x="7511684" y="4560144"/>
                  <a:pt x="7529129" y="4602828"/>
                </a:cubicBezTo>
                <a:cubicBezTo>
                  <a:pt x="7549482" y="4652628"/>
                  <a:pt x="7508777" y="4670412"/>
                  <a:pt x="7485517" y="4677526"/>
                </a:cubicBezTo>
                <a:cubicBezTo>
                  <a:pt x="7418645" y="4702425"/>
                  <a:pt x="7366312" y="4759339"/>
                  <a:pt x="7308162" y="4805580"/>
                </a:cubicBezTo>
                <a:cubicBezTo>
                  <a:pt x="7183142" y="4905177"/>
                  <a:pt x="7046491" y="4990547"/>
                  <a:pt x="6941823" y="5154171"/>
                </a:cubicBezTo>
                <a:cubicBezTo>
                  <a:pt x="7072659" y="5111487"/>
                  <a:pt x="7171512" y="5011889"/>
                  <a:pt x="7296533" y="4994104"/>
                </a:cubicBezTo>
                <a:cubicBezTo>
                  <a:pt x="7188956" y="5143500"/>
                  <a:pt x="7052306" y="5243097"/>
                  <a:pt x="6924378" y="5353367"/>
                </a:cubicBezTo>
                <a:cubicBezTo>
                  <a:pt x="6886581" y="5385379"/>
                  <a:pt x="6848784" y="5406721"/>
                  <a:pt x="6842970" y="5474306"/>
                </a:cubicBezTo>
                <a:cubicBezTo>
                  <a:pt x="6825524" y="5605917"/>
                  <a:pt x="6779006" y="5712629"/>
                  <a:pt x="6674337" y="5769542"/>
                </a:cubicBezTo>
                <a:cubicBezTo>
                  <a:pt x="6674337" y="5769542"/>
                  <a:pt x="6680152" y="5790884"/>
                  <a:pt x="6683059" y="5801555"/>
                </a:cubicBezTo>
                <a:cubicBezTo>
                  <a:pt x="6747024" y="5805112"/>
                  <a:pt x="6796450" y="5726858"/>
                  <a:pt x="6874952" y="5755314"/>
                </a:cubicBezTo>
                <a:cubicBezTo>
                  <a:pt x="6796450" y="5862025"/>
                  <a:pt x="6732487" y="5954508"/>
                  <a:pt x="6624910" y="6004307"/>
                </a:cubicBezTo>
                <a:cubicBezTo>
                  <a:pt x="6537687" y="6043434"/>
                  <a:pt x="6430111" y="6068335"/>
                  <a:pt x="6366147" y="6196388"/>
                </a:cubicBezTo>
                <a:cubicBezTo>
                  <a:pt x="6438834" y="6221287"/>
                  <a:pt x="6494075" y="6189274"/>
                  <a:pt x="6549317" y="6167932"/>
                </a:cubicBezTo>
                <a:cubicBezTo>
                  <a:pt x="6633633" y="6132361"/>
                  <a:pt x="6717949" y="6093234"/>
                  <a:pt x="6802265" y="6057663"/>
                </a:cubicBezTo>
                <a:cubicBezTo>
                  <a:pt x="6834248" y="6043434"/>
                  <a:pt x="6869137" y="6036320"/>
                  <a:pt x="6889489" y="6100347"/>
                </a:cubicBezTo>
                <a:cubicBezTo>
                  <a:pt x="6781913" y="6114575"/>
                  <a:pt x="6717949" y="6199945"/>
                  <a:pt x="6651077" y="6281757"/>
                </a:cubicBezTo>
                <a:cubicBezTo>
                  <a:pt x="6613281" y="6327999"/>
                  <a:pt x="6581298" y="6388469"/>
                  <a:pt x="6514427" y="6367127"/>
                </a:cubicBezTo>
                <a:cubicBezTo>
                  <a:pt x="6479538" y="6356456"/>
                  <a:pt x="6456278" y="6388469"/>
                  <a:pt x="6459185" y="6431153"/>
                </a:cubicBezTo>
                <a:cubicBezTo>
                  <a:pt x="6473723" y="6580550"/>
                  <a:pt x="6389406" y="6630349"/>
                  <a:pt x="6302183" y="6658805"/>
                </a:cubicBezTo>
                <a:cubicBezTo>
                  <a:pt x="6174255" y="6701489"/>
                  <a:pt x="6060864" y="6786859"/>
                  <a:pt x="5941659" y="6858000"/>
                </a:cubicBezTo>
                <a:lnTo>
                  <a:pt x="3114003" y="6858000"/>
                </a:lnTo>
                <a:lnTo>
                  <a:pt x="2238233" y="6858000"/>
                </a:lnTo>
                <a:lnTo>
                  <a:pt x="2022952" y="6858000"/>
                </a:lnTo>
                <a:lnTo>
                  <a:pt x="234679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636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3" userDrawn="1">
          <p15:clr>
            <a:srgbClr val="FBAE40"/>
          </p15:clr>
        </p15:guide>
        <p15:guide id="2" pos="5761" userDrawn="1">
          <p15:clr>
            <a:srgbClr val="FBAE40"/>
          </p15:clr>
        </p15:guide>
        <p15:guide id="3" orient="horz" pos="4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 S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85EAD39-1D44-4B47-B689-85C31A0093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218237" y="5556"/>
            <a:ext cx="7200900" cy="10287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687388" y="1662534"/>
            <a:ext cx="8695647" cy="6342351"/>
          </a:xfrm>
          <a:noFill/>
        </p:spPr>
        <p:txBody>
          <a:bodyPr/>
          <a:lstStyle>
            <a:lvl1pPr marL="447963" indent="-447963"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1pPr>
            <a:lvl2pPr marL="961135" indent="-481982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1016283" y="1754503"/>
            <a:ext cx="6335601" cy="625038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3079" rtl="0" eaLnBrk="0" fontAlgn="base" latinLnBrk="0" hangingPunct="0">
              <a:lnSpc>
                <a:spcPts val="48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4800" b="0" cap="none" spc="0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3079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37F6CCE9-102D-4A32-8C5B-0DA5F7341B6B}"/>
              </a:ext>
            </a:extLst>
          </p:cNvPr>
          <p:cNvSpPr/>
          <p:nvPr/>
        </p:nvSpPr>
        <p:spPr>
          <a:xfrm>
            <a:off x="10116132" y="3553572"/>
            <a:ext cx="156856" cy="973454"/>
          </a:xfrm>
          <a:custGeom>
            <a:avLst/>
            <a:gdLst>
              <a:gd name="connsiteX0" fmla="*/ 156856 w 156856"/>
              <a:gd name="connsiteY0" fmla="*/ 0 h 973454"/>
              <a:gd name="connsiteX1" fmla="*/ 156856 w 156856"/>
              <a:gd name="connsiteY1" fmla="*/ 1 h 973454"/>
              <a:gd name="connsiteX2" fmla="*/ 153242 w 156856"/>
              <a:gd name="connsiteY2" fmla="*/ 9917 h 973454"/>
              <a:gd name="connsiteX3" fmla="*/ 50427 w 156856"/>
              <a:gd name="connsiteY3" fmla="*/ 416900 h 973454"/>
              <a:gd name="connsiteX4" fmla="*/ 12607 w 156856"/>
              <a:gd name="connsiteY4" fmla="*/ 690961 h 973454"/>
              <a:gd name="connsiteX5" fmla="*/ 0 w 156856"/>
              <a:gd name="connsiteY5" fmla="*/ 973454 h 973454"/>
              <a:gd name="connsiteX6" fmla="*/ 0 w 156856"/>
              <a:gd name="connsiteY6" fmla="*/ 973453 h 973454"/>
              <a:gd name="connsiteX7" fmla="*/ 50427 w 156856"/>
              <a:gd name="connsiteY7" fmla="*/ 416899 h 973454"/>
              <a:gd name="connsiteX8" fmla="*/ 153242 w 156856"/>
              <a:gd name="connsiteY8" fmla="*/ 9916 h 973454"/>
              <a:gd name="connsiteX9" fmla="*/ 156856 w 156856"/>
              <a:gd name="connsiteY9" fmla="*/ 0 h 973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6856" h="973454">
                <a:moveTo>
                  <a:pt x="156856" y="0"/>
                </a:moveTo>
                <a:lnTo>
                  <a:pt x="156856" y="1"/>
                </a:lnTo>
                <a:lnTo>
                  <a:pt x="153242" y="9917"/>
                </a:lnTo>
                <a:cubicBezTo>
                  <a:pt x="110135" y="141874"/>
                  <a:pt x="75641" y="277763"/>
                  <a:pt x="50427" y="416900"/>
                </a:cubicBezTo>
                <a:cubicBezTo>
                  <a:pt x="33618" y="506848"/>
                  <a:pt x="21012" y="598203"/>
                  <a:pt x="12607" y="690961"/>
                </a:cubicBezTo>
                <a:lnTo>
                  <a:pt x="0" y="973454"/>
                </a:lnTo>
                <a:lnTo>
                  <a:pt x="0" y="973453"/>
                </a:lnTo>
                <a:cubicBezTo>
                  <a:pt x="0" y="782313"/>
                  <a:pt x="16809" y="596796"/>
                  <a:pt x="50427" y="416899"/>
                </a:cubicBezTo>
                <a:cubicBezTo>
                  <a:pt x="75641" y="277762"/>
                  <a:pt x="110135" y="141873"/>
                  <a:pt x="153242" y="9916"/>
                </a:cubicBezTo>
                <a:lnTo>
                  <a:pt x="156856" y="0"/>
                </a:lnTo>
                <a:close/>
              </a:path>
            </a:pathLst>
          </a:custGeom>
          <a:solidFill>
            <a:srgbClr val="E0E0E0">
              <a:alpha val="75000"/>
            </a:srgbClr>
          </a:solidFill>
          <a:ln w="2365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BDC63BC-A7FC-4E8E-9326-4394A5D2A4B3}"/>
              </a:ext>
            </a:extLst>
          </p:cNvPr>
          <p:cNvSpPr/>
          <p:nvPr/>
        </p:nvSpPr>
        <p:spPr>
          <a:xfrm>
            <a:off x="13316532" y="3553574"/>
            <a:ext cx="156856" cy="973453"/>
          </a:xfrm>
          <a:custGeom>
            <a:avLst/>
            <a:gdLst>
              <a:gd name="connsiteX0" fmla="*/ 156856 w 156856"/>
              <a:gd name="connsiteY0" fmla="*/ 0 h 973453"/>
              <a:gd name="connsiteX1" fmla="*/ 156856 w 156856"/>
              <a:gd name="connsiteY1" fmla="*/ 1 h 973453"/>
              <a:gd name="connsiteX2" fmla="*/ 153242 w 156856"/>
              <a:gd name="connsiteY2" fmla="*/ 9916 h 973453"/>
              <a:gd name="connsiteX3" fmla="*/ 50427 w 156856"/>
              <a:gd name="connsiteY3" fmla="*/ 416900 h 973453"/>
              <a:gd name="connsiteX4" fmla="*/ 12607 w 156856"/>
              <a:gd name="connsiteY4" fmla="*/ 690960 h 973453"/>
              <a:gd name="connsiteX5" fmla="*/ 0 w 156856"/>
              <a:gd name="connsiteY5" fmla="*/ 973453 h 973453"/>
              <a:gd name="connsiteX6" fmla="*/ 0 w 156856"/>
              <a:gd name="connsiteY6" fmla="*/ 973452 h 973453"/>
              <a:gd name="connsiteX7" fmla="*/ 50427 w 156856"/>
              <a:gd name="connsiteY7" fmla="*/ 416898 h 973453"/>
              <a:gd name="connsiteX8" fmla="*/ 153242 w 156856"/>
              <a:gd name="connsiteY8" fmla="*/ 9915 h 973453"/>
              <a:gd name="connsiteX9" fmla="*/ 156856 w 156856"/>
              <a:gd name="connsiteY9" fmla="*/ 0 h 97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6856" h="973453">
                <a:moveTo>
                  <a:pt x="156856" y="0"/>
                </a:moveTo>
                <a:lnTo>
                  <a:pt x="156856" y="1"/>
                </a:lnTo>
                <a:lnTo>
                  <a:pt x="153242" y="9916"/>
                </a:lnTo>
                <a:cubicBezTo>
                  <a:pt x="110135" y="141874"/>
                  <a:pt x="75641" y="277762"/>
                  <a:pt x="50427" y="416900"/>
                </a:cubicBezTo>
                <a:cubicBezTo>
                  <a:pt x="33618" y="506847"/>
                  <a:pt x="21012" y="598202"/>
                  <a:pt x="12607" y="690960"/>
                </a:cubicBezTo>
                <a:lnTo>
                  <a:pt x="0" y="973453"/>
                </a:lnTo>
                <a:lnTo>
                  <a:pt x="0" y="973452"/>
                </a:lnTo>
                <a:cubicBezTo>
                  <a:pt x="0" y="782312"/>
                  <a:pt x="16809" y="596795"/>
                  <a:pt x="50427" y="416898"/>
                </a:cubicBezTo>
                <a:cubicBezTo>
                  <a:pt x="75641" y="277761"/>
                  <a:pt x="110135" y="141872"/>
                  <a:pt x="153242" y="9915"/>
                </a:cubicBezTo>
                <a:lnTo>
                  <a:pt x="156856" y="0"/>
                </a:lnTo>
                <a:close/>
              </a:path>
            </a:pathLst>
          </a:custGeom>
          <a:solidFill>
            <a:srgbClr val="E0E0E0">
              <a:alpha val="75000"/>
            </a:srgbClr>
          </a:solidFill>
          <a:ln w="2365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Title 3">
            <a:extLst>
              <a:ext uri="{FF2B5EF4-FFF2-40B4-BE49-F238E27FC236}">
                <a16:creationId xmlns:a16="http://schemas.microsoft.com/office/drawing/2014/main" id="{5F64C87F-FBBD-4F3F-8299-31DD5B601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04024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99111" y="1622878"/>
            <a:ext cx="16932039" cy="744073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447963" indent="-447963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1pPr>
            <a:lvl2pPr marL="961135" indent="-481982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2440CA13-DDE4-4D45-8F5D-76FEEB63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8424660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D7420CA5-1DA0-47C8-AEF7-E30DD3FB1B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8650" y="0"/>
            <a:ext cx="4962525" cy="10287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4" name="Title 3"/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99111" y="1622878"/>
            <a:ext cx="16932039" cy="744073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447963" indent="-447963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1pPr>
            <a:lvl2pPr marL="961135" indent="-481982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27" name="Group 4">
            <a:extLst>
              <a:ext uri="{FF2B5EF4-FFF2-40B4-BE49-F238E27FC236}">
                <a16:creationId xmlns:a16="http://schemas.microsoft.com/office/drawing/2014/main" id="{120BB455-A698-4A36-96A1-AF964F4DFF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895FC625-9A3E-4BE4-9EFC-5E7458BFE11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AACF0282-0B5F-4AE5-BC79-07852DA4D7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D78E5AC4-E072-410C-A584-525A5FC7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Rectangle 7">
              <a:extLst>
                <a:ext uri="{FF2B5EF4-FFF2-40B4-BE49-F238E27FC236}">
                  <a16:creationId xmlns:a16="http://schemas.microsoft.com/office/drawing/2014/main" id="{8814E6E7-BEAB-4476-AC6C-F97F67B691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38AB8AF8-290B-44BB-B337-64194228C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Rectangle 9">
              <a:extLst>
                <a:ext uri="{FF2B5EF4-FFF2-40B4-BE49-F238E27FC236}">
                  <a16:creationId xmlns:a16="http://schemas.microsoft.com/office/drawing/2014/main" id="{0F6263CE-E880-4CDD-9A85-1989EF22AB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Rectangle 10">
              <a:extLst>
                <a:ext uri="{FF2B5EF4-FFF2-40B4-BE49-F238E27FC236}">
                  <a16:creationId xmlns:a16="http://schemas.microsoft.com/office/drawing/2014/main" id="{E64A8CA4-1EE0-4F29-B495-A2B6EA100F9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D6C70D37-5952-4F8C-BDDF-DEE637C7D7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DBF81349-98B0-4E9D-B848-1B92601A3D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40BD75C2-4838-4AB9-A830-B4912C51F6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5D266192-2D1F-46E4-AEC8-B9AE68AAAD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77CDAB7D-AF13-4F2D-9855-1F5BF8CF80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Rectangle 16">
              <a:extLst>
                <a:ext uri="{FF2B5EF4-FFF2-40B4-BE49-F238E27FC236}">
                  <a16:creationId xmlns:a16="http://schemas.microsoft.com/office/drawing/2014/main" id="{924A3365-870A-4D12-B2F0-28DC9F48FB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F060E852-FA0C-4CDE-AC75-B4BB4BBFEB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8">
              <a:extLst>
                <a:ext uri="{FF2B5EF4-FFF2-40B4-BE49-F238E27FC236}">
                  <a16:creationId xmlns:a16="http://schemas.microsoft.com/office/drawing/2014/main" id="{4977AAA4-EFC4-4075-8894-02BA53FF18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0CE990DC-949A-4D32-AF18-1776DE5BD2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8E2EFC3E-A87F-4A1F-B4E8-39650D2749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389335675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 Two column">
    <p:bg>
      <p:bgPr>
        <a:solidFill>
          <a:schemeClr val="bg1">
            <a:alpha val="7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91309" y="1644650"/>
            <a:ext cx="5396226" cy="746669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509595" y="1644651"/>
            <a:ext cx="11233113" cy="746669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447963" indent="-447963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1pPr>
            <a:lvl2pPr marL="961135" indent="-481982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CC7C936-9B73-4227-BF6D-8FC98A3B5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1793368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97642" y="1637657"/>
            <a:ext cx="16932039" cy="74600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457200" indent="-457200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1pPr>
            <a:lvl2pPr marL="936353" indent="-457200">
              <a:buFont typeface="Wingdings" panose="05000000000000000000" pitchFamily="2" charset="2"/>
              <a:buChar char="§"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A82A4DDA-12F4-45F9-86BE-15C158BB8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9081211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9517360" y="1828800"/>
            <a:ext cx="8158367" cy="7327902"/>
          </a:xfrm>
          <a:solidFill>
            <a:schemeClr val="tx1">
              <a:lumMod val="20000"/>
              <a:lumOff val="80000"/>
              <a:alpha val="76863"/>
            </a:schemeClr>
          </a:solidFill>
        </p:spPr>
        <p:txBody>
          <a:bodyPr tIns="1152000">
            <a:normAutofit/>
          </a:bodyPr>
          <a:lstStyle>
            <a:lvl1pPr marL="447963" indent="-447963">
              <a:lnSpc>
                <a:spcPts val="3356"/>
              </a:lnSpc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2798">
                <a:solidFill>
                  <a:schemeClr val="tx2"/>
                </a:solidFill>
              </a:defRPr>
            </a:lvl1pPr>
            <a:lvl2pPr marL="1078474" indent="-456765">
              <a:buClr>
                <a:schemeClr val="tx2"/>
              </a:buClr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28961" y="1828800"/>
            <a:ext cx="8158367" cy="7327902"/>
          </a:xfrm>
          <a:solidFill>
            <a:schemeClr val="tx1">
              <a:lumMod val="20000"/>
              <a:lumOff val="80000"/>
              <a:alpha val="76863"/>
            </a:schemeClr>
          </a:solidFill>
        </p:spPr>
        <p:txBody>
          <a:bodyPr tIns="1152000">
            <a:normAutofit/>
          </a:bodyPr>
          <a:lstStyle>
            <a:lvl1pPr marL="447963" indent="-447963">
              <a:lnSpc>
                <a:spcPct val="100000"/>
              </a:lnSpc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2798">
                <a:solidFill>
                  <a:schemeClr val="tx2"/>
                </a:solidFill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1" y="2031187"/>
            <a:ext cx="9036424" cy="792277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805684" indent="0">
              <a:buFontTx/>
              <a:buNone/>
              <a:defRPr lang="en-US" sz="3197" dirty="0" smtClean="0">
                <a:solidFill>
                  <a:schemeClr val="bg1"/>
                </a:solidFill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9338109" y="2031187"/>
            <a:ext cx="8949892" cy="792277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179217" indent="0">
              <a:buFontTx/>
              <a:buNone/>
              <a:defRPr lang="en-US" sz="3197" dirty="0" smtClean="0">
                <a:solidFill>
                  <a:schemeClr val="bg1"/>
                </a:solidFill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2BCB6F4C-2966-4CAA-9257-2D0931160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8618206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39"/>
          </p:nvPr>
        </p:nvSpPr>
        <p:spPr>
          <a:xfrm>
            <a:off x="12345441" y="1664679"/>
            <a:ext cx="5662353" cy="7492022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1368000" rIns="108000" bIns="81610" numCol="1" anchor="t" anchorCtr="0" compatLnSpc="1">
            <a:prstTxWarp prst="textNoShape">
              <a:avLst/>
            </a:prstTxWarp>
          </a:bodyPr>
          <a:lstStyle>
            <a:lvl1pPr marL="269619" indent="-269619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lang="en-US" sz="23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00843" indent="-279134" defTabSz="723212">
              <a:buFont typeface="Wingdings" panose="05000000000000000000" pitchFamily="2" charset="2"/>
              <a:buChar char="§"/>
              <a:defRPr lang="en-US" sz="1998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69619" lvl="1" indent="-269619">
              <a:lnSpc>
                <a:spcPct val="100000"/>
              </a:lnSpc>
            </a:pPr>
            <a:r>
              <a:rPr lang="en-US"/>
              <a:t>Secon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40"/>
          </p:nvPr>
        </p:nvSpPr>
        <p:spPr>
          <a:xfrm>
            <a:off x="342899" y="1664679"/>
            <a:ext cx="5715637" cy="7492022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1368000" rIns="108000" bIns="81610" numCol="1" anchor="t" anchorCtr="0" compatLnSpc="1">
            <a:prstTxWarp prst="textNoShape">
              <a:avLst/>
            </a:prstTxWarp>
          </a:bodyPr>
          <a:lstStyle>
            <a:lvl1pPr marL="342900" indent="-342900">
              <a:lnSpc>
                <a:spcPts val="2597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 lang="en-US" sz="23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4609" indent="-342900" defTabSz="723212">
              <a:buFont typeface="Wingdings" panose="05000000000000000000" pitchFamily="2" charset="2"/>
              <a:buChar char="§"/>
              <a:defRPr lang="en-US" sz="1998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69619" lvl="1" indent="-269619">
              <a:lnSpc>
                <a:spcPct val="100000"/>
              </a:lnSpc>
            </a:pPr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38"/>
          </p:nvPr>
        </p:nvSpPr>
        <p:spPr>
          <a:xfrm>
            <a:off x="6370812" y="1664679"/>
            <a:ext cx="5662353" cy="7492022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1368000" rIns="108000" bIns="81610" numCol="1" anchor="t" anchorCtr="0" compatLnSpc="1">
            <a:prstTxWarp prst="textNoShape">
              <a:avLst/>
            </a:prstTxWarp>
          </a:bodyPr>
          <a:lstStyle>
            <a:lvl1pPr marL="269619" indent="-269619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lang="en-US" sz="23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00843" indent="-279134" defTabSz="723212">
              <a:buFont typeface="Wingdings" panose="05000000000000000000" pitchFamily="2" charset="2"/>
              <a:buChar char="§"/>
              <a:defRPr lang="en-US" sz="1998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69619" lvl="1" indent="-269619">
              <a:lnSpc>
                <a:spcPct val="100000"/>
              </a:lnSpc>
            </a:pPr>
            <a:r>
              <a:rPr lang="en-US"/>
              <a:t>Second level</a:t>
            </a:r>
          </a:p>
        </p:txBody>
      </p:sp>
      <p:sp>
        <p:nvSpPr>
          <p:cNvPr id="15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865284"/>
            <a:ext cx="6141234" cy="914400"/>
          </a:xfr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800000" scaled="0"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187147" indent="0">
              <a:spcBef>
                <a:spcPts val="0"/>
              </a:spcBef>
              <a:spcAft>
                <a:spcPts val="0"/>
              </a:spcAft>
              <a:buFontTx/>
              <a:buNone/>
              <a:defRPr lang="en-US" sz="2798" dirty="0" smtClean="0">
                <a:solidFill>
                  <a:schemeClr val="bg1"/>
                </a:solidFill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Level 1 Hea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6270223" y="1865284"/>
            <a:ext cx="5874534" cy="914400"/>
          </a:xfr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en-US" sz="2798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l" defTabSz="1413133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9EDB"/>
              </a:buClr>
              <a:buSzPct val="100000"/>
              <a:buFontTx/>
              <a:buNone/>
            </a:pPr>
            <a:r>
              <a:rPr lang="en-US"/>
              <a:t>Level 1 Header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12273744" y="1865284"/>
            <a:ext cx="6017432" cy="914400"/>
          </a:xfr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800000" scaled="0"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en-US" sz="2798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l" defTabSz="1413133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9EDB"/>
              </a:buClr>
              <a:buSzPct val="100000"/>
              <a:buFontTx/>
              <a:buNone/>
            </a:pPr>
            <a:r>
              <a:rPr lang="en-US"/>
              <a:t>Level 1 Header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2170945-DC6A-4B83-B853-D756A7373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5995651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 Two co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1B38FAD4-F6A3-4D2B-9237-EF024DDFC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195" y="503499"/>
            <a:ext cx="16932039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619A7A34-AB27-4C44-9ED7-B4BA43B6B3BF}"/>
              </a:ext>
            </a:extLst>
          </p:cNvPr>
          <p:cNvSpPr>
            <a:spLocks noGrp="1"/>
          </p:cNvSpPr>
          <p:nvPr>
            <p:ph sz="quarter" idx="56"/>
          </p:nvPr>
        </p:nvSpPr>
        <p:spPr>
          <a:xfrm>
            <a:off x="716615" y="2550590"/>
            <a:ext cx="8176589" cy="2658951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144000" rIns="108000" bIns="81610" numCol="1" anchor="t" anchorCtr="0" compatLnSpc="1">
            <a:prstTxWarp prst="textNoShape">
              <a:avLst/>
            </a:prstTxWarp>
            <a:noAutofit/>
          </a:bodyPr>
          <a:lstStyle>
            <a:lvl1pPr marL="269619" indent="-269619" rtl="0">
              <a:lnSpc>
                <a:spcPts val="2597"/>
              </a:lnSpc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4609" indent="-342900" defTabSz="723212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1998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69619" lvl="1" indent="-269619">
              <a:lnSpc>
                <a:spcPct val="100000"/>
              </a:lnSpc>
            </a:pPr>
            <a:r>
              <a:rPr lang="en-US"/>
              <a:t>Secon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AFF9412A-01EA-4009-BB46-9A23B995FEA5}"/>
              </a:ext>
            </a:extLst>
          </p:cNvPr>
          <p:cNvSpPr>
            <a:spLocks noGrp="1"/>
          </p:cNvSpPr>
          <p:nvPr>
            <p:ph sz="quarter" idx="60"/>
          </p:nvPr>
        </p:nvSpPr>
        <p:spPr>
          <a:xfrm>
            <a:off x="9457645" y="2550590"/>
            <a:ext cx="8176589" cy="2658951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144000" rIns="108000" bIns="81610" numCol="1" anchor="t" anchorCtr="0" compatLnSpc="1">
            <a:prstTxWarp prst="textNoShape">
              <a:avLst/>
            </a:prstTxWarp>
            <a:noAutofit/>
          </a:bodyPr>
          <a:lstStyle>
            <a:lvl1pPr marL="269619" indent="-269619" rtl="0">
              <a:lnSpc>
                <a:spcPts val="2597"/>
              </a:lnSpc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4609" indent="-342900" defTabSz="723212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1998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69619" lvl="1" indent="-269619">
              <a:lnSpc>
                <a:spcPct val="100000"/>
              </a:lnSpc>
            </a:pPr>
            <a:r>
              <a:rPr lang="en-US"/>
              <a:t>Secon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68745CFA-9E9A-4C46-A6BE-645DCD95E9B1}"/>
              </a:ext>
            </a:extLst>
          </p:cNvPr>
          <p:cNvSpPr>
            <a:spLocks noGrp="1"/>
          </p:cNvSpPr>
          <p:nvPr>
            <p:ph sz="quarter" idx="61"/>
          </p:nvPr>
        </p:nvSpPr>
        <p:spPr>
          <a:xfrm>
            <a:off x="716615" y="6452030"/>
            <a:ext cx="8176589" cy="2658951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144000" rIns="108000" bIns="81610" numCol="1" anchor="t" anchorCtr="0" compatLnSpc="1">
            <a:prstTxWarp prst="textNoShape">
              <a:avLst/>
            </a:prstTxWarp>
            <a:noAutofit/>
          </a:bodyPr>
          <a:lstStyle>
            <a:lvl1pPr marL="269619" indent="-269619" rtl="0">
              <a:lnSpc>
                <a:spcPts val="2597"/>
              </a:lnSpc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4609" indent="-342900" defTabSz="723212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1998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69619" lvl="1" indent="-269619">
              <a:lnSpc>
                <a:spcPct val="100000"/>
              </a:lnSpc>
            </a:pPr>
            <a:r>
              <a:rPr lang="en-US"/>
              <a:t>Secon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77CFC5E-9C78-4C49-BB33-3D67D0456875}"/>
              </a:ext>
            </a:extLst>
          </p:cNvPr>
          <p:cNvSpPr>
            <a:spLocks noGrp="1"/>
          </p:cNvSpPr>
          <p:nvPr>
            <p:ph sz="quarter" idx="62"/>
          </p:nvPr>
        </p:nvSpPr>
        <p:spPr>
          <a:xfrm>
            <a:off x="9457645" y="6452030"/>
            <a:ext cx="8176589" cy="2658951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144000" rIns="108000" bIns="81610" numCol="1" anchor="t" anchorCtr="0" compatLnSpc="1">
            <a:prstTxWarp prst="textNoShape">
              <a:avLst/>
            </a:prstTxWarp>
            <a:noAutofit/>
          </a:bodyPr>
          <a:lstStyle>
            <a:lvl1pPr marL="269619" indent="-269619" rtl="0">
              <a:lnSpc>
                <a:spcPts val="2597"/>
              </a:lnSpc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4609" indent="-342900" defTabSz="723212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1998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69619" lvl="1" indent="-269619">
              <a:lnSpc>
                <a:spcPct val="100000"/>
              </a:lnSpc>
            </a:pPr>
            <a:r>
              <a:rPr lang="en-US"/>
              <a:t>Second level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D351EF02-A6A6-45BA-B493-707DBC31323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16617" y="1614199"/>
            <a:ext cx="8175991" cy="900001"/>
          </a:xfrm>
          <a:gradFill>
            <a:gsLst>
              <a:gs pos="0">
                <a:schemeClr val="accent1"/>
              </a:gs>
              <a:gs pos="80000">
                <a:schemeClr val="accent2"/>
              </a:gs>
            </a:gsLst>
            <a:lin ang="10800000" scaled="1"/>
          </a:gradFill>
        </p:spPr>
        <p:txBody>
          <a:bodyPr lIns="180000" tIns="108000" rIns="144000" anchor="ctr" anchorCtr="0">
            <a:noAutofit/>
          </a:bodyPr>
          <a:lstStyle>
            <a:lvl1pPr marL="447250" indent="-4472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698" b="0" kern="1200" baseline="0" dirty="0" smtClean="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z="2798">
                <a:solidFill>
                  <a:schemeClr val="bg1"/>
                </a:solidFill>
              </a:rPr>
              <a:t>Click to edit Master text styles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57E9ACAF-435D-40D7-9866-826DB318D63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457646" y="1614199"/>
            <a:ext cx="8168960" cy="900001"/>
          </a:xfrm>
          <a:gradFill flip="none" rotWithShape="1">
            <a:gsLst>
              <a:gs pos="0">
                <a:schemeClr val="accent2"/>
              </a:gs>
              <a:gs pos="80000">
                <a:schemeClr val="accent1"/>
              </a:gs>
            </a:gsLst>
            <a:lin ang="0" scaled="1"/>
            <a:tileRect/>
          </a:gradFill>
        </p:spPr>
        <p:txBody>
          <a:bodyPr lIns="180000" tIns="108000" rIns="144000" anchor="ctr" anchorCtr="0">
            <a:noAutofit/>
          </a:bodyPr>
          <a:lstStyle>
            <a:lvl1pPr marL="0" indent="0" algn="l">
              <a:lnSpc>
                <a:spcPts val="2597"/>
              </a:lnSpc>
              <a:spcBef>
                <a:spcPts val="0"/>
              </a:spcBef>
              <a:buNone/>
              <a:defRPr lang="en-US" sz="2798" b="0" kern="1200" baseline="0" dirty="0" smtClean="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447538" lvl="0" indent="-447538" algn="l" defTabSz="141313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None/>
            </a:pPr>
            <a:r>
              <a:rPr lang="en-US" sz="2798">
                <a:solidFill>
                  <a:schemeClr val="bg1"/>
                </a:solidFill>
              </a:rPr>
              <a:t>Click to edit Master text styles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19C1F0BA-E7D4-489F-B8EC-F6F12C90D54E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716615" y="5518122"/>
            <a:ext cx="8176589" cy="900001"/>
          </a:xfrm>
          <a:gradFill>
            <a:gsLst>
              <a:gs pos="0">
                <a:schemeClr val="accent1"/>
              </a:gs>
              <a:gs pos="80000">
                <a:schemeClr val="accent2"/>
              </a:gs>
            </a:gsLst>
            <a:lin ang="10800000" scaled="1"/>
          </a:gradFill>
        </p:spPr>
        <p:txBody>
          <a:bodyPr lIns="180000" tIns="108000" rIns="14400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798" b="0" kern="1200" baseline="0" dirty="0" smtClean="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447538" lvl="0" indent="-447538" algn="l" defTabSz="141313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None/>
            </a:pPr>
            <a:r>
              <a:rPr lang="en-US" sz="2798">
                <a:solidFill>
                  <a:schemeClr val="bg1"/>
                </a:solidFill>
              </a:rPr>
              <a:t>Click to edit Master text styles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08EAE767-204C-4AEF-AC1B-61D401FFDE48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9457645" y="5518122"/>
            <a:ext cx="8176589" cy="900001"/>
          </a:xfrm>
          <a:gradFill flip="none" rotWithShape="1">
            <a:gsLst>
              <a:gs pos="0">
                <a:schemeClr val="accent2"/>
              </a:gs>
              <a:gs pos="80000">
                <a:schemeClr val="accent1"/>
              </a:gs>
            </a:gsLst>
            <a:lin ang="0" scaled="1"/>
            <a:tileRect/>
          </a:gradFill>
        </p:spPr>
        <p:txBody>
          <a:bodyPr lIns="180000" tIns="108000" rIns="144000" anchor="ctr" anchorCtr="0">
            <a:noAutofit/>
          </a:bodyPr>
          <a:lstStyle>
            <a:lvl1pPr marL="0" indent="0" algn="l">
              <a:lnSpc>
                <a:spcPts val="2597"/>
              </a:lnSpc>
              <a:spcBef>
                <a:spcPts val="0"/>
              </a:spcBef>
              <a:buNone/>
              <a:defRPr lang="en-US" sz="2798" b="0" kern="1200" baseline="0" dirty="0" smtClean="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447538" lvl="0" indent="-447538" algn="l" defTabSz="141313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None/>
            </a:pPr>
            <a:r>
              <a:rPr lang="en-US" sz="2798">
                <a:solidFill>
                  <a:schemeClr val="bg1"/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4323246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Content Placeholder 2"/>
          <p:cNvSpPr>
            <a:spLocks noGrp="1"/>
          </p:cNvSpPr>
          <p:nvPr>
            <p:ph sz="quarter" idx="63" hasCustomPrompt="1"/>
          </p:nvPr>
        </p:nvSpPr>
        <p:spPr>
          <a:xfrm>
            <a:off x="4597399" y="1729077"/>
            <a:ext cx="13693775" cy="2373023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52000" tIns="144000" rIns="108000" bIns="81610" numCol="1" anchor="t" anchorCtr="0" compatLnSpc="1">
            <a:prstTxWarp prst="textNoShape">
              <a:avLst/>
            </a:prstTxWarp>
          </a:bodyPr>
          <a:lstStyle>
            <a:lvl1pPr marL="457200" indent="-457200" rtl="0">
              <a:lnSpc>
                <a:spcPts val="2698"/>
              </a:lnSpc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4609" indent="-342900" defTabSz="723212" rtl="0">
              <a:lnSpc>
                <a:spcPts val="2397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 lang="en-US" sz="2397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900843" lvl="1" indent="-279134"/>
            <a:r>
              <a:rPr lang="en-US"/>
              <a:t>Secon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998018"/>
            <a:ext cx="5171608" cy="1732511"/>
          </a:xfrm>
          <a:solidFill>
            <a:schemeClr val="bg1"/>
          </a:solidFill>
          <a:ln>
            <a:noFill/>
          </a:ln>
        </p:spPr>
        <p:txBody>
          <a:bodyPr vert="horz" wrap="square" lIns="288000" tIns="81610" rIns="180000" bIns="81610" numCol="1" anchor="ctr" anchorCtr="0" compatLnSpc="1">
            <a:prstTxWarp prst="textNoShape">
              <a:avLst/>
            </a:prstTxWarp>
          </a:bodyPr>
          <a:lstStyle>
            <a:lvl1pPr marL="1078474" indent="-575716">
              <a:lnSpc>
                <a:spcPts val="3197"/>
              </a:lnSpc>
              <a:spcBef>
                <a:spcPts val="600"/>
              </a:spcBef>
              <a:buFontTx/>
              <a:buNone/>
              <a:defRPr lang="en-US" sz="3197" b="0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503522" lvl="0" indent="0" algn="l" defTabSz="1413133" rtl="0" eaLnBrk="0" fontAlgn="base" hangingPunct="0">
              <a:lnSpc>
                <a:spcPts val="3197"/>
              </a:lnSpc>
              <a:spcBef>
                <a:spcPts val="600"/>
              </a:spcBef>
              <a:spcAft>
                <a:spcPct val="0"/>
              </a:spcAft>
              <a:buClr>
                <a:srgbClr val="009EDB"/>
              </a:buClr>
              <a:buSzPct val="100000"/>
              <a:buFontTx/>
              <a:buNone/>
            </a:pPr>
            <a:r>
              <a:rPr lang="en-US"/>
              <a:t>Level 1 Head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3B6F273-875C-44AC-8348-25F2D19140A6}"/>
              </a:ext>
            </a:extLst>
          </p:cNvPr>
          <p:cNvSpPr/>
          <p:nvPr/>
        </p:nvSpPr>
        <p:spPr>
          <a:xfrm flipV="1">
            <a:off x="0" y="3775734"/>
            <a:ext cx="4584699" cy="14717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86C71FF2-241E-4C4A-9EEE-E75FC5C2399F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4597399" y="4225540"/>
            <a:ext cx="13693775" cy="2373023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52000" tIns="144000" rIns="108000" bIns="81610" numCol="1" anchor="t" anchorCtr="0" compatLnSpc="1">
            <a:prstTxWarp prst="textNoShape">
              <a:avLst/>
            </a:prstTxWarp>
          </a:bodyPr>
          <a:lstStyle>
            <a:lvl1pPr marL="457200" indent="-457200" rtl="0">
              <a:lnSpc>
                <a:spcPts val="2698"/>
              </a:lnSpc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4609" indent="-342900" defTabSz="723212" rtl="0">
              <a:lnSpc>
                <a:spcPts val="2397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 lang="en-US" sz="2397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900843" lvl="1" indent="-279134"/>
            <a:r>
              <a:rPr lang="en-US"/>
              <a:t>Second level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DE87159-B490-42CA-9D2B-1DF8FC43383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0" y="4494481"/>
            <a:ext cx="5171608" cy="1732511"/>
          </a:xfrm>
          <a:solidFill>
            <a:schemeClr val="bg1"/>
          </a:solidFill>
          <a:ln>
            <a:noFill/>
          </a:ln>
        </p:spPr>
        <p:txBody>
          <a:bodyPr vert="horz" wrap="square" lIns="288000" tIns="81610" rIns="180000" bIns="81610" numCol="1" anchor="ctr" anchorCtr="0" compatLnSpc="1">
            <a:prstTxWarp prst="textNoShape">
              <a:avLst/>
            </a:prstTxWarp>
          </a:bodyPr>
          <a:lstStyle>
            <a:lvl1pPr marL="1078474" indent="-575716">
              <a:lnSpc>
                <a:spcPts val="3197"/>
              </a:lnSpc>
              <a:spcBef>
                <a:spcPts val="600"/>
              </a:spcBef>
              <a:buFontTx/>
              <a:buNone/>
              <a:defRPr lang="en-US" sz="3197" b="0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503522" lvl="0" indent="0" algn="l" defTabSz="1413133" rtl="0" eaLnBrk="0" fontAlgn="base" hangingPunct="0">
              <a:lnSpc>
                <a:spcPts val="3197"/>
              </a:lnSpc>
              <a:spcBef>
                <a:spcPts val="600"/>
              </a:spcBef>
              <a:spcAft>
                <a:spcPct val="0"/>
              </a:spcAft>
              <a:buClr>
                <a:srgbClr val="009EDB"/>
              </a:buClr>
              <a:buSzPct val="100000"/>
              <a:buFontTx/>
              <a:buNone/>
            </a:pPr>
            <a:r>
              <a:rPr lang="en-US"/>
              <a:t>Level 1 Header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A8F6F9E-6473-435A-8365-FC61F9C810E9}"/>
              </a:ext>
            </a:extLst>
          </p:cNvPr>
          <p:cNvSpPr/>
          <p:nvPr/>
        </p:nvSpPr>
        <p:spPr>
          <a:xfrm flipV="1">
            <a:off x="0" y="6272197"/>
            <a:ext cx="4584699" cy="14717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236AF64C-1E1E-45A7-89B0-D00155B75B65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4597400" y="6740577"/>
            <a:ext cx="13693775" cy="2373023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52000" tIns="144000" rIns="108000" bIns="81610" numCol="1" anchor="t" anchorCtr="0" compatLnSpc="1">
            <a:prstTxWarp prst="textNoShape">
              <a:avLst/>
            </a:prstTxWarp>
          </a:bodyPr>
          <a:lstStyle>
            <a:lvl1pPr marL="457200" indent="-457200" rtl="0">
              <a:lnSpc>
                <a:spcPts val="2698"/>
              </a:lnSpc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64609" indent="-342900" defTabSz="723212" rtl="0">
              <a:lnSpc>
                <a:spcPts val="2397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 lang="en-US" sz="2397" dirty="0" smtClean="0"/>
            </a:lvl2pPr>
          </a:lstStyle>
          <a:p>
            <a:pPr marL="269619" lvl="0" indent="-269619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900843" lvl="1" indent="-279134"/>
            <a:r>
              <a:rPr lang="en-US"/>
              <a:t>Second level</a:t>
            </a:r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BED11DB0-6EA9-4C19-8FD4-0FB89A35FD9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" y="7009518"/>
            <a:ext cx="5171608" cy="1732511"/>
          </a:xfrm>
          <a:solidFill>
            <a:schemeClr val="bg1"/>
          </a:solidFill>
          <a:ln>
            <a:noFill/>
          </a:ln>
        </p:spPr>
        <p:txBody>
          <a:bodyPr vert="horz" wrap="square" lIns="288000" tIns="81610" rIns="180000" bIns="81610" numCol="1" anchor="ctr" anchorCtr="0" compatLnSpc="1">
            <a:prstTxWarp prst="textNoShape">
              <a:avLst/>
            </a:prstTxWarp>
          </a:bodyPr>
          <a:lstStyle>
            <a:lvl1pPr marL="1078474" indent="-575716">
              <a:lnSpc>
                <a:spcPts val="3197"/>
              </a:lnSpc>
              <a:spcBef>
                <a:spcPts val="600"/>
              </a:spcBef>
              <a:buFontTx/>
              <a:buNone/>
              <a:defRPr lang="en-US" sz="3197" b="0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503522" lvl="0" indent="0" algn="l" defTabSz="1413133" rtl="0" eaLnBrk="0" fontAlgn="base" hangingPunct="0">
              <a:lnSpc>
                <a:spcPts val="3197"/>
              </a:lnSpc>
              <a:spcBef>
                <a:spcPts val="600"/>
              </a:spcBef>
              <a:spcAft>
                <a:spcPct val="0"/>
              </a:spcAft>
              <a:buClr>
                <a:srgbClr val="009EDB"/>
              </a:buClr>
              <a:buSzPct val="100000"/>
              <a:buFontTx/>
              <a:buNone/>
            </a:pPr>
            <a:r>
              <a:rPr lang="en-US"/>
              <a:t>Level 1 Heade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5AA1C3F-7F17-4C5C-9DED-40F235CC5CBC}"/>
              </a:ext>
            </a:extLst>
          </p:cNvPr>
          <p:cNvSpPr/>
          <p:nvPr/>
        </p:nvSpPr>
        <p:spPr>
          <a:xfrm flipV="1">
            <a:off x="1" y="8787234"/>
            <a:ext cx="4584699" cy="14717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8431106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63" hasCustomPrompt="1"/>
          </p:nvPr>
        </p:nvSpPr>
        <p:spPr>
          <a:xfrm>
            <a:off x="4432299" y="1802167"/>
            <a:ext cx="13858875" cy="1677633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0000" tIns="144000" rIns="108000" bIns="81610" numCol="1" anchor="ctr" anchorCtr="0" compatLnSpc="1">
            <a:prstTxWarp prst="textNoShape">
              <a:avLst/>
            </a:prstTxWarp>
            <a:normAutofit/>
          </a:bodyPr>
          <a:lstStyle>
            <a:lvl1pPr marL="457200" indent="-457200" algn="l" rtl="0">
              <a:lnSpc>
                <a:spcPts val="2798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/>
              <a:defRPr lang="en-US" sz="2798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21709" indent="-279134" defTabSz="723212" rtl="0">
              <a:spcAft>
                <a:spcPts val="0"/>
              </a:spcAft>
              <a:defRPr lang="en-US" sz="2397" dirty="0" smtClean="0"/>
            </a:lvl2pPr>
          </a:lstStyle>
          <a:p>
            <a:pPr marL="269619" lvl="0" indent="-269619" algn="l" defTabSz="1413133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CC987B80-FD98-4E5F-B9DC-FE0E1B82A6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2" y="2019323"/>
            <a:ext cx="5171608" cy="1108627"/>
          </a:xfrm>
          <a:solidFill>
            <a:schemeClr val="bg1"/>
          </a:solidFill>
          <a:ln>
            <a:noFill/>
          </a:ln>
        </p:spPr>
        <p:txBody>
          <a:bodyPr vert="horz" wrap="square" lIns="288000" tIns="81610" rIns="108000" bIns="81610" numCol="1" anchor="ctr" anchorCtr="0" compatLnSpc="1">
            <a:prstTxWarp prst="textNoShape">
              <a:avLst/>
            </a:prstTxWarp>
          </a:bodyPr>
          <a:lstStyle>
            <a:lvl1pPr marL="502760" indent="126879">
              <a:lnSpc>
                <a:spcPts val="3197"/>
              </a:lnSpc>
              <a:spcBef>
                <a:spcPts val="0"/>
              </a:spcBef>
              <a:buFontTx/>
              <a:buNone/>
              <a:tabLst>
                <a:tab pos="629638" algn="l"/>
              </a:tabLst>
              <a:defRPr lang="en-US" sz="3197" b="0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503522" lvl="0" indent="0" algn="l" defTabSz="1413133" rtl="0" eaLnBrk="0" fontAlgn="base" hangingPunct="0">
              <a:lnSpc>
                <a:spcPts val="3197"/>
              </a:lnSpc>
              <a:spcBef>
                <a:spcPts val="600"/>
              </a:spcBef>
              <a:spcAft>
                <a:spcPct val="0"/>
              </a:spcAft>
              <a:buClr>
                <a:srgbClr val="009EDB"/>
              </a:buClr>
              <a:buSzPct val="100000"/>
              <a:buFontTx/>
              <a:buNone/>
            </a:pPr>
            <a:r>
              <a:rPr lang="en-US"/>
              <a:t>Level 1 Header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A2E41F6-3296-4E79-9C75-17A0F4CA3947}"/>
              </a:ext>
            </a:extLst>
          </p:cNvPr>
          <p:cNvSpPr/>
          <p:nvPr/>
        </p:nvSpPr>
        <p:spPr>
          <a:xfrm>
            <a:off x="-1" y="3129780"/>
            <a:ext cx="4457701" cy="17221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4112D3D2-D7EB-46E6-B052-D272AC1C15AE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4432299" y="3608056"/>
            <a:ext cx="13858875" cy="1677633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0000" tIns="144000" rIns="108000" bIns="81610" numCol="1" anchor="ctr" anchorCtr="0" compatLnSpc="1">
            <a:prstTxWarp prst="textNoShape">
              <a:avLst/>
            </a:prstTxWarp>
            <a:normAutofit/>
          </a:bodyPr>
          <a:lstStyle>
            <a:lvl1pPr marL="457200" indent="-457200" algn="l" rtl="0">
              <a:lnSpc>
                <a:spcPts val="2798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/>
              <a:defRPr lang="en-US" sz="2798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21709" indent="-279134" defTabSz="723212" rtl="0">
              <a:spcAft>
                <a:spcPts val="0"/>
              </a:spcAft>
              <a:defRPr lang="en-US" sz="2397" dirty="0" smtClean="0"/>
            </a:lvl2pPr>
          </a:lstStyle>
          <a:p>
            <a:pPr marL="269619" lvl="0" indent="-269619" algn="l" defTabSz="1413133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E81AE8AA-7948-4D86-BC72-39BB0963F725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-2" y="3825212"/>
            <a:ext cx="5171608" cy="1108627"/>
          </a:xfrm>
          <a:solidFill>
            <a:schemeClr val="bg1"/>
          </a:solidFill>
          <a:ln>
            <a:noFill/>
          </a:ln>
        </p:spPr>
        <p:txBody>
          <a:bodyPr vert="horz" wrap="square" lIns="288000" tIns="81610" rIns="108000" bIns="81610" numCol="1" anchor="ctr" anchorCtr="0" compatLnSpc="1">
            <a:prstTxWarp prst="textNoShape">
              <a:avLst/>
            </a:prstTxWarp>
          </a:bodyPr>
          <a:lstStyle>
            <a:lvl1pPr marL="502760" indent="126879">
              <a:lnSpc>
                <a:spcPts val="3197"/>
              </a:lnSpc>
              <a:spcBef>
                <a:spcPts val="0"/>
              </a:spcBef>
              <a:buFontTx/>
              <a:buNone/>
              <a:tabLst>
                <a:tab pos="629638" algn="l"/>
              </a:tabLst>
              <a:defRPr lang="en-US" sz="3197" b="0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503522" lvl="0" indent="0" algn="l" defTabSz="1413133" rtl="0" eaLnBrk="0" fontAlgn="base" hangingPunct="0">
              <a:lnSpc>
                <a:spcPts val="3197"/>
              </a:lnSpc>
              <a:spcBef>
                <a:spcPts val="600"/>
              </a:spcBef>
              <a:spcAft>
                <a:spcPct val="0"/>
              </a:spcAft>
              <a:buClr>
                <a:srgbClr val="009EDB"/>
              </a:buClr>
              <a:buSzPct val="100000"/>
              <a:buFontTx/>
              <a:buNone/>
            </a:pPr>
            <a:r>
              <a:rPr lang="en-US"/>
              <a:t>Level 1 Heade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DFEF2DF-63F1-4CC9-927F-A9CFE930DDAE}"/>
              </a:ext>
            </a:extLst>
          </p:cNvPr>
          <p:cNvSpPr/>
          <p:nvPr/>
        </p:nvSpPr>
        <p:spPr>
          <a:xfrm>
            <a:off x="-1" y="4935669"/>
            <a:ext cx="4457701" cy="17221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26FC2CE4-ABF1-46C7-BD72-2DACBD1E2FE5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4432299" y="5439345"/>
            <a:ext cx="13858875" cy="1677633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0000" tIns="144000" rIns="108000" bIns="81610" numCol="1" anchor="ctr" anchorCtr="0" compatLnSpc="1">
            <a:prstTxWarp prst="textNoShape">
              <a:avLst/>
            </a:prstTxWarp>
            <a:normAutofit/>
          </a:bodyPr>
          <a:lstStyle>
            <a:lvl1pPr marL="457200" indent="-457200" algn="l" rtl="0">
              <a:lnSpc>
                <a:spcPts val="2798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/>
              <a:defRPr lang="en-US" sz="2798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21709" indent="-279134" defTabSz="723212" rtl="0">
              <a:spcAft>
                <a:spcPts val="0"/>
              </a:spcAft>
              <a:defRPr lang="en-US" sz="2397" dirty="0" smtClean="0"/>
            </a:lvl2pPr>
          </a:lstStyle>
          <a:p>
            <a:pPr marL="269619" lvl="0" indent="-269619" algn="l" defTabSz="1413133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A62BD725-3719-4675-9045-0922786B58B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-2" y="5656501"/>
            <a:ext cx="5171608" cy="1108627"/>
          </a:xfrm>
          <a:solidFill>
            <a:schemeClr val="bg1"/>
          </a:solidFill>
          <a:ln>
            <a:noFill/>
          </a:ln>
        </p:spPr>
        <p:txBody>
          <a:bodyPr vert="horz" wrap="square" lIns="288000" tIns="81610" rIns="108000" bIns="81610" numCol="1" anchor="ctr" anchorCtr="0" compatLnSpc="1">
            <a:prstTxWarp prst="textNoShape">
              <a:avLst/>
            </a:prstTxWarp>
          </a:bodyPr>
          <a:lstStyle>
            <a:lvl1pPr marL="502760" indent="126879">
              <a:lnSpc>
                <a:spcPts val="3197"/>
              </a:lnSpc>
              <a:spcBef>
                <a:spcPts val="0"/>
              </a:spcBef>
              <a:buFontTx/>
              <a:buNone/>
              <a:tabLst>
                <a:tab pos="629638" algn="l"/>
              </a:tabLst>
              <a:defRPr lang="en-US" sz="3197" b="0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503522" lvl="0" indent="0" algn="l" defTabSz="1413133" rtl="0" eaLnBrk="0" fontAlgn="base" hangingPunct="0">
              <a:lnSpc>
                <a:spcPts val="3197"/>
              </a:lnSpc>
              <a:spcBef>
                <a:spcPts val="600"/>
              </a:spcBef>
              <a:spcAft>
                <a:spcPct val="0"/>
              </a:spcAft>
              <a:buClr>
                <a:srgbClr val="009EDB"/>
              </a:buClr>
              <a:buSzPct val="100000"/>
              <a:buFontTx/>
              <a:buNone/>
            </a:pPr>
            <a:r>
              <a:rPr lang="en-US"/>
              <a:t>Level 1 Header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DEC7E2F-3BFC-4F0C-8051-5162F5BEF97C}"/>
              </a:ext>
            </a:extLst>
          </p:cNvPr>
          <p:cNvSpPr/>
          <p:nvPr/>
        </p:nvSpPr>
        <p:spPr>
          <a:xfrm>
            <a:off x="-1" y="6766958"/>
            <a:ext cx="4457701" cy="17221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8C55FE3C-A58F-411C-9F91-BDA7B56F94E6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4432301" y="7266156"/>
            <a:ext cx="13858875" cy="1677633"/>
          </a:xfrm>
          <a:solidFill>
            <a:schemeClr val="tx1">
              <a:lumMod val="20000"/>
              <a:lumOff val="80000"/>
              <a:alpha val="7686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0000" tIns="144000" rIns="108000" bIns="81610" numCol="1" anchor="ctr" anchorCtr="0" compatLnSpc="1">
            <a:prstTxWarp prst="textNoShape">
              <a:avLst/>
            </a:prstTxWarp>
            <a:normAutofit/>
          </a:bodyPr>
          <a:lstStyle>
            <a:lvl1pPr marL="457200" indent="-457200" algn="l" rtl="0">
              <a:lnSpc>
                <a:spcPts val="2798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/>
              <a:defRPr lang="en-US" sz="2798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21709" indent="-279134" defTabSz="723212" rtl="0">
              <a:spcAft>
                <a:spcPts val="0"/>
              </a:spcAft>
              <a:defRPr lang="en-US" sz="2397" dirty="0" smtClean="0"/>
            </a:lvl2pPr>
          </a:lstStyle>
          <a:p>
            <a:pPr marL="269619" lvl="0" indent="-269619" algn="l" defTabSz="1413133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F3BE825C-AD7D-4290-B843-3A4E61F1229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0" y="7483312"/>
            <a:ext cx="5171608" cy="1108627"/>
          </a:xfrm>
          <a:solidFill>
            <a:schemeClr val="bg1"/>
          </a:solidFill>
          <a:ln>
            <a:noFill/>
          </a:ln>
        </p:spPr>
        <p:txBody>
          <a:bodyPr vert="horz" wrap="square" lIns="288000" tIns="81610" rIns="108000" bIns="81610" numCol="1" anchor="ctr" anchorCtr="0" compatLnSpc="1">
            <a:prstTxWarp prst="textNoShape">
              <a:avLst/>
            </a:prstTxWarp>
          </a:bodyPr>
          <a:lstStyle>
            <a:lvl1pPr marL="502760" indent="126879">
              <a:lnSpc>
                <a:spcPts val="3197"/>
              </a:lnSpc>
              <a:spcBef>
                <a:spcPts val="0"/>
              </a:spcBef>
              <a:buFontTx/>
              <a:buNone/>
              <a:tabLst>
                <a:tab pos="629638" algn="l"/>
              </a:tabLst>
              <a:defRPr lang="en-US" sz="3197" b="0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960222" marR="0" indent="-481524" algn="l" defTabSz="913531" rtl="0" eaLnBrk="0" fontAlgn="base" latinLnBrk="0" hangingPunct="0">
              <a:lnSpc>
                <a:spcPct val="100000"/>
              </a:lnSpc>
              <a:spcBef>
                <a:spcPts val="1071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503522" lvl="0" indent="0" algn="l" defTabSz="1413133" rtl="0" eaLnBrk="0" fontAlgn="base" hangingPunct="0">
              <a:lnSpc>
                <a:spcPts val="3197"/>
              </a:lnSpc>
              <a:spcBef>
                <a:spcPts val="600"/>
              </a:spcBef>
              <a:spcAft>
                <a:spcPct val="0"/>
              </a:spcAft>
              <a:buClr>
                <a:srgbClr val="009EDB"/>
              </a:buClr>
              <a:buSzPct val="100000"/>
              <a:buFontTx/>
              <a:buNone/>
            </a:pPr>
            <a:r>
              <a:rPr lang="en-US"/>
              <a:t>Level 1 Head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6917198-E11B-4370-97A1-8B078BBC0981}"/>
              </a:ext>
            </a:extLst>
          </p:cNvPr>
          <p:cNvSpPr/>
          <p:nvPr/>
        </p:nvSpPr>
        <p:spPr>
          <a:xfrm>
            <a:off x="1" y="8593769"/>
            <a:ext cx="4457701" cy="17221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87656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327727-3415-4331-BFDB-EB127E6E3203}"/>
              </a:ext>
            </a:extLst>
          </p:cNvPr>
          <p:cNvSpPr/>
          <p:nvPr/>
        </p:nvSpPr>
        <p:spPr>
          <a:xfrm>
            <a:off x="0" y="0"/>
            <a:ext cx="18291175" cy="102977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AF6ED6-71F4-41E2-A88D-57D0D186BD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401175" cy="10298113"/>
          </a:xfrm>
          <a:prstGeom prst="rect">
            <a:avLst/>
          </a:prstGeom>
        </p:spPr>
      </p:pic>
      <p:grpSp>
        <p:nvGrpSpPr>
          <p:cNvPr id="31" name="Graphic 30">
            <a:extLst>
              <a:ext uri="{FF2B5EF4-FFF2-40B4-BE49-F238E27FC236}">
                <a16:creationId xmlns:a16="http://schemas.microsoft.com/office/drawing/2014/main" id="{701C96BA-E98B-4B10-A75B-C426116B3BEC}"/>
              </a:ext>
            </a:extLst>
          </p:cNvPr>
          <p:cNvGrpSpPr/>
          <p:nvPr/>
        </p:nvGrpSpPr>
        <p:grpSpPr>
          <a:xfrm rot="10800000">
            <a:off x="2527583" y="897686"/>
            <a:ext cx="1817000" cy="5960804"/>
            <a:chOff x="8483599" y="2977356"/>
            <a:chExt cx="1323975" cy="4343400"/>
          </a:xfrm>
          <a:solidFill>
            <a:schemeClr val="bg1"/>
          </a:solidFill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6589B81-ABB2-4EAF-B333-F41FFB4A7216}"/>
                </a:ext>
              </a:extLst>
            </p:cNvPr>
            <p:cNvSpPr/>
            <p:nvPr/>
          </p:nvSpPr>
          <p:spPr>
            <a:xfrm>
              <a:off x="8743974" y="2970212"/>
              <a:ext cx="790575" cy="685800"/>
            </a:xfrm>
            <a:custGeom>
              <a:avLst/>
              <a:gdLst>
                <a:gd name="connsiteX0" fmla="*/ 161344 w 790575"/>
                <a:gd name="connsiteY0" fmla="*/ 595484 h 685800"/>
                <a:gd name="connsiteX1" fmla="*/ 73971 w 790575"/>
                <a:gd name="connsiteY1" fmla="*/ 641928 h 685800"/>
                <a:gd name="connsiteX2" fmla="*/ 79115 w 790575"/>
                <a:gd name="connsiteY2" fmla="*/ 683209 h 685800"/>
                <a:gd name="connsiteX3" fmla="*/ 27718 w 790575"/>
                <a:gd name="connsiteY3" fmla="*/ 683209 h 685800"/>
                <a:gd name="connsiteX4" fmla="*/ 22574 w 790575"/>
                <a:gd name="connsiteY4" fmla="*/ 641928 h 685800"/>
                <a:gd name="connsiteX5" fmla="*/ 135646 w 790575"/>
                <a:gd name="connsiteY5" fmla="*/ 538696 h 685800"/>
                <a:gd name="connsiteX6" fmla="*/ 171621 w 790575"/>
                <a:gd name="connsiteY6" fmla="*/ 538696 h 685800"/>
                <a:gd name="connsiteX7" fmla="*/ 171621 w 790575"/>
                <a:gd name="connsiteY7" fmla="*/ 538696 h 685800"/>
                <a:gd name="connsiteX8" fmla="*/ 7144 w 790575"/>
                <a:gd name="connsiteY8" fmla="*/ 254860 h 685800"/>
                <a:gd name="connsiteX9" fmla="*/ 217884 w 790575"/>
                <a:gd name="connsiteY9" fmla="*/ 7144 h 685800"/>
                <a:gd name="connsiteX10" fmla="*/ 438883 w 790575"/>
                <a:gd name="connsiteY10" fmla="*/ 280664 h 685800"/>
                <a:gd name="connsiteX11" fmla="*/ 593074 w 790575"/>
                <a:gd name="connsiteY11" fmla="*/ 538696 h 685800"/>
                <a:gd name="connsiteX12" fmla="*/ 742121 w 790575"/>
                <a:gd name="connsiteY12" fmla="*/ 332280 h 685800"/>
                <a:gd name="connsiteX13" fmla="*/ 541677 w 790575"/>
                <a:gd name="connsiteY13" fmla="*/ 100041 h 685800"/>
                <a:gd name="connsiteX14" fmla="*/ 541677 w 790575"/>
                <a:gd name="connsiteY14" fmla="*/ 43253 h 685800"/>
                <a:gd name="connsiteX15" fmla="*/ 788375 w 790575"/>
                <a:gd name="connsiteY15" fmla="*/ 332280 h 685800"/>
                <a:gd name="connsiteX16" fmla="*/ 593065 w 790575"/>
                <a:gd name="connsiteY16" fmla="*/ 595484 h 685800"/>
                <a:gd name="connsiteX17" fmla="*/ 161344 w 790575"/>
                <a:gd name="connsiteY17" fmla="*/ 595484 h 685800"/>
                <a:gd name="connsiteX18" fmla="*/ 449170 w 790575"/>
                <a:gd name="connsiteY18" fmla="*/ 538696 h 685800"/>
                <a:gd name="connsiteX19" fmla="*/ 392630 w 790575"/>
                <a:gd name="connsiteY19" fmla="*/ 265186 h 685800"/>
                <a:gd name="connsiteX20" fmla="*/ 217884 w 790575"/>
                <a:gd name="connsiteY20" fmla="*/ 58741 h 685800"/>
                <a:gd name="connsiteX21" fmla="*/ 53407 w 790575"/>
                <a:gd name="connsiteY21" fmla="*/ 260013 h 685800"/>
                <a:gd name="connsiteX22" fmla="*/ 310391 w 790575"/>
                <a:gd name="connsiteY22" fmla="*/ 538696 h 685800"/>
                <a:gd name="connsiteX23" fmla="*/ 449170 w 790575"/>
                <a:gd name="connsiteY23" fmla="*/ 538696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90575" h="685800">
                  <a:moveTo>
                    <a:pt x="161344" y="595484"/>
                  </a:moveTo>
                  <a:cubicBezTo>
                    <a:pt x="120225" y="595484"/>
                    <a:pt x="73971" y="595484"/>
                    <a:pt x="73971" y="641928"/>
                  </a:cubicBezTo>
                  <a:cubicBezTo>
                    <a:pt x="73971" y="652253"/>
                    <a:pt x="73971" y="667731"/>
                    <a:pt x="79115" y="683209"/>
                  </a:cubicBezTo>
                  <a:cubicBezTo>
                    <a:pt x="27718" y="683209"/>
                    <a:pt x="27718" y="683209"/>
                    <a:pt x="27718" y="683209"/>
                  </a:cubicBezTo>
                  <a:cubicBezTo>
                    <a:pt x="27718" y="667731"/>
                    <a:pt x="22574" y="652253"/>
                    <a:pt x="22574" y="641928"/>
                  </a:cubicBezTo>
                  <a:cubicBezTo>
                    <a:pt x="22574" y="554184"/>
                    <a:pt x="73971" y="538696"/>
                    <a:pt x="135646" y="538696"/>
                  </a:cubicBezTo>
                  <a:cubicBezTo>
                    <a:pt x="171621" y="538696"/>
                    <a:pt x="171621" y="538696"/>
                    <a:pt x="171621" y="538696"/>
                  </a:cubicBezTo>
                  <a:lnTo>
                    <a:pt x="171621" y="538696"/>
                  </a:lnTo>
                  <a:cubicBezTo>
                    <a:pt x="84249" y="502587"/>
                    <a:pt x="7144" y="399355"/>
                    <a:pt x="7144" y="254860"/>
                  </a:cubicBezTo>
                  <a:cubicBezTo>
                    <a:pt x="7153" y="115519"/>
                    <a:pt x="58550" y="7144"/>
                    <a:pt x="217884" y="7144"/>
                  </a:cubicBezTo>
                  <a:cubicBezTo>
                    <a:pt x="392630" y="7144"/>
                    <a:pt x="428606" y="156810"/>
                    <a:pt x="438883" y="280664"/>
                  </a:cubicBezTo>
                  <a:cubicBezTo>
                    <a:pt x="454304" y="528390"/>
                    <a:pt x="474859" y="538696"/>
                    <a:pt x="593074" y="538696"/>
                  </a:cubicBezTo>
                  <a:cubicBezTo>
                    <a:pt x="629050" y="538696"/>
                    <a:pt x="742121" y="502587"/>
                    <a:pt x="742121" y="332280"/>
                  </a:cubicBezTo>
                  <a:cubicBezTo>
                    <a:pt x="742121" y="198082"/>
                    <a:pt x="670160" y="105185"/>
                    <a:pt x="541677" y="100041"/>
                  </a:cubicBezTo>
                  <a:cubicBezTo>
                    <a:pt x="541677" y="43253"/>
                    <a:pt x="541677" y="43253"/>
                    <a:pt x="541677" y="43253"/>
                  </a:cubicBezTo>
                  <a:cubicBezTo>
                    <a:pt x="706145" y="53588"/>
                    <a:pt x="788375" y="156810"/>
                    <a:pt x="788375" y="332280"/>
                  </a:cubicBezTo>
                  <a:cubicBezTo>
                    <a:pt x="788375" y="461286"/>
                    <a:pt x="747255" y="595484"/>
                    <a:pt x="593065" y="595484"/>
                  </a:cubicBezTo>
                  <a:lnTo>
                    <a:pt x="161344" y="595484"/>
                  </a:lnTo>
                  <a:close/>
                  <a:moveTo>
                    <a:pt x="449170" y="538696"/>
                  </a:moveTo>
                  <a:cubicBezTo>
                    <a:pt x="397774" y="497424"/>
                    <a:pt x="408051" y="373561"/>
                    <a:pt x="392630" y="265186"/>
                  </a:cubicBezTo>
                  <a:cubicBezTo>
                    <a:pt x="377209" y="136150"/>
                    <a:pt x="330956" y="58741"/>
                    <a:pt x="217884" y="58741"/>
                  </a:cubicBezTo>
                  <a:cubicBezTo>
                    <a:pt x="125378" y="58741"/>
                    <a:pt x="53407" y="125844"/>
                    <a:pt x="53407" y="260013"/>
                  </a:cubicBezTo>
                  <a:cubicBezTo>
                    <a:pt x="53407" y="512902"/>
                    <a:pt x="269272" y="538696"/>
                    <a:pt x="310391" y="538696"/>
                  </a:cubicBezTo>
                  <a:lnTo>
                    <a:pt x="449170" y="538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799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7E9A8BB-B7C7-4352-8F1E-6E2BCA208E07}"/>
                </a:ext>
              </a:extLst>
            </p:cNvPr>
            <p:cNvSpPr/>
            <p:nvPr/>
          </p:nvSpPr>
          <p:spPr>
            <a:xfrm>
              <a:off x="8476462" y="3666918"/>
              <a:ext cx="1057275" cy="666750"/>
            </a:xfrm>
            <a:custGeom>
              <a:avLst/>
              <a:gdLst>
                <a:gd name="connsiteX0" fmla="*/ 1040485 w 1057275"/>
                <a:gd name="connsiteY0" fmla="*/ 662559 h 666750"/>
                <a:gd name="connsiteX1" fmla="*/ 331215 w 1057275"/>
                <a:gd name="connsiteY1" fmla="*/ 662559 h 666750"/>
                <a:gd name="connsiteX2" fmla="*/ 7422 w 1057275"/>
                <a:gd name="connsiteY2" fmla="*/ 337423 h 666750"/>
                <a:gd name="connsiteX3" fmla="*/ 238709 w 1057275"/>
                <a:gd name="connsiteY3" fmla="*/ 43253 h 666750"/>
                <a:gd name="connsiteX4" fmla="*/ 238709 w 1057275"/>
                <a:gd name="connsiteY4" fmla="*/ 94879 h 666750"/>
                <a:gd name="connsiteX5" fmla="*/ 53676 w 1057275"/>
                <a:gd name="connsiteY5" fmla="*/ 337423 h 666750"/>
                <a:gd name="connsiteX6" fmla="*/ 315794 w 1057275"/>
                <a:gd name="connsiteY6" fmla="*/ 605800 h 666750"/>
                <a:gd name="connsiteX7" fmla="*/ 490540 w 1057275"/>
                <a:gd name="connsiteY7" fmla="*/ 605800 h 666750"/>
                <a:gd name="connsiteX8" fmla="*/ 490540 w 1057275"/>
                <a:gd name="connsiteY8" fmla="*/ 600628 h 666750"/>
                <a:gd name="connsiteX9" fmla="*/ 320928 w 1057275"/>
                <a:gd name="connsiteY9" fmla="*/ 327117 h 666750"/>
                <a:gd name="connsiteX10" fmla="*/ 690984 w 1057275"/>
                <a:gd name="connsiteY10" fmla="*/ 7144 h 666750"/>
                <a:gd name="connsiteX11" fmla="*/ 1055906 w 1057275"/>
                <a:gd name="connsiteY11" fmla="*/ 327117 h 666750"/>
                <a:gd name="connsiteX12" fmla="*/ 886294 w 1057275"/>
                <a:gd name="connsiteY12" fmla="*/ 600628 h 666750"/>
                <a:gd name="connsiteX13" fmla="*/ 886294 w 1057275"/>
                <a:gd name="connsiteY13" fmla="*/ 605800 h 666750"/>
                <a:gd name="connsiteX14" fmla="*/ 1040485 w 1057275"/>
                <a:gd name="connsiteY14" fmla="*/ 605800 h 666750"/>
                <a:gd name="connsiteX15" fmla="*/ 1040485 w 1057275"/>
                <a:gd name="connsiteY15" fmla="*/ 662559 h 666750"/>
                <a:gd name="connsiteX16" fmla="*/ 690984 w 1057275"/>
                <a:gd name="connsiteY16" fmla="*/ 58750 h 666750"/>
                <a:gd name="connsiteX17" fmla="*/ 367182 w 1057275"/>
                <a:gd name="connsiteY17" fmla="*/ 327127 h 666750"/>
                <a:gd name="connsiteX18" fmla="*/ 690984 w 1057275"/>
                <a:gd name="connsiteY18" fmla="*/ 600637 h 666750"/>
                <a:gd name="connsiteX19" fmla="*/ 1009643 w 1057275"/>
                <a:gd name="connsiteY19" fmla="*/ 327127 h 666750"/>
                <a:gd name="connsiteX20" fmla="*/ 690984 w 1057275"/>
                <a:gd name="connsiteY20" fmla="*/ 58750 h 666750"/>
                <a:gd name="connsiteX21" fmla="*/ 690984 w 1057275"/>
                <a:gd name="connsiteY21" fmla="*/ 5875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7275" h="666750">
                  <a:moveTo>
                    <a:pt x="1040485" y="662559"/>
                  </a:moveTo>
                  <a:cubicBezTo>
                    <a:pt x="331215" y="662559"/>
                    <a:pt x="331215" y="662559"/>
                    <a:pt x="331215" y="662559"/>
                  </a:cubicBezTo>
                  <a:cubicBezTo>
                    <a:pt x="274675" y="662559"/>
                    <a:pt x="-2865" y="662559"/>
                    <a:pt x="7422" y="337423"/>
                  </a:cubicBezTo>
                  <a:cubicBezTo>
                    <a:pt x="7422" y="172288"/>
                    <a:pt x="63953" y="48425"/>
                    <a:pt x="238709" y="43253"/>
                  </a:cubicBezTo>
                  <a:cubicBezTo>
                    <a:pt x="238709" y="94879"/>
                    <a:pt x="238709" y="94879"/>
                    <a:pt x="238709" y="94879"/>
                  </a:cubicBezTo>
                  <a:cubicBezTo>
                    <a:pt x="105063" y="110357"/>
                    <a:pt x="53676" y="213570"/>
                    <a:pt x="53676" y="337423"/>
                  </a:cubicBezTo>
                  <a:cubicBezTo>
                    <a:pt x="53676" y="600628"/>
                    <a:pt x="269541" y="605800"/>
                    <a:pt x="315794" y="605800"/>
                  </a:cubicBezTo>
                  <a:cubicBezTo>
                    <a:pt x="490540" y="605800"/>
                    <a:pt x="490540" y="605800"/>
                    <a:pt x="490540" y="605800"/>
                  </a:cubicBezTo>
                  <a:cubicBezTo>
                    <a:pt x="490540" y="600628"/>
                    <a:pt x="490540" y="600628"/>
                    <a:pt x="490540" y="600628"/>
                  </a:cubicBezTo>
                  <a:cubicBezTo>
                    <a:pt x="377469" y="549031"/>
                    <a:pt x="320928" y="456133"/>
                    <a:pt x="320928" y="327117"/>
                  </a:cubicBezTo>
                  <a:cubicBezTo>
                    <a:pt x="320928" y="110357"/>
                    <a:pt x="480263" y="7144"/>
                    <a:pt x="690984" y="7144"/>
                  </a:cubicBezTo>
                  <a:cubicBezTo>
                    <a:pt x="886294" y="7144"/>
                    <a:pt x="1055906" y="115519"/>
                    <a:pt x="1055906" y="327117"/>
                  </a:cubicBezTo>
                  <a:cubicBezTo>
                    <a:pt x="1055906" y="445808"/>
                    <a:pt x="994232" y="559356"/>
                    <a:pt x="886294" y="600628"/>
                  </a:cubicBezTo>
                  <a:cubicBezTo>
                    <a:pt x="886294" y="605800"/>
                    <a:pt x="886294" y="605800"/>
                    <a:pt x="886294" y="605800"/>
                  </a:cubicBezTo>
                  <a:cubicBezTo>
                    <a:pt x="1040485" y="605800"/>
                    <a:pt x="1040485" y="605800"/>
                    <a:pt x="1040485" y="605800"/>
                  </a:cubicBezTo>
                  <a:lnTo>
                    <a:pt x="1040485" y="662559"/>
                  </a:lnTo>
                  <a:close/>
                  <a:moveTo>
                    <a:pt x="690984" y="58750"/>
                  </a:moveTo>
                  <a:cubicBezTo>
                    <a:pt x="511095" y="58750"/>
                    <a:pt x="367182" y="151648"/>
                    <a:pt x="367182" y="327127"/>
                  </a:cubicBezTo>
                  <a:cubicBezTo>
                    <a:pt x="367182" y="512912"/>
                    <a:pt x="521372" y="600637"/>
                    <a:pt x="690984" y="600637"/>
                  </a:cubicBezTo>
                  <a:cubicBezTo>
                    <a:pt x="855462" y="600637"/>
                    <a:pt x="1009643" y="512912"/>
                    <a:pt x="1009643" y="327127"/>
                  </a:cubicBezTo>
                  <a:cubicBezTo>
                    <a:pt x="1009643" y="146485"/>
                    <a:pt x="850309" y="58750"/>
                    <a:pt x="690984" y="58750"/>
                  </a:cubicBezTo>
                  <a:lnTo>
                    <a:pt x="690984" y="58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799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1AAE56D-6EE5-4CA8-A0AB-C7F83036CCF0}"/>
                </a:ext>
              </a:extLst>
            </p:cNvPr>
            <p:cNvSpPr/>
            <p:nvPr/>
          </p:nvSpPr>
          <p:spPr>
            <a:xfrm>
              <a:off x="8743993" y="4415056"/>
              <a:ext cx="790575" cy="666750"/>
            </a:xfrm>
            <a:custGeom>
              <a:avLst/>
              <a:gdLst>
                <a:gd name="connsiteX0" fmla="*/ 392611 w 790575"/>
                <a:gd name="connsiteY0" fmla="*/ 58935 h 666750"/>
                <a:gd name="connsiteX1" fmla="*/ 53397 w 790575"/>
                <a:gd name="connsiteY1" fmla="*/ 337627 h 666750"/>
                <a:gd name="connsiteX2" fmla="*/ 279549 w 790575"/>
                <a:gd name="connsiteY2" fmla="*/ 605984 h 666750"/>
                <a:gd name="connsiteX3" fmla="*/ 279549 w 790575"/>
                <a:gd name="connsiteY3" fmla="*/ 662754 h 666750"/>
                <a:gd name="connsiteX4" fmla="*/ 7144 w 790575"/>
                <a:gd name="connsiteY4" fmla="*/ 337627 h 666750"/>
                <a:gd name="connsiteX5" fmla="*/ 387487 w 790575"/>
                <a:gd name="connsiteY5" fmla="*/ 7319 h 666750"/>
                <a:gd name="connsiteX6" fmla="*/ 788375 w 790575"/>
                <a:gd name="connsiteY6" fmla="*/ 337627 h 666750"/>
                <a:gd name="connsiteX7" fmla="*/ 392621 w 790575"/>
                <a:gd name="connsiteY7" fmla="*/ 667916 h 666750"/>
                <a:gd name="connsiteX8" fmla="*/ 392621 w 790575"/>
                <a:gd name="connsiteY8" fmla="*/ 58935 h 666750"/>
                <a:gd name="connsiteX9" fmla="*/ 438874 w 790575"/>
                <a:gd name="connsiteY9" fmla="*/ 611138 h 666750"/>
                <a:gd name="connsiteX10" fmla="*/ 742112 w 790575"/>
                <a:gd name="connsiteY10" fmla="*/ 337627 h 666750"/>
                <a:gd name="connsiteX11" fmla="*/ 438874 w 790575"/>
                <a:gd name="connsiteY11" fmla="*/ 58935 h 666750"/>
                <a:gd name="connsiteX12" fmla="*/ 438874 w 790575"/>
                <a:gd name="connsiteY12" fmla="*/ 611138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575" h="666750">
                  <a:moveTo>
                    <a:pt x="392611" y="58935"/>
                  </a:moveTo>
                  <a:cubicBezTo>
                    <a:pt x="212722" y="58935"/>
                    <a:pt x="53397" y="151833"/>
                    <a:pt x="53397" y="337627"/>
                  </a:cubicBezTo>
                  <a:cubicBezTo>
                    <a:pt x="53397" y="482131"/>
                    <a:pt x="140780" y="580172"/>
                    <a:pt x="279549" y="605984"/>
                  </a:cubicBezTo>
                  <a:cubicBezTo>
                    <a:pt x="279549" y="662754"/>
                    <a:pt x="279549" y="662754"/>
                    <a:pt x="279549" y="662754"/>
                  </a:cubicBezTo>
                  <a:cubicBezTo>
                    <a:pt x="104794" y="631797"/>
                    <a:pt x="7144" y="518240"/>
                    <a:pt x="7144" y="337627"/>
                  </a:cubicBezTo>
                  <a:cubicBezTo>
                    <a:pt x="7144" y="120867"/>
                    <a:pt x="176755" y="2166"/>
                    <a:pt x="387487" y="7319"/>
                  </a:cubicBezTo>
                  <a:cubicBezTo>
                    <a:pt x="593065" y="2166"/>
                    <a:pt x="788375" y="110542"/>
                    <a:pt x="788375" y="337627"/>
                  </a:cubicBezTo>
                  <a:cubicBezTo>
                    <a:pt x="788375" y="575028"/>
                    <a:pt x="603352" y="678241"/>
                    <a:pt x="392621" y="667916"/>
                  </a:cubicBezTo>
                  <a:lnTo>
                    <a:pt x="392621" y="58935"/>
                  </a:lnTo>
                  <a:close/>
                  <a:moveTo>
                    <a:pt x="438874" y="611138"/>
                  </a:moveTo>
                  <a:cubicBezTo>
                    <a:pt x="598208" y="611138"/>
                    <a:pt x="742112" y="507934"/>
                    <a:pt x="742112" y="337627"/>
                  </a:cubicBezTo>
                  <a:cubicBezTo>
                    <a:pt x="742112" y="172473"/>
                    <a:pt x="587921" y="74423"/>
                    <a:pt x="438874" y="58935"/>
                  </a:cubicBezTo>
                  <a:lnTo>
                    <a:pt x="438874" y="6111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799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123892A-D55F-48C8-A434-D634A9947E6E}"/>
                </a:ext>
              </a:extLst>
            </p:cNvPr>
            <p:cNvSpPr/>
            <p:nvPr/>
          </p:nvSpPr>
          <p:spPr>
            <a:xfrm>
              <a:off x="8759414" y="5168716"/>
              <a:ext cx="771525" cy="609600"/>
            </a:xfrm>
            <a:custGeom>
              <a:avLst/>
              <a:gdLst>
                <a:gd name="connsiteX0" fmla="*/ 757533 w 771525"/>
                <a:gd name="connsiteY0" fmla="*/ 7144 h 609600"/>
                <a:gd name="connsiteX1" fmla="*/ 757533 w 771525"/>
                <a:gd name="connsiteY1" fmla="*/ 63913 h 609600"/>
                <a:gd name="connsiteX2" fmla="*/ 598199 w 771525"/>
                <a:gd name="connsiteY2" fmla="*/ 63913 h 609600"/>
                <a:gd name="connsiteX3" fmla="*/ 598199 w 771525"/>
                <a:gd name="connsiteY3" fmla="*/ 69075 h 609600"/>
                <a:gd name="connsiteX4" fmla="*/ 772954 w 771525"/>
                <a:gd name="connsiteY4" fmla="*/ 337433 h 609600"/>
                <a:gd name="connsiteX5" fmla="*/ 469716 w 771525"/>
                <a:gd name="connsiteY5" fmla="*/ 605809 h 609600"/>
                <a:gd name="connsiteX6" fmla="*/ 7153 w 771525"/>
                <a:gd name="connsiteY6" fmla="*/ 605809 h 609600"/>
                <a:gd name="connsiteX7" fmla="*/ 7153 w 771525"/>
                <a:gd name="connsiteY7" fmla="*/ 549030 h 609600"/>
                <a:gd name="connsiteX8" fmla="*/ 480003 w 771525"/>
                <a:gd name="connsiteY8" fmla="*/ 549030 h 609600"/>
                <a:gd name="connsiteX9" fmla="*/ 726700 w 771525"/>
                <a:gd name="connsiteY9" fmla="*/ 332280 h 609600"/>
                <a:gd name="connsiteX10" fmla="*/ 413175 w 771525"/>
                <a:gd name="connsiteY10" fmla="*/ 63913 h 609600"/>
                <a:gd name="connsiteX11" fmla="*/ 7144 w 771525"/>
                <a:gd name="connsiteY11" fmla="*/ 63913 h 609600"/>
                <a:gd name="connsiteX12" fmla="*/ 7144 w 771525"/>
                <a:gd name="connsiteY12" fmla="*/ 7144 h 609600"/>
                <a:gd name="connsiteX13" fmla="*/ 757533 w 771525"/>
                <a:gd name="connsiteY13" fmla="*/ 7144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1525" h="609600">
                  <a:moveTo>
                    <a:pt x="757533" y="7144"/>
                  </a:moveTo>
                  <a:cubicBezTo>
                    <a:pt x="757533" y="63913"/>
                    <a:pt x="757533" y="63913"/>
                    <a:pt x="757533" y="63913"/>
                  </a:cubicBezTo>
                  <a:cubicBezTo>
                    <a:pt x="598199" y="63913"/>
                    <a:pt x="598199" y="63913"/>
                    <a:pt x="598199" y="63913"/>
                  </a:cubicBezTo>
                  <a:cubicBezTo>
                    <a:pt x="598199" y="69075"/>
                    <a:pt x="598199" y="69075"/>
                    <a:pt x="598199" y="69075"/>
                  </a:cubicBezTo>
                  <a:cubicBezTo>
                    <a:pt x="711279" y="105194"/>
                    <a:pt x="772954" y="218742"/>
                    <a:pt x="772954" y="337433"/>
                  </a:cubicBezTo>
                  <a:cubicBezTo>
                    <a:pt x="772954" y="600637"/>
                    <a:pt x="562223" y="605809"/>
                    <a:pt x="469716" y="605809"/>
                  </a:cubicBezTo>
                  <a:cubicBezTo>
                    <a:pt x="7153" y="605809"/>
                    <a:pt x="7153" y="605809"/>
                    <a:pt x="7153" y="605809"/>
                  </a:cubicBezTo>
                  <a:cubicBezTo>
                    <a:pt x="7153" y="549030"/>
                    <a:pt x="7153" y="549030"/>
                    <a:pt x="7153" y="549030"/>
                  </a:cubicBezTo>
                  <a:cubicBezTo>
                    <a:pt x="480003" y="549030"/>
                    <a:pt x="480003" y="549030"/>
                    <a:pt x="480003" y="549030"/>
                  </a:cubicBezTo>
                  <a:cubicBezTo>
                    <a:pt x="557098" y="549030"/>
                    <a:pt x="726700" y="538706"/>
                    <a:pt x="726700" y="332280"/>
                  </a:cubicBezTo>
                  <a:cubicBezTo>
                    <a:pt x="726700" y="167126"/>
                    <a:pt x="598208" y="63913"/>
                    <a:pt x="413175" y="63913"/>
                  </a:cubicBezTo>
                  <a:cubicBezTo>
                    <a:pt x="7144" y="63913"/>
                    <a:pt x="7144" y="63913"/>
                    <a:pt x="7144" y="63913"/>
                  </a:cubicBezTo>
                  <a:cubicBezTo>
                    <a:pt x="7144" y="7144"/>
                    <a:pt x="7144" y="7144"/>
                    <a:pt x="7144" y="7144"/>
                  </a:cubicBezTo>
                  <a:lnTo>
                    <a:pt x="757533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799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BC09B20-81E4-43F2-B4A9-B31515796D80}"/>
                </a:ext>
              </a:extLst>
            </p:cNvPr>
            <p:cNvSpPr/>
            <p:nvPr/>
          </p:nvSpPr>
          <p:spPr>
            <a:xfrm>
              <a:off x="8743993" y="5855097"/>
              <a:ext cx="1066800" cy="685800"/>
            </a:xfrm>
            <a:custGeom>
              <a:avLst/>
              <a:gdLst>
                <a:gd name="connsiteX0" fmla="*/ 181889 w 1066800"/>
                <a:gd name="connsiteY0" fmla="*/ 626450 h 685800"/>
                <a:gd name="connsiteX1" fmla="*/ 181889 w 1066800"/>
                <a:gd name="connsiteY1" fmla="*/ 621297 h 685800"/>
                <a:gd name="connsiteX2" fmla="*/ 7144 w 1066800"/>
                <a:gd name="connsiteY2" fmla="*/ 332280 h 685800"/>
                <a:gd name="connsiteX3" fmla="*/ 397754 w 1066800"/>
                <a:gd name="connsiteY3" fmla="*/ 7144 h 685800"/>
                <a:gd name="connsiteX4" fmla="*/ 788375 w 1066800"/>
                <a:gd name="connsiteY4" fmla="*/ 342614 h 685800"/>
                <a:gd name="connsiteX5" fmla="*/ 603352 w 1066800"/>
                <a:gd name="connsiteY5" fmla="*/ 621297 h 685800"/>
                <a:gd name="connsiteX6" fmla="*/ 603352 w 1066800"/>
                <a:gd name="connsiteY6" fmla="*/ 626450 h 685800"/>
                <a:gd name="connsiteX7" fmla="*/ 1065914 w 1066800"/>
                <a:gd name="connsiteY7" fmla="*/ 626450 h 685800"/>
                <a:gd name="connsiteX8" fmla="*/ 1065914 w 1066800"/>
                <a:gd name="connsiteY8" fmla="*/ 683228 h 685800"/>
                <a:gd name="connsiteX9" fmla="*/ 22565 w 1066800"/>
                <a:gd name="connsiteY9" fmla="*/ 683228 h 685800"/>
                <a:gd name="connsiteX10" fmla="*/ 22565 w 1066800"/>
                <a:gd name="connsiteY10" fmla="*/ 626450 h 685800"/>
                <a:gd name="connsiteX11" fmla="*/ 181889 w 1066800"/>
                <a:gd name="connsiteY11" fmla="*/ 626450 h 685800"/>
                <a:gd name="connsiteX12" fmla="*/ 397754 w 1066800"/>
                <a:gd name="connsiteY12" fmla="*/ 626450 h 685800"/>
                <a:gd name="connsiteX13" fmla="*/ 742112 w 1066800"/>
                <a:gd name="connsiteY13" fmla="*/ 342614 h 685800"/>
                <a:gd name="connsiteX14" fmla="*/ 397754 w 1066800"/>
                <a:gd name="connsiteY14" fmla="*/ 63932 h 685800"/>
                <a:gd name="connsiteX15" fmla="*/ 53397 w 1066800"/>
                <a:gd name="connsiteY15" fmla="*/ 347767 h 685800"/>
                <a:gd name="connsiteX16" fmla="*/ 397754 w 1066800"/>
                <a:gd name="connsiteY16" fmla="*/ 626450 h 685800"/>
                <a:gd name="connsiteX17" fmla="*/ 397754 w 1066800"/>
                <a:gd name="connsiteY17" fmla="*/ 62645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66800" h="685800">
                  <a:moveTo>
                    <a:pt x="181889" y="626450"/>
                  </a:moveTo>
                  <a:cubicBezTo>
                    <a:pt x="181889" y="621297"/>
                    <a:pt x="181889" y="621297"/>
                    <a:pt x="181889" y="621297"/>
                  </a:cubicBezTo>
                  <a:cubicBezTo>
                    <a:pt x="68818" y="559375"/>
                    <a:pt x="7144" y="466477"/>
                    <a:pt x="7144" y="332280"/>
                  </a:cubicBezTo>
                  <a:cubicBezTo>
                    <a:pt x="7144" y="105213"/>
                    <a:pt x="192176" y="7144"/>
                    <a:pt x="397754" y="7144"/>
                  </a:cubicBezTo>
                  <a:cubicBezTo>
                    <a:pt x="618763" y="7144"/>
                    <a:pt x="788375" y="115529"/>
                    <a:pt x="788375" y="342614"/>
                  </a:cubicBezTo>
                  <a:cubicBezTo>
                    <a:pt x="788375" y="466477"/>
                    <a:pt x="721557" y="585178"/>
                    <a:pt x="603352" y="621297"/>
                  </a:cubicBezTo>
                  <a:cubicBezTo>
                    <a:pt x="603352" y="626450"/>
                    <a:pt x="603352" y="626450"/>
                    <a:pt x="603352" y="626450"/>
                  </a:cubicBezTo>
                  <a:cubicBezTo>
                    <a:pt x="1065914" y="626450"/>
                    <a:pt x="1065914" y="626450"/>
                    <a:pt x="1065914" y="626450"/>
                  </a:cubicBezTo>
                  <a:cubicBezTo>
                    <a:pt x="1065914" y="683228"/>
                    <a:pt x="1065914" y="683228"/>
                    <a:pt x="1065914" y="683228"/>
                  </a:cubicBezTo>
                  <a:cubicBezTo>
                    <a:pt x="22565" y="683228"/>
                    <a:pt x="22565" y="683228"/>
                    <a:pt x="22565" y="683228"/>
                  </a:cubicBezTo>
                  <a:cubicBezTo>
                    <a:pt x="22565" y="626450"/>
                    <a:pt x="22565" y="626450"/>
                    <a:pt x="22565" y="626450"/>
                  </a:cubicBezTo>
                  <a:lnTo>
                    <a:pt x="181889" y="626450"/>
                  </a:lnTo>
                  <a:close/>
                  <a:moveTo>
                    <a:pt x="397754" y="626450"/>
                  </a:moveTo>
                  <a:cubicBezTo>
                    <a:pt x="572510" y="626450"/>
                    <a:pt x="742112" y="538724"/>
                    <a:pt x="742112" y="342614"/>
                  </a:cubicBezTo>
                  <a:cubicBezTo>
                    <a:pt x="742112" y="146495"/>
                    <a:pt x="577634" y="63932"/>
                    <a:pt x="397754" y="63932"/>
                  </a:cubicBezTo>
                  <a:cubicBezTo>
                    <a:pt x="223009" y="63932"/>
                    <a:pt x="53397" y="151667"/>
                    <a:pt x="53397" y="347767"/>
                  </a:cubicBezTo>
                  <a:cubicBezTo>
                    <a:pt x="53397" y="538724"/>
                    <a:pt x="222999" y="626450"/>
                    <a:pt x="397754" y="626450"/>
                  </a:cubicBezTo>
                  <a:lnTo>
                    <a:pt x="397754" y="6264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799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8DB5088-C8D6-481A-BDB6-3D6EFD96A113}"/>
                </a:ext>
              </a:extLst>
            </p:cNvPr>
            <p:cNvSpPr/>
            <p:nvPr/>
          </p:nvSpPr>
          <p:spPr>
            <a:xfrm>
              <a:off x="8743974" y="6634394"/>
              <a:ext cx="790575" cy="695325"/>
            </a:xfrm>
            <a:custGeom>
              <a:avLst/>
              <a:gdLst>
                <a:gd name="connsiteX0" fmla="*/ 161344 w 790575"/>
                <a:gd name="connsiteY0" fmla="*/ 595474 h 695325"/>
                <a:gd name="connsiteX1" fmla="*/ 73971 w 790575"/>
                <a:gd name="connsiteY1" fmla="*/ 647090 h 695325"/>
                <a:gd name="connsiteX2" fmla="*/ 79115 w 790575"/>
                <a:gd name="connsiteY2" fmla="*/ 688372 h 695325"/>
                <a:gd name="connsiteX3" fmla="*/ 27718 w 790575"/>
                <a:gd name="connsiteY3" fmla="*/ 688372 h 695325"/>
                <a:gd name="connsiteX4" fmla="*/ 22574 w 790575"/>
                <a:gd name="connsiteY4" fmla="*/ 641928 h 695325"/>
                <a:gd name="connsiteX5" fmla="*/ 135646 w 790575"/>
                <a:gd name="connsiteY5" fmla="*/ 538705 h 695325"/>
                <a:gd name="connsiteX6" fmla="*/ 171621 w 790575"/>
                <a:gd name="connsiteY6" fmla="*/ 538705 h 695325"/>
                <a:gd name="connsiteX7" fmla="*/ 171621 w 790575"/>
                <a:gd name="connsiteY7" fmla="*/ 538705 h 695325"/>
                <a:gd name="connsiteX8" fmla="*/ 7144 w 790575"/>
                <a:gd name="connsiteY8" fmla="*/ 260023 h 695325"/>
                <a:gd name="connsiteX9" fmla="*/ 217875 w 790575"/>
                <a:gd name="connsiteY9" fmla="*/ 7144 h 695325"/>
                <a:gd name="connsiteX10" fmla="*/ 438874 w 790575"/>
                <a:gd name="connsiteY10" fmla="*/ 285826 h 695325"/>
                <a:gd name="connsiteX11" fmla="*/ 593065 w 790575"/>
                <a:gd name="connsiteY11" fmla="*/ 543858 h 695325"/>
                <a:gd name="connsiteX12" fmla="*/ 742112 w 790575"/>
                <a:gd name="connsiteY12" fmla="*/ 332279 h 695325"/>
                <a:gd name="connsiteX13" fmla="*/ 541668 w 790575"/>
                <a:gd name="connsiteY13" fmla="*/ 100031 h 695325"/>
                <a:gd name="connsiteX14" fmla="*/ 541668 w 790575"/>
                <a:gd name="connsiteY14" fmla="*/ 48415 h 695325"/>
                <a:gd name="connsiteX15" fmla="*/ 788365 w 790575"/>
                <a:gd name="connsiteY15" fmla="*/ 332279 h 695325"/>
                <a:gd name="connsiteX16" fmla="*/ 593055 w 790575"/>
                <a:gd name="connsiteY16" fmla="*/ 595474 h 695325"/>
                <a:gd name="connsiteX17" fmla="*/ 161344 w 790575"/>
                <a:gd name="connsiteY17" fmla="*/ 595474 h 695325"/>
                <a:gd name="connsiteX18" fmla="*/ 449170 w 790575"/>
                <a:gd name="connsiteY18" fmla="*/ 538705 h 695325"/>
                <a:gd name="connsiteX19" fmla="*/ 392630 w 790575"/>
                <a:gd name="connsiteY19" fmla="*/ 270348 h 695325"/>
                <a:gd name="connsiteX20" fmla="*/ 217884 w 790575"/>
                <a:gd name="connsiteY20" fmla="*/ 63903 h 695325"/>
                <a:gd name="connsiteX21" fmla="*/ 53407 w 790575"/>
                <a:gd name="connsiteY21" fmla="*/ 260023 h 695325"/>
                <a:gd name="connsiteX22" fmla="*/ 310391 w 790575"/>
                <a:gd name="connsiteY22" fmla="*/ 538705 h 695325"/>
                <a:gd name="connsiteX23" fmla="*/ 449170 w 790575"/>
                <a:gd name="connsiteY23" fmla="*/ 538705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90575" h="695325">
                  <a:moveTo>
                    <a:pt x="161344" y="595474"/>
                  </a:moveTo>
                  <a:cubicBezTo>
                    <a:pt x="120225" y="595474"/>
                    <a:pt x="73971" y="595474"/>
                    <a:pt x="73971" y="647090"/>
                  </a:cubicBezTo>
                  <a:cubicBezTo>
                    <a:pt x="73971" y="657406"/>
                    <a:pt x="73971" y="667721"/>
                    <a:pt x="79115" y="688372"/>
                  </a:cubicBezTo>
                  <a:cubicBezTo>
                    <a:pt x="27718" y="688372"/>
                    <a:pt x="27718" y="688372"/>
                    <a:pt x="27718" y="688372"/>
                  </a:cubicBezTo>
                  <a:cubicBezTo>
                    <a:pt x="27718" y="672894"/>
                    <a:pt x="22574" y="657406"/>
                    <a:pt x="22574" y="641928"/>
                  </a:cubicBezTo>
                  <a:cubicBezTo>
                    <a:pt x="22574" y="554193"/>
                    <a:pt x="73971" y="538705"/>
                    <a:pt x="135646" y="538705"/>
                  </a:cubicBezTo>
                  <a:cubicBezTo>
                    <a:pt x="171621" y="538705"/>
                    <a:pt x="171621" y="538705"/>
                    <a:pt x="171621" y="538705"/>
                  </a:cubicBezTo>
                  <a:lnTo>
                    <a:pt x="171621" y="538705"/>
                  </a:lnTo>
                  <a:cubicBezTo>
                    <a:pt x="84249" y="502586"/>
                    <a:pt x="7144" y="404517"/>
                    <a:pt x="7144" y="260023"/>
                  </a:cubicBezTo>
                  <a:cubicBezTo>
                    <a:pt x="7144" y="115519"/>
                    <a:pt x="58541" y="7144"/>
                    <a:pt x="217875" y="7144"/>
                  </a:cubicBezTo>
                  <a:cubicBezTo>
                    <a:pt x="392621" y="7144"/>
                    <a:pt x="428596" y="156791"/>
                    <a:pt x="438874" y="285826"/>
                  </a:cubicBezTo>
                  <a:cubicBezTo>
                    <a:pt x="454295" y="533552"/>
                    <a:pt x="474850" y="543858"/>
                    <a:pt x="593065" y="543858"/>
                  </a:cubicBezTo>
                  <a:cubicBezTo>
                    <a:pt x="629041" y="543858"/>
                    <a:pt x="742112" y="502586"/>
                    <a:pt x="742112" y="332279"/>
                  </a:cubicBezTo>
                  <a:cubicBezTo>
                    <a:pt x="742112" y="198091"/>
                    <a:pt x="670150" y="110347"/>
                    <a:pt x="541668" y="100031"/>
                  </a:cubicBezTo>
                  <a:cubicBezTo>
                    <a:pt x="541668" y="48415"/>
                    <a:pt x="541668" y="48415"/>
                    <a:pt x="541668" y="48415"/>
                  </a:cubicBezTo>
                  <a:cubicBezTo>
                    <a:pt x="706136" y="53587"/>
                    <a:pt x="788365" y="156791"/>
                    <a:pt x="788365" y="332279"/>
                  </a:cubicBezTo>
                  <a:cubicBezTo>
                    <a:pt x="788365" y="466449"/>
                    <a:pt x="747246" y="595474"/>
                    <a:pt x="593055" y="595474"/>
                  </a:cubicBezTo>
                  <a:lnTo>
                    <a:pt x="161344" y="595474"/>
                  </a:lnTo>
                  <a:close/>
                  <a:moveTo>
                    <a:pt x="449170" y="538705"/>
                  </a:moveTo>
                  <a:cubicBezTo>
                    <a:pt x="397774" y="497414"/>
                    <a:pt x="408051" y="378723"/>
                    <a:pt x="392630" y="270348"/>
                  </a:cubicBezTo>
                  <a:cubicBezTo>
                    <a:pt x="377209" y="136160"/>
                    <a:pt x="330956" y="63903"/>
                    <a:pt x="217884" y="63903"/>
                  </a:cubicBezTo>
                  <a:cubicBezTo>
                    <a:pt x="125378" y="63903"/>
                    <a:pt x="53407" y="130997"/>
                    <a:pt x="53407" y="260023"/>
                  </a:cubicBezTo>
                  <a:cubicBezTo>
                    <a:pt x="53407" y="512893"/>
                    <a:pt x="269272" y="538705"/>
                    <a:pt x="310391" y="538705"/>
                  </a:cubicBezTo>
                  <a:lnTo>
                    <a:pt x="449170" y="5387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799"/>
            </a:p>
          </p:txBody>
        </p:sp>
      </p:grpSp>
      <p:grpSp>
        <p:nvGrpSpPr>
          <p:cNvPr id="12" name="Group 4">
            <a:extLst>
              <a:ext uri="{FF2B5EF4-FFF2-40B4-BE49-F238E27FC236}">
                <a16:creationId xmlns:a16="http://schemas.microsoft.com/office/drawing/2014/main" id="{3C6A8629-03DD-4107-AE34-5051EDCA2B4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39D96D70-5DD7-47CD-97D6-940EDCB9640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C83F577-2520-4746-8999-5A52259D5E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CDA6073-4C0B-4FE0-AB66-9C7EE6E66A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Rectangle 7">
              <a:extLst>
                <a:ext uri="{FF2B5EF4-FFF2-40B4-BE49-F238E27FC236}">
                  <a16:creationId xmlns:a16="http://schemas.microsoft.com/office/drawing/2014/main" id="{C0A26466-AECB-4D61-9020-A7A20B336B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E293AC0E-CD09-4B1B-972D-BCFA4B5D67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8FA8CE05-D0A9-42DC-B5F2-787EC0EABF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Rectangle 10">
              <a:extLst>
                <a:ext uri="{FF2B5EF4-FFF2-40B4-BE49-F238E27FC236}">
                  <a16:creationId xmlns:a16="http://schemas.microsoft.com/office/drawing/2014/main" id="{CC91CD96-C3AF-47A6-9AEE-54576EB4AB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Rectangle 11">
              <a:extLst>
                <a:ext uri="{FF2B5EF4-FFF2-40B4-BE49-F238E27FC236}">
                  <a16:creationId xmlns:a16="http://schemas.microsoft.com/office/drawing/2014/main" id="{1E35DA51-5A53-4848-AE78-42D845FFA09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Rectangle 12">
              <a:extLst>
                <a:ext uri="{FF2B5EF4-FFF2-40B4-BE49-F238E27FC236}">
                  <a16:creationId xmlns:a16="http://schemas.microsoft.com/office/drawing/2014/main" id="{E4FD844E-BE04-499B-8423-582AF602F5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8F0B1E34-38F0-4B88-B3EF-0FFCC60E14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74C6B7A4-A039-454D-9196-D05C085B5D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2FDE20-CC31-4C57-AD2A-DCF795D855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Rectangle 16">
              <a:extLst>
                <a:ext uri="{FF2B5EF4-FFF2-40B4-BE49-F238E27FC236}">
                  <a16:creationId xmlns:a16="http://schemas.microsoft.com/office/drawing/2014/main" id="{C06A065C-7DAC-4BE6-8FAA-128B0F3B28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9FCADA89-82E3-4F7E-B10A-7A7B74D83F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Rectangle 18">
              <a:extLst>
                <a:ext uri="{FF2B5EF4-FFF2-40B4-BE49-F238E27FC236}">
                  <a16:creationId xmlns:a16="http://schemas.microsoft.com/office/drawing/2014/main" id="{D7E43165-62C0-4273-A154-791A382999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59430FE7-79E8-485F-A322-4E02E51E6E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6AE44C68-CC58-4874-AAE7-014C5B73E9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38" name="Slide Number Placeholder 2">
            <a:extLst>
              <a:ext uri="{FF2B5EF4-FFF2-40B4-BE49-F238E27FC236}">
                <a16:creationId xmlns:a16="http://schemas.microsoft.com/office/drawing/2014/main" id="{3D29A652-0ED4-48FA-A45F-ED1FE10C86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19183" y="9602349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3E52402-C679-4562-8F1F-185070551F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64123" y="897686"/>
            <a:ext cx="12209560" cy="8443280"/>
          </a:xfrm>
        </p:spPr>
        <p:txBody>
          <a:bodyPr lIns="0" tIns="0" rIns="0" bIns="0"/>
          <a:lstStyle>
            <a:lvl1pPr marL="0" marR="0" indent="0" algn="l" defTabSz="1413133" rtl="0" eaLnBrk="0" fontAlgn="base" latinLnBrk="0" hangingPunct="0">
              <a:lnSpc>
                <a:spcPct val="100000"/>
              </a:lnSpc>
              <a:spcBef>
                <a:spcPts val="4997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None/>
              <a:tabLst/>
              <a:defRPr sz="3796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620123" marR="0" lvl="0" indent="-620123" algn="l" defTabSz="1413133" rtl="0" eaLnBrk="0" fontAlgn="base" latinLnBrk="0" hangingPunct="0">
              <a:lnSpc>
                <a:spcPct val="100000"/>
              </a:lnSpc>
              <a:spcBef>
                <a:spcPts val="4997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7924194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8291175" cy="1029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Freeform 16"/>
          <p:cNvSpPr>
            <a:spLocks/>
          </p:cNvSpPr>
          <p:nvPr/>
        </p:nvSpPr>
        <p:spPr bwMode="auto">
          <a:xfrm>
            <a:off x="13002301" y="7815788"/>
            <a:ext cx="4167188" cy="2220913"/>
          </a:xfrm>
          <a:custGeom>
            <a:avLst/>
            <a:gdLst>
              <a:gd name="T0" fmla="*/ 2625 w 2625"/>
              <a:gd name="T1" fmla="*/ 0 h 1399"/>
              <a:gd name="T2" fmla="*/ 1286 w 2625"/>
              <a:gd name="T3" fmla="*/ 127 h 1399"/>
              <a:gd name="T4" fmla="*/ 0 w 2625"/>
              <a:gd name="T5" fmla="*/ 1399 h 1399"/>
              <a:gd name="T6" fmla="*/ 2625 w 2625"/>
              <a:gd name="T7" fmla="*/ 0 h 1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625" h="1399">
                <a:moveTo>
                  <a:pt x="2625" y="0"/>
                </a:moveTo>
                <a:lnTo>
                  <a:pt x="1286" y="127"/>
                </a:lnTo>
                <a:lnTo>
                  <a:pt x="0" y="1399"/>
                </a:lnTo>
                <a:lnTo>
                  <a:pt x="262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2"/>
          <p:cNvSpPr>
            <a:spLocks/>
          </p:cNvSpPr>
          <p:nvPr/>
        </p:nvSpPr>
        <p:spPr bwMode="auto">
          <a:xfrm>
            <a:off x="-11113" y="0"/>
            <a:ext cx="13650913" cy="9224963"/>
          </a:xfrm>
          <a:custGeom>
            <a:avLst/>
            <a:gdLst>
              <a:gd name="T0" fmla="*/ 5078 w 8599"/>
              <a:gd name="T1" fmla="*/ 0 h 5811"/>
              <a:gd name="T2" fmla="*/ 0 w 8599"/>
              <a:gd name="T3" fmla="*/ 2 h 5811"/>
              <a:gd name="T4" fmla="*/ 8 w 8599"/>
              <a:gd name="T5" fmla="*/ 5811 h 5811"/>
              <a:gd name="T6" fmla="*/ 8013 w 8599"/>
              <a:gd name="T7" fmla="*/ 3353 h 5811"/>
              <a:gd name="T8" fmla="*/ 8599 w 8599"/>
              <a:gd name="T9" fmla="*/ 887 h 5811"/>
              <a:gd name="T10" fmla="*/ 5078 w 8599"/>
              <a:gd name="T11" fmla="*/ 0 h 5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599" h="5811">
                <a:moveTo>
                  <a:pt x="5078" y="0"/>
                </a:moveTo>
                <a:lnTo>
                  <a:pt x="0" y="2"/>
                </a:lnTo>
                <a:lnTo>
                  <a:pt x="8" y="5811"/>
                </a:lnTo>
                <a:lnTo>
                  <a:pt x="8013" y="3353"/>
                </a:lnTo>
                <a:lnTo>
                  <a:pt x="8599" y="887"/>
                </a:lnTo>
                <a:lnTo>
                  <a:pt x="507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C9EB4FF-0EA2-4518-ABA9-C0A652F89075}"/>
              </a:ext>
            </a:extLst>
          </p:cNvPr>
          <p:cNvGrpSpPr/>
          <p:nvPr/>
        </p:nvGrpSpPr>
        <p:grpSpPr>
          <a:xfrm>
            <a:off x="6660791" y="6512809"/>
            <a:ext cx="8178508" cy="1399687"/>
            <a:chOff x="4716463" y="4395788"/>
            <a:chExt cx="8867775" cy="1517650"/>
          </a:xfrm>
          <a:solidFill>
            <a:schemeClr val="accent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E3D9CF77-2616-4D5D-BA20-546AA1F6C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6463" y="4395788"/>
              <a:ext cx="1130300" cy="1485900"/>
            </a:xfrm>
            <a:custGeom>
              <a:avLst/>
              <a:gdLst>
                <a:gd name="T0" fmla="*/ 0 w 712"/>
                <a:gd name="T1" fmla="*/ 47 h 936"/>
                <a:gd name="T2" fmla="*/ 0 w 712"/>
                <a:gd name="T3" fmla="*/ 0 h 936"/>
                <a:gd name="T4" fmla="*/ 712 w 712"/>
                <a:gd name="T5" fmla="*/ 0 h 936"/>
                <a:gd name="T6" fmla="*/ 712 w 712"/>
                <a:gd name="T7" fmla="*/ 47 h 936"/>
                <a:gd name="T8" fmla="*/ 383 w 712"/>
                <a:gd name="T9" fmla="*/ 47 h 936"/>
                <a:gd name="T10" fmla="*/ 383 w 712"/>
                <a:gd name="T11" fmla="*/ 936 h 936"/>
                <a:gd name="T12" fmla="*/ 329 w 712"/>
                <a:gd name="T13" fmla="*/ 936 h 936"/>
                <a:gd name="T14" fmla="*/ 329 w 712"/>
                <a:gd name="T15" fmla="*/ 47 h 936"/>
                <a:gd name="T16" fmla="*/ 0 w 712"/>
                <a:gd name="T17" fmla="*/ 47 h 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2" h="936">
                  <a:moveTo>
                    <a:pt x="0" y="47"/>
                  </a:moveTo>
                  <a:lnTo>
                    <a:pt x="0" y="0"/>
                  </a:lnTo>
                  <a:lnTo>
                    <a:pt x="712" y="0"/>
                  </a:lnTo>
                  <a:lnTo>
                    <a:pt x="712" y="47"/>
                  </a:lnTo>
                  <a:lnTo>
                    <a:pt x="383" y="47"/>
                  </a:lnTo>
                  <a:lnTo>
                    <a:pt x="383" y="936"/>
                  </a:lnTo>
                  <a:lnTo>
                    <a:pt x="329" y="936"/>
                  </a:lnTo>
                  <a:lnTo>
                    <a:pt x="329" y="47"/>
                  </a:lnTo>
                  <a:lnTo>
                    <a:pt x="0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F1B21C18-31F8-476B-90FB-56B2DD471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4395788"/>
              <a:ext cx="830263" cy="1485900"/>
            </a:xfrm>
            <a:custGeom>
              <a:avLst/>
              <a:gdLst>
                <a:gd name="T0" fmla="*/ 7 w 78"/>
                <a:gd name="T1" fmla="*/ 0 h 137"/>
                <a:gd name="T2" fmla="*/ 7 w 78"/>
                <a:gd name="T3" fmla="*/ 59 h 137"/>
                <a:gd name="T4" fmla="*/ 8 w 78"/>
                <a:gd name="T5" fmla="*/ 59 h 137"/>
                <a:gd name="T6" fmla="*/ 13 w 78"/>
                <a:gd name="T7" fmla="*/ 50 h 137"/>
                <a:gd name="T8" fmla="*/ 21 w 78"/>
                <a:gd name="T9" fmla="*/ 42 h 137"/>
                <a:gd name="T10" fmla="*/ 32 w 78"/>
                <a:gd name="T11" fmla="*/ 38 h 137"/>
                <a:gd name="T12" fmla="*/ 43 w 78"/>
                <a:gd name="T13" fmla="*/ 36 h 137"/>
                <a:gd name="T14" fmla="*/ 58 w 78"/>
                <a:gd name="T15" fmla="*/ 38 h 137"/>
                <a:gd name="T16" fmla="*/ 68 w 78"/>
                <a:gd name="T17" fmla="*/ 44 h 137"/>
                <a:gd name="T18" fmla="*/ 74 w 78"/>
                <a:gd name="T19" fmla="*/ 51 h 137"/>
                <a:gd name="T20" fmla="*/ 77 w 78"/>
                <a:gd name="T21" fmla="*/ 60 h 137"/>
                <a:gd name="T22" fmla="*/ 78 w 78"/>
                <a:gd name="T23" fmla="*/ 69 h 137"/>
                <a:gd name="T24" fmla="*/ 78 w 78"/>
                <a:gd name="T25" fmla="*/ 76 h 137"/>
                <a:gd name="T26" fmla="*/ 78 w 78"/>
                <a:gd name="T27" fmla="*/ 137 h 137"/>
                <a:gd name="T28" fmla="*/ 71 w 78"/>
                <a:gd name="T29" fmla="*/ 137 h 137"/>
                <a:gd name="T30" fmla="*/ 71 w 78"/>
                <a:gd name="T31" fmla="*/ 75 h 137"/>
                <a:gd name="T32" fmla="*/ 71 w 78"/>
                <a:gd name="T33" fmla="*/ 65 h 137"/>
                <a:gd name="T34" fmla="*/ 67 w 78"/>
                <a:gd name="T35" fmla="*/ 55 h 137"/>
                <a:gd name="T36" fmla="*/ 59 w 78"/>
                <a:gd name="T37" fmla="*/ 46 h 137"/>
                <a:gd name="T38" fmla="*/ 43 w 78"/>
                <a:gd name="T39" fmla="*/ 42 h 137"/>
                <a:gd name="T40" fmla="*/ 28 w 78"/>
                <a:gd name="T41" fmla="*/ 45 h 137"/>
                <a:gd name="T42" fmla="*/ 17 w 78"/>
                <a:gd name="T43" fmla="*/ 54 h 137"/>
                <a:gd name="T44" fmla="*/ 10 w 78"/>
                <a:gd name="T45" fmla="*/ 67 h 137"/>
                <a:gd name="T46" fmla="*/ 7 w 78"/>
                <a:gd name="T47" fmla="*/ 84 h 137"/>
                <a:gd name="T48" fmla="*/ 7 w 78"/>
                <a:gd name="T49" fmla="*/ 137 h 137"/>
                <a:gd name="T50" fmla="*/ 0 w 78"/>
                <a:gd name="T51" fmla="*/ 137 h 137"/>
                <a:gd name="T52" fmla="*/ 0 w 78"/>
                <a:gd name="T53" fmla="*/ 0 h 137"/>
                <a:gd name="T54" fmla="*/ 7 w 78"/>
                <a:gd name="T55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8" h="137">
                  <a:moveTo>
                    <a:pt x="7" y="0"/>
                  </a:moveTo>
                  <a:cubicBezTo>
                    <a:pt x="7" y="59"/>
                    <a:pt x="7" y="59"/>
                    <a:pt x="7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9" y="56"/>
                    <a:pt x="11" y="52"/>
                    <a:pt x="13" y="50"/>
                  </a:cubicBezTo>
                  <a:cubicBezTo>
                    <a:pt x="16" y="47"/>
                    <a:pt x="18" y="44"/>
                    <a:pt x="21" y="42"/>
                  </a:cubicBezTo>
                  <a:cubicBezTo>
                    <a:pt x="25" y="40"/>
                    <a:pt x="28" y="39"/>
                    <a:pt x="32" y="38"/>
                  </a:cubicBezTo>
                  <a:cubicBezTo>
                    <a:pt x="36" y="36"/>
                    <a:pt x="39" y="36"/>
                    <a:pt x="43" y="36"/>
                  </a:cubicBezTo>
                  <a:cubicBezTo>
                    <a:pt x="49" y="36"/>
                    <a:pt x="54" y="37"/>
                    <a:pt x="58" y="38"/>
                  </a:cubicBezTo>
                  <a:cubicBezTo>
                    <a:pt x="62" y="39"/>
                    <a:pt x="65" y="41"/>
                    <a:pt x="68" y="44"/>
                  </a:cubicBezTo>
                  <a:cubicBezTo>
                    <a:pt x="70" y="46"/>
                    <a:pt x="72" y="49"/>
                    <a:pt x="74" y="51"/>
                  </a:cubicBezTo>
                  <a:cubicBezTo>
                    <a:pt x="75" y="54"/>
                    <a:pt x="76" y="57"/>
                    <a:pt x="77" y="60"/>
                  </a:cubicBezTo>
                  <a:cubicBezTo>
                    <a:pt x="78" y="63"/>
                    <a:pt x="78" y="66"/>
                    <a:pt x="78" y="69"/>
                  </a:cubicBezTo>
                  <a:cubicBezTo>
                    <a:pt x="78" y="72"/>
                    <a:pt x="78" y="74"/>
                    <a:pt x="78" y="76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71" y="137"/>
                    <a:pt x="71" y="137"/>
                    <a:pt x="71" y="137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2"/>
                    <a:pt x="71" y="69"/>
                    <a:pt x="71" y="65"/>
                  </a:cubicBezTo>
                  <a:cubicBezTo>
                    <a:pt x="70" y="62"/>
                    <a:pt x="69" y="58"/>
                    <a:pt x="67" y="55"/>
                  </a:cubicBezTo>
                  <a:cubicBezTo>
                    <a:pt x="65" y="51"/>
                    <a:pt x="62" y="48"/>
                    <a:pt x="59" y="46"/>
                  </a:cubicBezTo>
                  <a:cubicBezTo>
                    <a:pt x="55" y="44"/>
                    <a:pt x="50" y="42"/>
                    <a:pt x="43" y="42"/>
                  </a:cubicBezTo>
                  <a:cubicBezTo>
                    <a:pt x="37" y="42"/>
                    <a:pt x="32" y="43"/>
                    <a:pt x="28" y="45"/>
                  </a:cubicBezTo>
                  <a:cubicBezTo>
                    <a:pt x="24" y="47"/>
                    <a:pt x="20" y="50"/>
                    <a:pt x="17" y="54"/>
                  </a:cubicBezTo>
                  <a:cubicBezTo>
                    <a:pt x="14" y="58"/>
                    <a:pt x="11" y="62"/>
                    <a:pt x="10" y="67"/>
                  </a:cubicBezTo>
                  <a:cubicBezTo>
                    <a:pt x="8" y="72"/>
                    <a:pt x="7" y="78"/>
                    <a:pt x="7" y="84"/>
                  </a:cubicBezTo>
                  <a:cubicBezTo>
                    <a:pt x="7" y="137"/>
                    <a:pt x="7" y="137"/>
                    <a:pt x="7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4F70BBB5-54E1-43AC-9368-DFC4B7E90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726" y="4786313"/>
              <a:ext cx="960438" cy="1127125"/>
            </a:xfrm>
            <a:custGeom>
              <a:avLst/>
              <a:gdLst>
                <a:gd name="T0" fmla="*/ 78 w 90"/>
                <a:gd name="T1" fmla="*/ 83 h 104"/>
                <a:gd name="T2" fmla="*/ 78 w 90"/>
                <a:gd name="T3" fmla="*/ 87 h 104"/>
                <a:gd name="T4" fmla="*/ 79 w 90"/>
                <a:gd name="T5" fmla="*/ 91 h 104"/>
                <a:gd name="T6" fmla="*/ 81 w 90"/>
                <a:gd name="T7" fmla="*/ 94 h 104"/>
                <a:gd name="T8" fmla="*/ 85 w 90"/>
                <a:gd name="T9" fmla="*/ 95 h 104"/>
                <a:gd name="T10" fmla="*/ 90 w 90"/>
                <a:gd name="T11" fmla="*/ 94 h 104"/>
                <a:gd name="T12" fmla="*/ 90 w 90"/>
                <a:gd name="T13" fmla="*/ 101 h 104"/>
                <a:gd name="T14" fmla="*/ 87 w 90"/>
                <a:gd name="T15" fmla="*/ 101 h 104"/>
                <a:gd name="T16" fmla="*/ 84 w 90"/>
                <a:gd name="T17" fmla="*/ 101 h 104"/>
                <a:gd name="T18" fmla="*/ 77 w 90"/>
                <a:gd name="T19" fmla="*/ 100 h 104"/>
                <a:gd name="T20" fmla="*/ 73 w 90"/>
                <a:gd name="T21" fmla="*/ 97 h 104"/>
                <a:gd name="T22" fmla="*/ 71 w 90"/>
                <a:gd name="T23" fmla="*/ 93 h 104"/>
                <a:gd name="T24" fmla="*/ 71 w 90"/>
                <a:gd name="T25" fmla="*/ 87 h 104"/>
                <a:gd name="T26" fmla="*/ 71 w 90"/>
                <a:gd name="T27" fmla="*/ 82 h 104"/>
                <a:gd name="T28" fmla="*/ 70 w 90"/>
                <a:gd name="T29" fmla="*/ 82 h 104"/>
                <a:gd name="T30" fmla="*/ 65 w 90"/>
                <a:gd name="T31" fmla="*/ 90 h 104"/>
                <a:gd name="T32" fmla="*/ 57 w 90"/>
                <a:gd name="T33" fmla="*/ 97 h 104"/>
                <a:gd name="T34" fmla="*/ 47 w 90"/>
                <a:gd name="T35" fmla="*/ 102 h 104"/>
                <a:gd name="T36" fmla="*/ 34 w 90"/>
                <a:gd name="T37" fmla="*/ 104 h 104"/>
                <a:gd name="T38" fmla="*/ 21 w 90"/>
                <a:gd name="T39" fmla="*/ 102 h 104"/>
                <a:gd name="T40" fmla="*/ 10 w 90"/>
                <a:gd name="T41" fmla="*/ 97 h 104"/>
                <a:gd name="T42" fmla="*/ 3 w 90"/>
                <a:gd name="T43" fmla="*/ 89 h 104"/>
                <a:gd name="T44" fmla="*/ 0 w 90"/>
                <a:gd name="T45" fmla="*/ 76 h 104"/>
                <a:gd name="T46" fmla="*/ 4 w 90"/>
                <a:gd name="T47" fmla="*/ 62 h 104"/>
                <a:gd name="T48" fmla="*/ 12 w 90"/>
                <a:gd name="T49" fmla="*/ 53 h 104"/>
                <a:gd name="T50" fmla="*/ 24 w 90"/>
                <a:gd name="T51" fmla="*/ 48 h 104"/>
                <a:gd name="T52" fmla="*/ 37 w 90"/>
                <a:gd name="T53" fmla="*/ 46 h 104"/>
                <a:gd name="T54" fmla="*/ 56 w 90"/>
                <a:gd name="T55" fmla="*/ 45 h 104"/>
                <a:gd name="T56" fmla="*/ 66 w 90"/>
                <a:gd name="T57" fmla="*/ 41 h 104"/>
                <a:gd name="T58" fmla="*/ 70 w 90"/>
                <a:gd name="T59" fmla="*/ 36 h 104"/>
                <a:gd name="T60" fmla="*/ 71 w 90"/>
                <a:gd name="T61" fmla="*/ 26 h 104"/>
                <a:gd name="T62" fmla="*/ 70 w 90"/>
                <a:gd name="T63" fmla="*/ 21 h 104"/>
                <a:gd name="T64" fmla="*/ 66 w 90"/>
                <a:gd name="T65" fmla="*/ 14 h 104"/>
                <a:gd name="T66" fmla="*/ 57 w 90"/>
                <a:gd name="T67" fmla="*/ 9 h 104"/>
                <a:gd name="T68" fmla="*/ 43 w 90"/>
                <a:gd name="T69" fmla="*/ 6 h 104"/>
                <a:gd name="T70" fmla="*/ 22 w 90"/>
                <a:gd name="T71" fmla="*/ 13 h 104"/>
                <a:gd name="T72" fmla="*/ 13 w 90"/>
                <a:gd name="T73" fmla="*/ 33 h 104"/>
                <a:gd name="T74" fmla="*/ 6 w 90"/>
                <a:gd name="T75" fmla="*/ 33 h 104"/>
                <a:gd name="T76" fmla="*/ 16 w 90"/>
                <a:gd name="T77" fmla="*/ 8 h 104"/>
                <a:gd name="T78" fmla="*/ 43 w 90"/>
                <a:gd name="T79" fmla="*/ 0 h 104"/>
                <a:gd name="T80" fmla="*/ 56 w 90"/>
                <a:gd name="T81" fmla="*/ 1 h 104"/>
                <a:gd name="T82" fmla="*/ 67 w 90"/>
                <a:gd name="T83" fmla="*/ 5 h 104"/>
                <a:gd name="T84" fmla="*/ 75 w 90"/>
                <a:gd name="T85" fmla="*/ 13 h 104"/>
                <a:gd name="T86" fmla="*/ 78 w 90"/>
                <a:gd name="T87" fmla="*/ 26 h 104"/>
                <a:gd name="T88" fmla="*/ 78 w 90"/>
                <a:gd name="T89" fmla="*/ 83 h 104"/>
                <a:gd name="T90" fmla="*/ 71 w 90"/>
                <a:gd name="T91" fmla="*/ 45 h 104"/>
                <a:gd name="T92" fmla="*/ 65 w 90"/>
                <a:gd name="T93" fmla="*/ 49 h 104"/>
                <a:gd name="T94" fmla="*/ 56 w 90"/>
                <a:gd name="T95" fmla="*/ 51 h 104"/>
                <a:gd name="T96" fmla="*/ 46 w 90"/>
                <a:gd name="T97" fmla="*/ 52 h 104"/>
                <a:gd name="T98" fmla="*/ 35 w 90"/>
                <a:gd name="T99" fmla="*/ 53 h 104"/>
                <a:gd name="T100" fmla="*/ 15 w 90"/>
                <a:gd name="T101" fmla="*/ 59 h 104"/>
                <a:gd name="T102" fmla="*/ 8 w 90"/>
                <a:gd name="T103" fmla="*/ 76 h 104"/>
                <a:gd name="T104" fmla="*/ 14 w 90"/>
                <a:gd name="T105" fmla="*/ 91 h 104"/>
                <a:gd name="T106" fmla="*/ 34 w 90"/>
                <a:gd name="T107" fmla="*/ 97 h 104"/>
                <a:gd name="T108" fmla="*/ 54 w 90"/>
                <a:gd name="T109" fmla="*/ 93 h 104"/>
                <a:gd name="T110" fmla="*/ 65 w 90"/>
                <a:gd name="T111" fmla="*/ 82 h 104"/>
                <a:gd name="T112" fmla="*/ 70 w 90"/>
                <a:gd name="T113" fmla="*/ 71 h 104"/>
                <a:gd name="T114" fmla="*/ 71 w 90"/>
                <a:gd name="T115" fmla="*/ 64 h 104"/>
                <a:gd name="T116" fmla="*/ 71 w 90"/>
                <a:gd name="T117" fmla="*/ 4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" h="104">
                  <a:moveTo>
                    <a:pt x="78" y="83"/>
                  </a:moveTo>
                  <a:cubicBezTo>
                    <a:pt x="78" y="84"/>
                    <a:pt x="78" y="86"/>
                    <a:pt x="78" y="87"/>
                  </a:cubicBezTo>
                  <a:cubicBezTo>
                    <a:pt x="78" y="89"/>
                    <a:pt x="78" y="90"/>
                    <a:pt x="79" y="91"/>
                  </a:cubicBezTo>
                  <a:cubicBezTo>
                    <a:pt x="79" y="92"/>
                    <a:pt x="80" y="93"/>
                    <a:pt x="81" y="94"/>
                  </a:cubicBezTo>
                  <a:cubicBezTo>
                    <a:pt x="82" y="95"/>
                    <a:pt x="83" y="95"/>
                    <a:pt x="85" y="95"/>
                  </a:cubicBezTo>
                  <a:cubicBezTo>
                    <a:pt x="86" y="95"/>
                    <a:pt x="88" y="95"/>
                    <a:pt x="90" y="94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89" y="101"/>
                    <a:pt x="88" y="101"/>
                    <a:pt x="87" y="101"/>
                  </a:cubicBezTo>
                  <a:cubicBezTo>
                    <a:pt x="86" y="101"/>
                    <a:pt x="85" y="101"/>
                    <a:pt x="84" y="101"/>
                  </a:cubicBezTo>
                  <a:cubicBezTo>
                    <a:pt x="81" y="101"/>
                    <a:pt x="79" y="101"/>
                    <a:pt x="77" y="100"/>
                  </a:cubicBezTo>
                  <a:cubicBezTo>
                    <a:pt x="75" y="99"/>
                    <a:pt x="74" y="98"/>
                    <a:pt x="73" y="97"/>
                  </a:cubicBezTo>
                  <a:cubicBezTo>
                    <a:pt x="72" y="96"/>
                    <a:pt x="72" y="94"/>
                    <a:pt x="71" y="93"/>
                  </a:cubicBezTo>
                  <a:cubicBezTo>
                    <a:pt x="71" y="91"/>
                    <a:pt x="71" y="89"/>
                    <a:pt x="71" y="87"/>
                  </a:cubicBezTo>
                  <a:cubicBezTo>
                    <a:pt x="71" y="82"/>
                    <a:pt x="71" y="82"/>
                    <a:pt x="71" y="82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69" y="85"/>
                    <a:pt x="68" y="87"/>
                    <a:pt x="65" y="90"/>
                  </a:cubicBezTo>
                  <a:cubicBezTo>
                    <a:pt x="63" y="93"/>
                    <a:pt x="61" y="95"/>
                    <a:pt x="57" y="97"/>
                  </a:cubicBezTo>
                  <a:cubicBezTo>
                    <a:pt x="54" y="99"/>
                    <a:pt x="51" y="101"/>
                    <a:pt x="47" y="102"/>
                  </a:cubicBezTo>
                  <a:cubicBezTo>
                    <a:pt x="43" y="103"/>
                    <a:pt x="38" y="104"/>
                    <a:pt x="34" y="104"/>
                  </a:cubicBezTo>
                  <a:cubicBezTo>
                    <a:pt x="29" y="104"/>
                    <a:pt x="25" y="103"/>
                    <a:pt x="21" y="102"/>
                  </a:cubicBezTo>
                  <a:cubicBezTo>
                    <a:pt x="16" y="101"/>
                    <a:pt x="13" y="100"/>
                    <a:pt x="10" y="97"/>
                  </a:cubicBezTo>
                  <a:cubicBezTo>
                    <a:pt x="7" y="95"/>
                    <a:pt x="5" y="92"/>
                    <a:pt x="3" y="89"/>
                  </a:cubicBezTo>
                  <a:cubicBezTo>
                    <a:pt x="1" y="85"/>
                    <a:pt x="0" y="81"/>
                    <a:pt x="0" y="76"/>
                  </a:cubicBezTo>
                  <a:cubicBezTo>
                    <a:pt x="0" y="70"/>
                    <a:pt x="2" y="65"/>
                    <a:pt x="4" y="62"/>
                  </a:cubicBezTo>
                  <a:cubicBezTo>
                    <a:pt x="6" y="58"/>
                    <a:pt x="9" y="55"/>
                    <a:pt x="12" y="53"/>
                  </a:cubicBezTo>
                  <a:cubicBezTo>
                    <a:pt x="16" y="51"/>
                    <a:pt x="20" y="49"/>
                    <a:pt x="24" y="48"/>
                  </a:cubicBezTo>
                  <a:cubicBezTo>
                    <a:pt x="29" y="47"/>
                    <a:pt x="33" y="47"/>
                    <a:pt x="37" y="46"/>
                  </a:cubicBezTo>
                  <a:cubicBezTo>
                    <a:pt x="45" y="46"/>
                    <a:pt x="51" y="45"/>
                    <a:pt x="56" y="45"/>
                  </a:cubicBezTo>
                  <a:cubicBezTo>
                    <a:pt x="61" y="44"/>
                    <a:pt x="64" y="43"/>
                    <a:pt x="66" y="41"/>
                  </a:cubicBezTo>
                  <a:cubicBezTo>
                    <a:pt x="68" y="40"/>
                    <a:pt x="70" y="38"/>
                    <a:pt x="70" y="36"/>
                  </a:cubicBezTo>
                  <a:cubicBezTo>
                    <a:pt x="71" y="33"/>
                    <a:pt x="71" y="30"/>
                    <a:pt x="71" y="26"/>
                  </a:cubicBezTo>
                  <a:cubicBezTo>
                    <a:pt x="71" y="25"/>
                    <a:pt x="71" y="23"/>
                    <a:pt x="70" y="21"/>
                  </a:cubicBezTo>
                  <a:cubicBezTo>
                    <a:pt x="69" y="19"/>
                    <a:pt x="68" y="17"/>
                    <a:pt x="66" y="14"/>
                  </a:cubicBezTo>
                  <a:cubicBezTo>
                    <a:pt x="64" y="12"/>
                    <a:pt x="61" y="10"/>
                    <a:pt x="57" y="9"/>
                  </a:cubicBezTo>
                  <a:cubicBezTo>
                    <a:pt x="54" y="7"/>
                    <a:pt x="49" y="6"/>
                    <a:pt x="43" y="6"/>
                  </a:cubicBezTo>
                  <a:cubicBezTo>
                    <a:pt x="35" y="6"/>
                    <a:pt x="27" y="9"/>
                    <a:pt x="22" y="13"/>
                  </a:cubicBezTo>
                  <a:cubicBezTo>
                    <a:pt x="16" y="18"/>
                    <a:pt x="13" y="24"/>
                    <a:pt x="13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22"/>
                    <a:pt x="10" y="14"/>
                    <a:pt x="16" y="8"/>
                  </a:cubicBezTo>
                  <a:cubicBezTo>
                    <a:pt x="23" y="3"/>
                    <a:pt x="32" y="0"/>
                    <a:pt x="43" y="0"/>
                  </a:cubicBezTo>
                  <a:cubicBezTo>
                    <a:pt x="48" y="0"/>
                    <a:pt x="52" y="0"/>
                    <a:pt x="56" y="1"/>
                  </a:cubicBezTo>
                  <a:cubicBezTo>
                    <a:pt x="60" y="2"/>
                    <a:pt x="64" y="3"/>
                    <a:pt x="67" y="5"/>
                  </a:cubicBezTo>
                  <a:cubicBezTo>
                    <a:pt x="70" y="7"/>
                    <a:pt x="73" y="10"/>
                    <a:pt x="75" y="13"/>
                  </a:cubicBezTo>
                  <a:cubicBezTo>
                    <a:pt x="77" y="16"/>
                    <a:pt x="78" y="21"/>
                    <a:pt x="78" y="26"/>
                  </a:cubicBezTo>
                  <a:lnTo>
                    <a:pt x="78" y="83"/>
                  </a:lnTo>
                  <a:close/>
                  <a:moveTo>
                    <a:pt x="71" y="45"/>
                  </a:moveTo>
                  <a:cubicBezTo>
                    <a:pt x="69" y="47"/>
                    <a:pt x="67" y="48"/>
                    <a:pt x="65" y="49"/>
                  </a:cubicBezTo>
                  <a:cubicBezTo>
                    <a:pt x="62" y="50"/>
                    <a:pt x="59" y="50"/>
                    <a:pt x="56" y="51"/>
                  </a:cubicBezTo>
                  <a:cubicBezTo>
                    <a:pt x="53" y="51"/>
                    <a:pt x="49" y="51"/>
                    <a:pt x="46" y="52"/>
                  </a:cubicBezTo>
                  <a:cubicBezTo>
                    <a:pt x="42" y="52"/>
                    <a:pt x="38" y="52"/>
                    <a:pt x="35" y="53"/>
                  </a:cubicBezTo>
                  <a:cubicBezTo>
                    <a:pt x="26" y="54"/>
                    <a:pt x="19" y="56"/>
                    <a:pt x="15" y="59"/>
                  </a:cubicBezTo>
                  <a:cubicBezTo>
                    <a:pt x="10" y="63"/>
                    <a:pt x="8" y="68"/>
                    <a:pt x="8" y="76"/>
                  </a:cubicBezTo>
                  <a:cubicBezTo>
                    <a:pt x="8" y="82"/>
                    <a:pt x="10" y="87"/>
                    <a:pt x="14" y="91"/>
                  </a:cubicBezTo>
                  <a:cubicBezTo>
                    <a:pt x="18" y="95"/>
                    <a:pt x="25" y="97"/>
                    <a:pt x="34" y="97"/>
                  </a:cubicBezTo>
                  <a:cubicBezTo>
                    <a:pt x="42" y="97"/>
                    <a:pt x="49" y="96"/>
                    <a:pt x="54" y="93"/>
                  </a:cubicBezTo>
                  <a:cubicBezTo>
                    <a:pt x="58" y="90"/>
                    <a:pt x="62" y="86"/>
                    <a:pt x="65" y="82"/>
                  </a:cubicBezTo>
                  <a:cubicBezTo>
                    <a:pt x="67" y="78"/>
                    <a:pt x="69" y="75"/>
                    <a:pt x="70" y="71"/>
                  </a:cubicBezTo>
                  <a:cubicBezTo>
                    <a:pt x="70" y="67"/>
                    <a:pt x="71" y="65"/>
                    <a:pt x="71" y="64"/>
                  </a:cubicBezTo>
                  <a:lnTo>
                    <a:pt x="71" y="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62" name="Freeform 8">
              <a:extLst>
                <a:ext uri="{FF2B5EF4-FFF2-40B4-BE49-F238E27FC236}">
                  <a16:creationId xmlns:a16="http://schemas.microsoft.com/office/drawing/2014/main" id="{22E600DA-05F9-41F6-B361-F8479B4C6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1638" y="4786313"/>
              <a:ext cx="841375" cy="1095375"/>
            </a:xfrm>
            <a:custGeom>
              <a:avLst/>
              <a:gdLst>
                <a:gd name="T0" fmla="*/ 0 w 79"/>
                <a:gd name="T1" fmla="*/ 2 h 101"/>
                <a:gd name="T2" fmla="*/ 8 w 79"/>
                <a:gd name="T3" fmla="*/ 2 h 101"/>
                <a:gd name="T4" fmla="*/ 8 w 79"/>
                <a:gd name="T5" fmla="*/ 23 h 101"/>
                <a:gd name="T6" fmla="*/ 8 w 79"/>
                <a:gd name="T7" fmla="*/ 23 h 101"/>
                <a:gd name="T8" fmla="*/ 14 w 79"/>
                <a:gd name="T9" fmla="*/ 14 h 101"/>
                <a:gd name="T10" fmla="*/ 22 w 79"/>
                <a:gd name="T11" fmla="*/ 6 h 101"/>
                <a:gd name="T12" fmla="*/ 32 w 79"/>
                <a:gd name="T13" fmla="*/ 2 h 101"/>
                <a:gd name="T14" fmla="*/ 44 w 79"/>
                <a:gd name="T15" fmla="*/ 0 h 101"/>
                <a:gd name="T16" fmla="*/ 58 w 79"/>
                <a:gd name="T17" fmla="*/ 2 h 101"/>
                <a:gd name="T18" fmla="*/ 68 w 79"/>
                <a:gd name="T19" fmla="*/ 8 h 101"/>
                <a:gd name="T20" fmla="*/ 74 w 79"/>
                <a:gd name="T21" fmla="*/ 15 h 101"/>
                <a:gd name="T22" fmla="*/ 78 w 79"/>
                <a:gd name="T23" fmla="*/ 24 h 101"/>
                <a:gd name="T24" fmla="*/ 79 w 79"/>
                <a:gd name="T25" fmla="*/ 33 h 101"/>
                <a:gd name="T26" fmla="*/ 79 w 79"/>
                <a:gd name="T27" fmla="*/ 40 h 101"/>
                <a:gd name="T28" fmla="*/ 79 w 79"/>
                <a:gd name="T29" fmla="*/ 101 h 101"/>
                <a:gd name="T30" fmla="*/ 72 w 79"/>
                <a:gd name="T31" fmla="*/ 101 h 101"/>
                <a:gd name="T32" fmla="*/ 72 w 79"/>
                <a:gd name="T33" fmla="*/ 39 h 101"/>
                <a:gd name="T34" fmla="*/ 71 w 79"/>
                <a:gd name="T35" fmla="*/ 29 h 101"/>
                <a:gd name="T36" fmla="*/ 68 w 79"/>
                <a:gd name="T37" fmla="*/ 19 h 101"/>
                <a:gd name="T38" fmla="*/ 59 w 79"/>
                <a:gd name="T39" fmla="*/ 10 h 101"/>
                <a:gd name="T40" fmla="*/ 43 w 79"/>
                <a:gd name="T41" fmla="*/ 6 h 101"/>
                <a:gd name="T42" fmla="*/ 28 w 79"/>
                <a:gd name="T43" fmla="*/ 9 h 101"/>
                <a:gd name="T44" fmla="*/ 17 w 79"/>
                <a:gd name="T45" fmla="*/ 18 h 101"/>
                <a:gd name="T46" fmla="*/ 10 w 79"/>
                <a:gd name="T47" fmla="*/ 31 h 101"/>
                <a:gd name="T48" fmla="*/ 8 w 79"/>
                <a:gd name="T49" fmla="*/ 48 h 101"/>
                <a:gd name="T50" fmla="*/ 8 w 79"/>
                <a:gd name="T51" fmla="*/ 101 h 101"/>
                <a:gd name="T52" fmla="*/ 0 w 79"/>
                <a:gd name="T53" fmla="*/ 101 h 101"/>
                <a:gd name="T54" fmla="*/ 0 w 79"/>
                <a:gd name="T55" fmla="*/ 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9" h="101">
                  <a:moveTo>
                    <a:pt x="0" y="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9" y="20"/>
                    <a:pt x="11" y="16"/>
                    <a:pt x="14" y="14"/>
                  </a:cubicBezTo>
                  <a:cubicBezTo>
                    <a:pt x="16" y="11"/>
                    <a:pt x="19" y="8"/>
                    <a:pt x="22" y="6"/>
                  </a:cubicBezTo>
                  <a:cubicBezTo>
                    <a:pt x="25" y="4"/>
                    <a:pt x="28" y="3"/>
                    <a:pt x="32" y="2"/>
                  </a:cubicBezTo>
                  <a:cubicBezTo>
                    <a:pt x="36" y="0"/>
                    <a:pt x="40" y="0"/>
                    <a:pt x="44" y="0"/>
                  </a:cubicBezTo>
                  <a:cubicBezTo>
                    <a:pt x="49" y="0"/>
                    <a:pt x="54" y="1"/>
                    <a:pt x="58" y="2"/>
                  </a:cubicBezTo>
                  <a:cubicBezTo>
                    <a:pt x="62" y="3"/>
                    <a:pt x="66" y="5"/>
                    <a:pt x="68" y="8"/>
                  </a:cubicBezTo>
                  <a:cubicBezTo>
                    <a:pt x="71" y="10"/>
                    <a:pt x="73" y="13"/>
                    <a:pt x="74" y="15"/>
                  </a:cubicBezTo>
                  <a:cubicBezTo>
                    <a:pt x="76" y="18"/>
                    <a:pt x="77" y="21"/>
                    <a:pt x="78" y="24"/>
                  </a:cubicBezTo>
                  <a:cubicBezTo>
                    <a:pt x="78" y="27"/>
                    <a:pt x="79" y="30"/>
                    <a:pt x="79" y="33"/>
                  </a:cubicBezTo>
                  <a:cubicBezTo>
                    <a:pt x="79" y="36"/>
                    <a:pt x="79" y="38"/>
                    <a:pt x="79" y="40"/>
                  </a:cubicBezTo>
                  <a:cubicBezTo>
                    <a:pt x="79" y="101"/>
                    <a:pt x="79" y="101"/>
                    <a:pt x="79" y="101"/>
                  </a:cubicBezTo>
                  <a:cubicBezTo>
                    <a:pt x="72" y="101"/>
                    <a:pt x="72" y="101"/>
                    <a:pt x="72" y="101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6"/>
                    <a:pt x="71" y="33"/>
                    <a:pt x="71" y="29"/>
                  </a:cubicBezTo>
                  <a:cubicBezTo>
                    <a:pt x="71" y="26"/>
                    <a:pt x="69" y="22"/>
                    <a:pt x="68" y="19"/>
                  </a:cubicBezTo>
                  <a:cubicBezTo>
                    <a:pt x="66" y="15"/>
                    <a:pt x="63" y="12"/>
                    <a:pt x="59" y="10"/>
                  </a:cubicBezTo>
                  <a:cubicBezTo>
                    <a:pt x="55" y="8"/>
                    <a:pt x="50" y="6"/>
                    <a:pt x="43" y="6"/>
                  </a:cubicBezTo>
                  <a:cubicBezTo>
                    <a:pt x="38" y="6"/>
                    <a:pt x="33" y="7"/>
                    <a:pt x="28" y="9"/>
                  </a:cubicBezTo>
                  <a:cubicBezTo>
                    <a:pt x="24" y="11"/>
                    <a:pt x="20" y="14"/>
                    <a:pt x="17" y="18"/>
                  </a:cubicBezTo>
                  <a:cubicBezTo>
                    <a:pt x="14" y="22"/>
                    <a:pt x="12" y="26"/>
                    <a:pt x="10" y="31"/>
                  </a:cubicBezTo>
                  <a:cubicBezTo>
                    <a:pt x="9" y="36"/>
                    <a:pt x="8" y="42"/>
                    <a:pt x="8" y="48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0" y="101"/>
                    <a:pt x="0" y="101"/>
                    <a:pt x="0" y="101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63" name="Freeform 9">
              <a:extLst>
                <a:ext uri="{FF2B5EF4-FFF2-40B4-BE49-F238E27FC236}">
                  <a16:creationId xmlns:a16="http://schemas.microsoft.com/office/drawing/2014/main" id="{D73E7D82-BA1C-4D8B-861C-354EDF431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7963" y="4395788"/>
              <a:ext cx="873125" cy="1485900"/>
            </a:xfrm>
            <a:custGeom>
              <a:avLst/>
              <a:gdLst>
                <a:gd name="T0" fmla="*/ 0 w 550"/>
                <a:gd name="T1" fmla="*/ 0 h 936"/>
                <a:gd name="T2" fmla="*/ 47 w 550"/>
                <a:gd name="T3" fmla="*/ 0 h 936"/>
                <a:gd name="T4" fmla="*/ 47 w 550"/>
                <a:gd name="T5" fmla="*/ 621 h 936"/>
                <a:gd name="T6" fmla="*/ 456 w 550"/>
                <a:gd name="T7" fmla="*/ 259 h 936"/>
                <a:gd name="T8" fmla="*/ 530 w 550"/>
                <a:gd name="T9" fmla="*/ 259 h 936"/>
                <a:gd name="T10" fmla="*/ 235 w 550"/>
                <a:gd name="T11" fmla="*/ 512 h 936"/>
                <a:gd name="T12" fmla="*/ 550 w 550"/>
                <a:gd name="T13" fmla="*/ 936 h 936"/>
                <a:gd name="T14" fmla="*/ 483 w 550"/>
                <a:gd name="T15" fmla="*/ 936 h 936"/>
                <a:gd name="T16" fmla="*/ 201 w 550"/>
                <a:gd name="T17" fmla="*/ 553 h 936"/>
                <a:gd name="T18" fmla="*/ 47 w 550"/>
                <a:gd name="T19" fmla="*/ 683 h 936"/>
                <a:gd name="T20" fmla="*/ 47 w 550"/>
                <a:gd name="T21" fmla="*/ 936 h 936"/>
                <a:gd name="T22" fmla="*/ 0 w 550"/>
                <a:gd name="T23" fmla="*/ 936 h 936"/>
                <a:gd name="T24" fmla="*/ 0 w 550"/>
                <a:gd name="T25" fmla="*/ 0 h 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0" h="936">
                  <a:moveTo>
                    <a:pt x="0" y="0"/>
                  </a:moveTo>
                  <a:lnTo>
                    <a:pt x="47" y="0"/>
                  </a:lnTo>
                  <a:lnTo>
                    <a:pt x="47" y="621"/>
                  </a:lnTo>
                  <a:lnTo>
                    <a:pt x="456" y="259"/>
                  </a:lnTo>
                  <a:lnTo>
                    <a:pt x="530" y="259"/>
                  </a:lnTo>
                  <a:lnTo>
                    <a:pt x="235" y="512"/>
                  </a:lnTo>
                  <a:lnTo>
                    <a:pt x="550" y="936"/>
                  </a:lnTo>
                  <a:lnTo>
                    <a:pt x="483" y="936"/>
                  </a:lnTo>
                  <a:lnTo>
                    <a:pt x="201" y="553"/>
                  </a:lnTo>
                  <a:lnTo>
                    <a:pt x="47" y="683"/>
                  </a:lnTo>
                  <a:lnTo>
                    <a:pt x="47" y="936"/>
                  </a:lnTo>
                  <a:lnTo>
                    <a:pt x="0" y="93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0AE780CF-71B8-45C8-9E81-8C210AD6B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0513" y="4395788"/>
              <a:ext cx="1268413" cy="1485900"/>
            </a:xfrm>
            <a:custGeom>
              <a:avLst/>
              <a:gdLst>
                <a:gd name="T0" fmla="*/ 739 w 799"/>
                <a:gd name="T1" fmla="*/ 0 h 936"/>
                <a:gd name="T2" fmla="*/ 799 w 799"/>
                <a:gd name="T3" fmla="*/ 0 h 936"/>
                <a:gd name="T4" fmla="*/ 430 w 799"/>
                <a:gd name="T5" fmla="*/ 546 h 936"/>
                <a:gd name="T6" fmla="*/ 430 w 799"/>
                <a:gd name="T7" fmla="*/ 936 h 936"/>
                <a:gd name="T8" fmla="*/ 370 w 799"/>
                <a:gd name="T9" fmla="*/ 936 h 936"/>
                <a:gd name="T10" fmla="*/ 370 w 799"/>
                <a:gd name="T11" fmla="*/ 546 h 936"/>
                <a:gd name="T12" fmla="*/ 0 w 799"/>
                <a:gd name="T13" fmla="*/ 0 h 936"/>
                <a:gd name="T14" fmla="*/ 68 w 799"/>
                <a:gd name="T15" fmla="*/ 0 h 936"/>
                <a:gd name="T16" fmla="*/ 403 w 799"/>
                <a:gd name="T17" fmla="*/ 498 h 936"/>
                <a:gd name="T18" fmla="*/ 739 w 799"/>
                <a:gd name="T19" fmla="*/ 0 h 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9" h="936">
                  <a:moveTo>
                    <a:pt x="739" y="0"/>
                  </a:moveTo>
                  <a:lnTo>
                    <a:pt x="799" y="0"/>
                  </a:lnTo>
                  <a:lnTo>
                    <a:pt x="430" y="546"/>
                  </a:lnTo>
                  <a:lnTo>
                    <a:pt x="430" y="936"/>
                  </a:lnTo>
                  <a:lnTo>
                    <a:pt x="370" y="936"/>
                  </a:lnTo>
                  <a:lnTo>
                    <a:pt x="370" y="546"/>
                  </a:lnTo>
                  <a:lnTo>
                    <a:pt x="0" y="0"/>
                  </a:lnTo>
                  <a:lnTo>
                    <a:pt x="68" y="0"/>
                  </a:lnTo>
                  <a:lnTo>
                    <a:pt x="403" y="498"/>
                  </a:lnTo>
                  <a:lnTo>
                    <a:pt x="7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E2ED466F-882D-4047-89D5-D3AD709F31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91926" y="4786313"/>
              <a:ext cx="969963" cy="1127125"/>
            </a:xfrm>
            <a:custGeom>
              <a:avLst/>
              <a:gdLst>
                <a:gd name="T0" fmla="*/ 0 w 91"/>
                <a:gd name="T1" fmla="*/ 52 h 104"/>
                <a:gd name="T2" fmla="*/ 3 w 91"/>
                <a:gd name="T3" fmla="*/ 32 h 104"/>
                <a:gd name="T4" fmla="*/ 12 w 91"/>
                <a:gd name="T5" fmla="*/ 15 h 104"/>
                <a:gd name="T6" fmla="*/ 26 w 91"/>
                <a:gd name="T7" fmla="*/ 4 h 104"/>
                <a:gd name="T8" fmla="*/ 46 w 91"/>
                <a:gd name="T9" fmla="*/ 0 h 104"/>
                <a:gd name="T10" fmla="*/ 65 w 91"/>
                <a:gd name="T11" fmla="*/ 4 h 104"/>
                <a:gd name="T12" fmla="*/ 79 w 91"/>
                <a:gd name="T13" fmla="*/ 15 h 104"/>
                <a:gd name="T14" fmla="*/ 88 w 91"/>
                <a:gd name="T15" fmla="*/ 32 h 104"/>
                <a:gd name="T16" fmla="*/ 91 w 91"/>
                <a:gd name="T17" fmla="*/ 52 h 104"/>
                <a:gd name="T18" fmla="*/ 88 w 91"/>
                <a:gd name="T19" fmla="*/ 72 h 104"/>
                <a:gd name="T20" fmla="*/ 79 w 91"/>
                <a:gd name="T21" fmla="*/ 88 h 104"/>
                <a:gd name="T22" fmla="*/ 65 w 91"/>
                <a:gd name="T23" fmla="*/ 100 h 104"/>
                <a:gd name="T24" fmla="*/ 46 w 91"/>
                <a:gd name="T25" fmla="*/ 104 h 104"/>
                <a:gd name="T26" fmla="*/ 26 w 91"/>
                <a:gd name="T27" fmla="*/ 100 h 104"/>
                <a:gd name="T28" fmla="*/ 12 w 91"/>
                <a:gd name="T29" fmla="*/ 88 h 104"/>
                <a:gd name="T30" fmla="*/ 3 w 91"/>
                <a:gd name="T31" fmla="*/ 72 h 104"/>
                <a:gd name="T32" fmla="*/ 0 w 91"/>
                <a:gd name="T33" fmla="*/ 52 h 104"/>
                <a:gd name="T34" fmla="*/ 7 w 91"/>
                <a:gd name="T35" fmla="*/ 52 h 104"/>
                <a:gd name="T36" fmla="*/ 10 w 91"/>
                <a:gd name="T37" fmla="*/ 69 h 104"/>
                <a:gd name="T38" fmla="*/ 17 w 91"/>
                <a:gd name="T39" fmla="*/ 83 h 104"/>
                <a:gd name="T40" fmla="*/ 29 w 91"/>
                <a:gd name="T41" fmla="*/ 94 h 104"/>
                <a:gd name="T42" fmla="*/ 46 w 91"/>
                <a:gd name="T43" fmla="*/ 97 h 104"/>
                <a:gd name="T44" fmla="*/ 62 w 91"/>
                <a:gd name="T45" fmla="*/ 94 h 104"/>
                <a:gd name="T46" fmla="*/ 74 w 91"/>
                <a:gd name="T47" fmla="*/ 83 h 104"/>
                <a:gd name="T48" fmla="*/ 81 w 91"/>
                <a:gd name="T49" fmla="*/ 69 h 104"/>
                <a:gd name="T50" fmla="*/ 84 w 91"/>
                <a:gd name="T51" fmla="*/ 52 h 104"/>
                <a:gd name="T52" fmla="*/ 81 w 91"/>
                <a:gd name="T53" fmla="*/ 35 h 104"/>
                <a:gd name="T54" fmla="*/ 74 w 91"/>
                <a:gd name="T55" fmla="*/ 20 h 104"/>
                <a:gd name="T56" fmla="*/ 62 w 91"/>
                <a:gd name="T57" fmla="*/ 10 h 104"/>
                <a:gd name="T58" fmla="*/ 46 w 91"/>
                <a:gd name="T59" fmla="*/ 6 h 104"/>
                <a:gd name="T60" fmla="*/ 29 w 91"/>
                <a:gd name="T61" fmla="*/ 10 h 104"/>
                <a:gd name="T62" fmla="*/ 17 w 91"/>
                <a:gd name="T63" fmla="*/ 20 h 104"/>
                <a:gd name="T64" fmla="*/ 10 w 91"/>
                <a:gd name="T65" fmla="*/ 35 h 104"/>
                <a:gd name="T66" fmla="*/ 7 w 91"/>
                <a:gd name="T67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104">
                  <a:moveTo>
                    <a:pt x="0" y="52"/>
                  </a:moveTo>
                  <a:cubicBezTo>
                    <a:pt x="0" y="45"/>
                    <a:pt x="1" y="38"/>
                    <a:pt x="3" y="32"/>
                  </a:cubicBezTo>
                  <a:cubicBezTo>
                    <a:pt x="5" y="26"/>
                    <a:pt x="8" y="20"/>
                    <a:pt x="12" y="15"/>
                  </a:cubicBezTo>
                  <a:cubicBezTo>
                    <a:pt x="16" y="11"/>
                    <a:pt x="20" y="7"/>
                    <a:pt x="26" y="4"/>
                  </a:cubicBezTo>
                  <a:cubicBezTo>
                    <a:pt x="32" y="1"/>
                    <a:pt x="38" y="0"/>
                    <a:pt x="46" y="0"/>
                  </a:cubicBezTo>
                  <a:cubicBezTo>
                    <a:pt x="53" y="0"/>
                    <a:pt x="59" y="1"/>
                    <a:pt x="65" y="4"/>
                  </a:cubicBezTo>
                  <a:cubicBezTo>
                    <a:pt x="71" y="7"/>
                    <a:pt x="75" y="11"/>
                    <a:pt x="79" y="15"/>
                  </a:cubicBezTo>
                  <a:cubicBezTo>
                    <a:pt x="83" y="20"/>
                    <a:pt x="86" y="26"/>
                    <a:pt x="88" y="32"/>
                  </a:cubicBezTo>
                  <a:cubicBezTo>
                    <a:pt x="90" y="38"/>
                    <a:pt x="91" y="45"/>
                    <a:pt x="91" y="52"/>
                  </a:cubicBezTo>
                  <a:cubicBezTo>
                    <a:pt x="91" y="59"/>
                    <a:pt x="90" y="66"/>
                    <a:pt x="88" y="72"/>
                  </a:cubicBezTo>
                  <a:cubicBezTo>
                    <a:pt x="86" y="78"/>
                    <a:pt x="83" y="84"/>
                    <a:pt x="79" y="88"/>
                  </a:cubicBezTo>
                  <a:cubicBezTo>
                    <a:pt x="75" y="93"/>
                    <a:pt x="71" y="97"/>
                    <a:pt x="65" y="100"/>
                  </a:cubicBezTo>
                  <a:cubicBezTo>
                    <a:pt x="59" y="102"/>
                    <a:pt x="53" y="104"/>
                    <a:pt x="46" y="104"/>
                  </a:cubicBezTo>
                  <a:cubicBezTo>
                    <a:pt x="38" y="104"/>
                    <a:pt x="32" y="102"/>
                    <a:pt x="26" y="100"/>
                  </a:cubicBezTo>
                  <a:cubicBezTo>
                    <a:pt x="20" y="97"/>
                    <a:pt x="16" y="93"/>
                    <a:pt x="12" y="88"/>
                  </a:cubicBezTo>
                  <a:cubicBezTo>
                    <a:pt x="8" y="84"/>
                    <a:pt x="5" y="78"/>
                    <a:pt x="3" y="72"/>
                  </a:cubicBezTo>
                  <a:cubicBezTo>
                    <a:pt x="1" y="66"/>
                    <a:pt x="0" y="59"/>
                    <a:pt x="0" y="52"/>
                  </a:cubicBezTo>
                  <a:close/>
                  <a:moveTo>
                    <a:pt x="7" y="52"/>
                  </a:moveTo>
                  <a:cubicBezTo>
                    <a:pt x="7" y="58"/>
                    <a:pt x="8" y="63"/>
                    <a:pt x="10" y="69"/>
                  </a:cubicBezTo>
                  <a:cubicBezTo>
                    <a:pt x="12" y="74"/>
                    <a:pt x="14" y="79"/>
                    <a:pt x="17" y="83"/>
                  </a:cubicBezTo>
                  <a:cubicBezTo>
                    <a:pt x="20" y="88"/>
                    <a:pt x="24" y="91"/>
                    <a:pt x="29" y="94"/>
                  </a:cubicBezTo>
                  <a:cubicBezTo>
                    <a:pt x="34" y="96"/>
                    <a:pt x="39" y="97"/>
                    <a:pt x="46" y="97"/>
                  </a:cubicBezTo>
                  <a:cubicBezTo>
                    <a:pt x="52" y="97"/>
                    <a:pt x="57" y="96"/>
                    <a:pt x="62" y="94"/>
                  </a:cubicBezTo>
                  <a:cubicBezTo>
                    <a:pt x="67" y="91"/>
                    <a:pt x="71" y="88"/>
                    <a:pt x="74" y="83"/>
                  </a:cubicBezTo>
                  <a:cubicBezTo>
                    <a:pt x="77" y="79"/>
                    <a:pt x="80" y="74"/>
                    <a:pt x="81" y="69"/>
                  </a:cubicBezTo>
                  <a:cubicBezTo>
                    <a:pt x="83" y="63"/>
                    <a:pt x="84" y="58"/>
                    <a:pt x="84" y="52"/>
                  </a:cubicBezTo>
                  <a:cubicBezTo>
                    <a:pt x="84" y="46"/>
                    <a:pt x="83" y="40"/>
                    <a:pt x="81" y="35"/>
                  </a:cubicBezTo>
                  <a:cubicBezTo>
                    <a:pt x="80" y="29"/>
                    <a:pt x="77" y="24"/>
                    <a:pt x="74" y="20"/>
                  </a:cubicBezTo>
                  <a:cubicBezTo>
                    <a:pt x="71" y="16"/>
                    <a:pt x="67" y="13"/>
                    <a:pt x="62" y="10"/>
                  </a:cubicBezTo>
                  <a:cubicBezTo>
                    <a:pt x="57" y="8"/>
                    <a:pt x="52" y="6"/>
                    <a:pt x="46" y="6"/>
                  </a:cubicBezTo>
                  <a:cubicBezTo>
                    <a:pt x="39" y="6"/>
                    <a:pt x="34" y="8"/>
                    <a:pt x="29" y="10"/>
                  </a:cubicBezTo>
                  <a:cubicBezTo>
                    <a:pt x="24" y="13"/>
                    <a:pt x="20" y="16"/>
                    <a:pt x="17" y="20"/>
                  </a:cubicBezTo>
                  <a:cubicBezTo>
                    <a:pt x="14" y="24"/>
                    <a:pt x="12" y="29"/>
                    <a:pt x="10" y="35"/>
                  </a:cubicBezTo>
                  <a:cubicBezTo>
                    <a:pt x="8" y="40"/>
                    <a:pt x="7" y="46"/>
                    <a:pt x="7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95548D18-6E52-45F0-A47A-1B0223C84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2863" y="4806950"/>
              <a:ext cx="841375" cy="1106488"/>
            </a:xfrm>
            <a:custGeom>
              <a:avLst/>
              <a:gdLst>
                <a:gd name="T0" fmla="*/ 79 w 79"/>
                <a:gd name="T1" fmla="*/ 99 h 102"/>
                <a:gd name="T2" fmla="*/ 71 w 79"/>
                <a:gd name="T3" fmla="*/ 99 h 102"/>
                <a:gd name="T4" fmla="*/ 71 w 79"/>
                <a:gd name="T5" fmla="*/ 78 h 102"/>
                <a:gd name="T6" fmla="*/ 71 w 79"/>
                <a:gd name="T7" fmla="*/ 78 h 102"/>
                <a:gd name="T8" fmla="*/ 65 w 79"/>
                <a:gd name="T9" fmla="*/ 88 h 102"/>
                <a:gd name="T10" fmla="*/ 57 w 79"/>
                <a:gd name="T11" fmla="*/ 95 h 102"/>
                <a:gd name="T12" fmla="*/ 47 w 79"/>
                <a:gd name="T13" fmla="*/ 100 h 102"/>
                <a:gd name="T14" fmla="*/ 35 w 79"/>
                <a:gd name="T15" fmla="*/ 102 h 102"/>
                <a:gd name="T16" fmla="*/ 21 w 79"/>
                <a:gd name="T17" fmla="*/ 100 h 102"/>
                <a:gd name="T18" fmla="*/ 11 w 79"/>
                <a:gd name="T19" fmla="*/ 94 h 102"/>
                <a:gd name="T20" fmla="*/ 5 w 79"/>
                <a:gd name="T21" fmla="*/ 86 h 102"/>
                <a:gd name="T22" fmla="*/ 2 w 79"/>
                <a:gd name="T23" fmla="*/ 77 h 102"/>
                <a:gd name="T24" fmla="*/ 0 w 79"/>
                <a:gd name="T25" fmla="*/ 69 h 102"/>
                <a:gd name="T26" fmla="*/ 0 w 79"/>
                <a:gd name="T27" fmla="*/ 62 h 102"/>
                <a:gd name="T28" fmla="*/ 0 w 79"/>
                <a:gd name="T29" fmla="*/ 0 h 102"/>
                <a:gd name="T30" fmla="*/ 7 w 79"/>
                <a:gd name="T31" fmla="*/ 0 h 102"/>
                <a:gd name="T32" fmla="*/ 7 w 79"/>
                <a:gd name="T33" fmla="*/ 63 h 102"/>
                <a:gd name="T34" fmla="*/ 8 w 79"/>
                <a:gd name="T35" fmla="*/ 72 h 102"/>
                <a:gd name="T36" fmla="*/ 11 w 79"/>
                <a:gd name="T37" fmla="*/ 83 h 102"/>
                <a:gd name="T38" fmla="*/ 20 w 79"/>
                <a:gd name="T39" fmla="*/ 92 h 102"/>
                <a:gd name="T40" fmla="*/ 36 w 79"/>
                <a:gd name="T41" fmla="*/ 95 h 102"/>
                <a:gd name="T42" fmla="*/ 51 w 79"/>
                <a:gd name="T43" fmla="*/ 92 h 102"/>
                <a:gd name="T44" fmla="*/ 62 w 79"/>
                <a:gd name="T45" fmla="*/ 84 h 102"/>
                <a:gd name="T46" fmla="*/ 69 w 79"/>
                <a:gd name="T47" fmla="*/ 71 h 102"/>
                <a:gd name="T48" fmla="*/ 71 w 79"/>
                <a:gd name="T49" fmla="*/ 54 h 102"/>
                <a:gd name="T50" fmla="*/ 71 w 79"/>
                <a:gd name="T51" fmla="*/ 0 h 102"/>
                <a:gd name="T52" fmla="*/ 79 w 79"/>
                <a:gd name="T53" fmla="*/ 0 h 102"/>
                <a:gd name="T54" fmla="*/ 79 w 79"/>
                <a:gd name="T55" fmla="*/ 9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9" h="102">
                  <a:moveTo>
                    <a:pt x="79" y="99"/>
                  </a:moveTo>
                  <a:cubicBezTo>
                    <a:pt x="71" y="99"/>
                    <a:pt x="71" y="99"/>
                    <a:pt x="71" y="99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70" y="82"/>
                    <a:pt x="68" y="85"/>
                    <a:pt x="65" y="88"/>
                  </a:cubicBezTo>
                  <a:cubicBezTo>
                    <a:pt x="63" y="91"/>
                    <a:pt x="60" y="93"/>
                    <a:pt x="57" y="95"/>
                  </a:cubicBezTo>
                  <a:cubicBezTo>
                    <a:pt x="54" y="98"/>
                    <a:pt x="51" y="99"/>
                    <a:pt x="47" y="100"/>
                  </a:cubicBezTo>
                  <a:cubicBezTo>
                    <a:pt x="43" y="101"/>
                    <a:pt x="39" y="102"/>
                    <a:pt x="35" y="102"/>
                  </a:cubicBezTo>
                  <a:cubicBezTo>
                    <a:pt x="30" y="102"/>
                    <a:pt x="25" y="101"/>
                    <a:pt x="21" y="100"/>
                  </a:cubicBezTo>
                  <a:cubicBezTo>
                    <a:pt x="17" y="98"/>
                    <a:pt x="13" y="96"/>
                    <a:pt x="11" y="94"/>
                  </a:cubicBezTo>
                  <a:cubicBezTo>
                    <a:pt x="8" y="92"/>
                    <a:pt x="6" y="89"/>
                    <a:pt x="5" y="86"/>
                  </a:cubicBezTo>
                  <a:cubicBezTo>
                    <a:pt x="3" y="83"/>
                    <a:pt x="2" y="80"/>
                    <a:pt x="2" y="77"/>
                  </a:cubicBezTo>
                  <a:cubicBezTo>
                    <a:pt x="1" y="74"/>
                    <a:pt x="0" y="72"/>
                    <a:pt x="0" y="69"/>
                  </a:cubicBezTo>
                  <a:cubicBezTo>
                    <a:pt x="0" y="66"/>
                    <a:pt x="0" y="64"/>
                    <a:pt x="0" y="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5"/>
                    <a:pt x="8" y="69"/>
                    <a:pt x="8" y="72"/>
                  </a:cubicBezTo>
                  <a:cubicBezTo>
                    <a:pt x="8" y="76"/>
                    <a:pt x="10" y="79"/>
                    <a:pt x="11" y="83"/>
                  </a:cubicBezTo>
                  <a:cubicBezTo>
                    <a:pt x="13" y="86"/>
                    <a:pt x="16" y="89"/>
                    <a:pt x="20" y="92"/>
                  </a:cubicBezTo>
                  <a:cubicBezTo>
                    <a:pt x="24" y="94"/>
                    <a:pt x="29" y="95"/>
                    <a:pt x="36" y="95"/>
                  </a:cubicBezTo>
                  <a:cubicBezTo>
                    <a:pt x="41" y="95"/>
                    <a:pt x="46" y="94"/>
                    <a:pt x="51" y="92"/>
                  </a:cubicBezTo>
                  <a:cubicBezTo>
                    <a:pt x="55" y="90"/>
                    <a:pt x="59" y="87"/>
                    <a:pt x="62" y="84"/>
                  </a:cubicBezTo>
                  <a:cubicBezTo>
                    <a:pt x="65" y="80"/>
                    <a:pt x="67" y="76"/>
                    <a:pt x="69" y="71"/>
                  </a:cubicBezTo>
                  <a:cubicBezTo>
                    <a:pt x="70" y="65"/>
                    <a:pt x="71" y="60"/>
                    <a:pt x="71" y="54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9" y="0"/>
                    <a:pt x="79" y="0"/>
                    <a:pt x="79" y="0"/>
                  </a:cubicBezTo>
                  <a:lnTo>
                    <a:pt x="79" y="9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</p:grpSp>
      <p:grpSp>
        <p:nvGrpSpPr>
          <p:cNvPr id="2" name="Group 4">
            <a:extLst>
              <a:ext uri="{FF2B5EF4-FFF2-40B4-BE49-F238E27FC236}">
                <a16:creationId xmlns:a16="http://schemas.microsoft.com/office/drawing/2014/main" id="{E0F9B9DC-746F-4966-8838-74269735231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47713" y="741363"/>
            <a:ext cx="1876425" cy="1287462"/>
            <a:chOff x="9734" y="443"/>
            <a:chExt cx="1182" cy="811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56C913C7-A143-4B10-AC6C-A324AE74CCE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9734" y="443"/>
              <a:ext cx="1182" cy="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3C8E61EC-5EB2-4960-8DF0-2FC19967BE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" y="448"/>
              <a:ext cx="269" cy="453"/>
            </a:xfrm>
            <a:custGeom>
              <a:avLst/>
              <a:gdLst>
                <a:gd name="T0" fmla="*/ 0 w 269"/>
                <a:gd name="T1" fmla="*/ 0 h 453"/>
                <a:gd name="T2" fmla="*/ 269 w 269"/>
                <a:gd name="T3" fmla="*/ 0 h 453"/>
                <a:gd name="T4" fmla="*/ 269 w 269"/>
                <a:gd name="T5" fmla="*/ 107 h 453"/>
                <a:gd name="T6" fmla="*/ 106 w 269"/>
                <a:gd name="T7" fmla="*/ 107 h 453"/>
                <a:gd name="T8" fmla="*/ 106 w 269"/>
                <a:gd name="T9" fmla="*/ 172 h 453"/>
                <a:gd name="T10" fmla="*/ 240 w 269"/>
                <a:gd name="T11" fmla="*/ 172 h 453"/>
                <a:gd name="T12" fmla="*/ 240 w 269"/>
                <a:gd name="T13" fmla="*/ 277 h 453"/>
                <a:gd name="T14" fmla="*/ 106 w 269"/>
                <a:gd name="T15" fmla="*/ 277 h 453"/>
                <a:gd name="T16" fmla="*/ 106 w 269"/>
                <a:gd name="T17" fmla="*/ 348 h 453"/>
                <a:gd name="T18" fmla="*/ 269 w 269"/>
                <a:gd name="T19" fmla="*/ 348 h 453"/>
                <a:gd name="T20" fmla="*/ 269 w 269"/>
                <a:gd name="T21" fmla="*/ 453 h 453"/>
                <a:gd name="T22" fmla="*/ 0 w 269"/>
                <a:gd name="T23" fmla="*/ 453 h 453"/>
                <a:gd name="T24" fmla="*/ 0 w 269"/>
                <a:gd name="T25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9" h="453">
                  <a:moveTo>
                    <a:pt x="0" y="0"/>
                  </a:moveTo>
                  <a:lnTo>
                    <a:pt x="269" y="0"/>
                  </a:lnTo>
                  <a:lnTo>
                    <a:pt x="269" y="107"/>
                  </a:lnTo>
                  <a:lnTo>
                    <a:pt x="106" y="107"/>
                  </a:lnTo>
                  <a:lnTo>
                    <a:pt x="106" y="172"/>
                  </a:lnTo>
                  <a:lnTo>
                    <a:pt x="240" y="172"/>
                  </a:lnTo>
                  <a:lnTo>
                    <a:pt x="240" y="277"/>
                  </a:lnTo>
                  <a:lnTo>
                    <a:pt x="106" y="277"/>
                  </a:lnTo>
                  <a:lnTo>
                    <a:pt x="106" y="348"/>
                  </a:lnTo>
                  <a:lnTo>
                    <a:pt x="269" y="348"/>
                  </a:lnTo>
                  <a:lnTo>
                    <a:pt x="269" y="453"/>
                  </a:lnTo>
                  <a:lnTo>
                    <a:pt x="0" y="4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5060CE99-3F77-4C53-B7D1-63DFFFE9F6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64" y="441"/>
              <a:ext cx="334" cy="467"/>
            </a:xfrm>
            <a:custGeom>
              <a:avLst/>
              <a:gdLst>
                <a:gd name="T0" fmla="*/ 103 w 150"/>
                <a:gd name="T1" fmla="*/ 81 h 209"/>
                <a:gd name="T2" fmla="*/ 93 w 150"/>
                <a:gd name="T3" fmla="*/ 56 h 209"/>
                <a:gd name="T4" fmla="*/ 76 w 150"/>
                <a:gd name="T5" fmla="*/ 49 h 209"/>
                <a:gd name="T6" fmla="*/ 56 w 150"/>
                <a:gd name="T7" fmla="*/ 65 h 209"/>
                <a:gd name="T8" fmla="*/ 49 w 150"/>
                <a:gd name="T9" fmla="*/ 107 h 209"/>
                <a:gd name="T10" fmla="*/ 77 w 150"/>
                <a:gd name="T11" fmla="*/ 161 h 209"/>
                <a:gd name="T12" fmla="*/ 103 w 150"/>
                <a:gd name="T13" fmla="*/ 126 h 209"/>
                <a:gd name="T14" fmla="*/ 150 w 150"/>
                <a:gd name="T15" fmla="*/ 126 h 209"/>
                <a:gd name="T16" fmla="*/ 130 w 150"/>
                <a:gd name="T17" fmla="*/ 187 h 209"/>
                <a:gd name="T18" fmla="*/ 80 w 150"/>
                <a:gd name="T19" fmla="*/ 209 h 209"/>
                <a:gd name="T20" fmla="*/ 37 w 150"/>
                <a:gd name="T21" fmla="*/ 198 h 209"/>
                <a:gd name="T22" fmla="*/ 10 w 150"/>
                <a:gd name="T23" fmla="*/ 162 h 209"/>
                <a:gd name="T24" fmla="*/ 0 w 150"/>
                <a:gd name="T25" fmla="*/ 107 h 209"/>
                <a:gd name="T26" fmla="*/ 10 w 150"/>
                <a:gd name="T27" fmla="*/ 46 h 209"/>
                <a:gd name="T28" fmla="*/ 39 w 150"/>
                <a:gd name="T29" fmla="*/ 11 h 209"/>
                <a:gd name="T30" fmla="*/ 74 w 150"/>
                <a:gd name="T31" fmla="*/ 0 h 209"/>
                <a:gd name="T32" fmla="*/ 130 w 150"/>
                <a:gd name="T33" fmla="*/ 24 h 209"/>
                <a:gd name="T34" fmla="*/ 149 w 150"/>
                <a:gd name="T35" fmla="*/ 81 h 209"/>
                <a:gd name="T36" fmla="*/ 103 w 150"/>
                <a:gd name="T37" fmla="*/ 81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0" h="209">
                  <a:moveTo>
                    <a:pt x="103" y="81"/>
                  </a:moveTo>
                  <a:cubicBezTo>
                    <a:pt x="101" y="69"/>
                    <a:pt x="98" y="60"/>
                    <a:pt x="93" y="56"/>
                  </a:cubicBezTo>
                  <a:cubicBezTo>
                    <a:pt x="88" y="51"/>
                    <a:pt x="81" y="49"/>
                    <a:pt x="76" y="49"/>
                  </a:cubicBezTo>
                  <a:cubicBezTo>
                    <a:pt x="67" y="49"/>
                    <a:pt x="60" y="55"/>
                    <a:pt x="56" y="65"/>
                  </a:cubicBezTo>
                  <a:cubicBezTo>
                    <a:pt x="51" y="76"/>
                    <a:pt x="49" y="91"/>
                    <a:pt x="49" y="107"/>
                  </a:cubicBezTo>
                  <a:cubicBezTo>
                    <a:pt x="49" y="143"/>
                    <a:pt x="58" y="161"/>
                    <a:pt x="77" y="161"/>
                  </a:cubicBezTo>
                  <a:cubicBezTo>
                    <a:pt x="91" y="161"/>
                    <a:pt x="101" y="149"/>
                    <a:pt x="103" y="126"/>
                  </a:cubicBezTo>
                  <a:cubicBezTo>
                    <a:pt x="150" y="126"/>
                    <a:pt x="150" y="126"/>
                    <a:pt x="150" y="126"/>
                  </a:cubicBezTo>
                  <a:cubicBezTo>
                    <a:pt x="148" y="151"/>
                    <a:pt x="141" y="172"/>
                    <a:pt x="130" y="187"/>
                  </a:cubicBezTo>
                  <a:cubicBezTo>
                    <a:pt x="117" y="202"/>
                    <a:pt x="99" y="209"/>
                    <a:pt x="80" y="209"/>
                  </a:cubicBezTo>
                  <a:cubicBezTo>
                    <a:pt x="63" y="209"/>
                    <a:pt x="49" y="205"/>
                    <a:pt x="37" y="198"/>
                  </a:cubicBezTo>
                  <a:cubicBezTo>
                    <a:pt x="25" y="190"/>
                    <a:pt x="16" y="178"/>
                    <a:pt x="10" y="162"/>
                  </a:cubicBezTo>
                  <a:cubicBezTo>
                    <a:pt x="3" y="147"/>
                    <a:pt x="0" y="127"/>
                    <a:pt x="0" y="107"/>
                  </a:cubicBezTo>
                  <a:cubicBezTo>
                    <a:pt x="0" y="84"/>
                    <a:pt x="3" y="63"/>
                    <a:pt x="10" y="46"/>
                  </a:cubicBezTo>
                  <a:cubicBezTo>
                    <a:pt x="18" y="31"/>
                    <a:pt x="28" y="18"/>
                    <a:pt x="39" y="11"/>
                  </a:cubicBezTo>
                  <a:cubicBezTo>
                    <a:pt x="50" y="4"/>
                    <a:pt x="63" y="0"/>
                    <a:pt x="74" y="0"/>
                  </a:cubicBezTo>
                  <a:cubicBezTo>
                    <a:pt x="100" y="1"/>
                    <a:pt x="119" y="10"/>
                    <a:pt x="130" y="24"/>
                  </a:cubicBezTo>
                  <a:cubicBezTo>
                    <a:pt x="141" y="40"/>
                    <a:pt x="148" y="59"/>
                    <a:pt x="149" y="81"/>
                  </a:cubicBezTo>
                  <a:lnTo>
                    <a:pt x="103" y="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" name="Rectangle 7">
              <a:extLst>
                <a:ext uri="{FF2B5EF4-FFF2-40B4-BE49-F238E27FC236}">
                  <a16:creationId xmlns:a16="http://schemas.microsoft.com/office/drawing/2014/main" id="{9E6CD07D-B389-40A4-8999-E58FED968E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112" y="448"/>
              <a:ext cx="110" cy="45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6AAC67FF-DF76-4DF9-9727-6A9F1E8CA2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36" y="448"/>
              <a:ext cx="314" cy="453"/>
            </a:xfrm>
            <a:custGeom>
              <a:avLst/>
              <a:gdLst>
                <a:gd name="T0" fmla="*/ 0 w 314"/>
                <a:gd name="T1" fmla="*/ 0 h 453"/>
                <a:gd name="T2" fmla="*/ 96 w 314"/>
                <a:gd name="T3" fmla="*/ 0 h 453"/>
                <a:gd name="T4" fmla="*/ 212 w 314"/>
                <a:gd name="T5" fmla="*/ 250 h 453"/>
                <a:gd name="T6" fmla="*/ 212 w 314"/>
                <a:gd name="T7" fmla="*/ 151 h 453"/>
                <a:gd name="T8" fmla="*/ 212 w 314"/>
                <a:gd name="T9" fmla="*/ 0 h 453"/>
                <a:gd name="T10" fmla="*/ 314 w 314"/>
                <a:gd name="T11" fmla="*/ 0 h 453"/>
                <a:gd name="T12" fmla="*/ 314 w 314"/>
                <a:gd name="T13" fmla="*/ 453 h 453"/>
                <a:gd name="T14" fmla="*/ 212 w 314"/>
                <a:gd name="T15" fmla="*/ 453 h 453"/>
                <a:gd name="T16" fmla="*/ 100 w 314"/>
                <a:gd name="T17" fmla="*/ 207 h 453"/>
                <a:gd name="T18" fmla="*/ 100 w 314"/>
                <a:gd name="T19" fmla="*/ 312 h 453"/>
                <a:gd name="T20" fmla="*/ 100 w 314"/>
                <a:gd name="T21" fmla="*/ 453 h 453"/>
                <a:gd name="T22" fmla="*/ 0 w 314"/>
                <a:gd name="T23" fmla="*/ 453 h 453"/>
                <a:gd name="T24" fmla="*/ 0 w 314"/>
                <a:gd name="T25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4" h="453">
                  <a:moveTo>
                    <a:pt x="0" y="0"/>
                  </a:moveTo>
                  <a:lnTo>
                    <a:pt x="96" y="0"/>
                  </a:lnTo>
                  <a:lnTo>
                    <a:pt x="212" y="250"/>
                  </a:lnTo>
                  <a:lnTo>
                    <a:pt x="212" y="151"/>
                  </a:lnTo>
                  <a:lnTo>
                    <a:pt x="212" y="0"/>
                  </a:lnTo>
                  <a:lnTo>
                    <a:pt x="314" y="0"/>
                  </a:lnTo>
                  <a:lnTo>
                    <a:pt x="314" y="453"/>
                  </a:lnTo>
                  <a:lnTo>
                    <a:pt x="212" y="453"/>
                  </a:lnTo>
                  <a:lnTo>
                    <a:pt x="100" y="207"/>
                  </a:lnTo>
                  <a:lnTo>
                    <a:pt x="100" y="312"/>
                  </a:lnTo>
                  <a:lnTo>
                    <a:pt x="100" y="453"/>
                  </a:lnTo>
                  <a:lnTo>
                    <a:pt x="0" y="4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47365D88-620F-451F-A4B0-A10821F38B4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598" y="624"/>
              <a:ext cx="98" cy="98"/>
            </a:xfrm>
            <a:prstGeom prst="rect">
              <a:avLst/>
            </a:prstGeom>
            <a:solidFill>
              <a:srgbClr val="0B9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4B489EF8-9A72-4007-B79F-AEAFDA6F35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222" y="624"/>
              <a:ext cx="97" cy="98"/>
            </a:xfrm>
            <a:prstGeom prst="rect">
              <a:avLst/>
            </a:prstGeom>
            <a:solidFill>
              <a:srgbClr val="0B9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Rectangle 11">
              <a:extLst>
                <a:ext uri="{FF2B5EF4-FFF2-40B4-BE49-F238E27FC236}">
                  <a16:creationId xmlns:a16="http://schemas.microsoft.com/office/drawing/2014/main" id="{61D203DE-2B3B-4A63-82A0-7EFD74032C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015" y="624"/>
              <a:ext cx="97" cy="98"/>
            </a:xfrm>
            <a:prstGeom prst="rect">
              <a:avLst/>
            </a:prstGeom>
            <a:solidFill>
              <a:srgbClr val="0B9E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7E7B81C9-76D4-4090-804E-571D1868C7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736" y="1037"/>
              <a:ext cx="183" cy="213"/>
            </a:xfrm>
            <a:custGeom>
              <a:avLst/>
              <a:gdLst>
                <a:gd name="T0" fmla="*/ 134 w 183"/>
                <a:gd name="T1" fmla="*/ 155 h 213"/>
                <a:gd name="T2" fmla="*/ 49 w 183"/>
                <a:gd name="T3" fmla="*/ 155 h 213"/>
                <a:gd name="T4" fmla="*/ 25 w 183"/>
                <a:gd name="T5" fmla="*/ 213 h 213"/>
                <a:gd name="T6" fmla="*/ 0 w 183"/>
                <a:gd name="T7" fmla="*/ 213 h 213"/>
                <a:gd name="T8" fmla="*/ 92 w 183"/>
                <a:gd name="T9" fmla="*/ 0 h 213"/>
                <a:gd name="T10" fmla="*/ 183 w 183"/>
                <a:gd name="T11" fmla="*/ 213 h 213"/>
                <a:gd name="T12" fmla="*/ 158 w 183"/>
                <a:gd name="T13" fmla="*/ 213 h 213"/>
                <a:gd name="T14" fmla="*/ 134 w 183"/>
                <a:gd name="T15" fmla="*/ 155 h 213"/>
                <a:gd name="T16" fmla="*/ 125 w 183"/>
                <a:gd name="T17" fmla="*/ 132 h 213"/>
                <a:gd name="T18" fmla="*/ 92 w 183"/>
                <a:gd name="T19" fmla="*/ 52 h 213"/>
                <a:gd name="T20" fmla="*/ 58 w 183"/>
                <a:gd name="T21" fmla="*/ 132 h 213"/>
                <a:gd name="T22" fmla="*/ 125 w 183"/>
                <a:gd name="T23" fmla="*/ 13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3" h="213">
                  <a:moveTo>
                    <a:pt x="134" y="155"/>
                  </a:moveTo>
                  <a:lnTo>
                    <a:pt x="49" y="155"/>
                  </a:lnTo>
                  <a:lnTo>
                    <a:pt x="25" y="213"/>
                  </a:lnTo>
                  <a:lnTo>
                    <a:pt x="0" y="213"/>
                  </a:lnTo>
                  <a:lnTo>
                    <a:pt x="92" y="0"/>
                  </a:lnTo>
                  <a:lnTo>
                    <a:pt x="183" y="213"/>
                  </a:lnTo>
                  <a:lnTo>
                    <a:pt x="158" y="213"/>
                  </a:lnTo>
                  <a:lnTo>
                    <a:pt x="134" y="155"/>
                  </a:lnTo>
                  <a:close/>
                  <a:moveTo>
                    <a:pt x="125" y="132"/>
                  </a:moveTo>
                  <a:lnTo>
                    <a:pt x="92" y="52"/>
                  </a:lnTo>
                  <a:lnTo>
                    <a:pt x="58" y="132"/>
                  </a:lnTo>
                  <a:lnTo>
                    <a:pt x="125" y="1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6F372AC0-D9DA-4ABB-A6FB-67145D9CF6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17" y="1042"/>
              <a:ext cx="164" cy="210"/>
            </a:xfrm>
            <a:custGeom>
              <a:avLst/>
              <a:gdLst>
                <a:gd name="T0" fmla="*/ 74 w 74"/>
                <a:gd name="T1" fmla="*/ 9 h 94"/>
                <a:gd name="T2" fmla="*/ 74 w 74"/>
                <a:gd name="T3" fmla="*/ 22 h 94"/>
                <a:gd name="T4" fmla="*/ 47 w 74"/>
                <a:gd name="T5" fmla="*/ 10 h 94"/>
                <a:gd name="T6" fmla="*/ 21 w 74"/>
                <a:gd name="T7" fmla="*/ 21 h 94"/>
                <a:gd name="T8" fmla="*/ 10 w 74"/>
                <a:gd name="T9" fmla="*/ 48 h 94"/>
                <a:gd name="T10" fmla="*/ 22 w 74"/>
                <a:gd name="T11" fmla="*/ 75 h 94"/>
                <a:gd name="T12" fmla="*/ 47 w 74"/>
                <a:gd name="T13" fmla="*/ 85 h 94"/>
                <a:gd name="T14" fmla="*/ 74 w 74"/>
                <a:gd name="T15" fmla="*/ 73 h 94"/>
                <a:gd name="T16" fmla="*/ 74 w 74"/>
                <a:gd name="T17" fmla="*/ 85 h 94"/>
                <a:gd name="T18" fmla="*/ 47 w 74"/>
                <a:gd name="T19" fmla="*/ 94 h 94"/>
                <a:gd name="T20" fmla="*/ 14 w 74"/>
                <a:gd name="T21" fmla="*/ 80 h 94"/>
                <a:gd name="T22" fmla="*/ 0 w 74"/>
                <a:gd name="T23" fmla="*/ 48 h 94"/>
                <a:gd name="T24" fmla="*/ 14 w 74"/>
                <a:gd name="T25" fmla="*/ 14 h 94"/>
                <a:gd name="T26" fmla="*/ 47 w 74"/>
                <a:gd name="T27" fmla="*/ 0 h 94"/>
                <a:gd name="T28" fmla="*/ 74 w 74"/>
                <a:gd name="T29" fmla="*/ 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94">
                  <a:moveTo>
                    <a:pt x="74" y="9"/>
                  </a:moveTo>
                  <a:cubicBezTo>
                    <a:pt x="74" y="22"/>
                    <a:pt x="74" y="22"/>
                    <a:pt x="74" y="22"/>
                  </a:cubicBezTo>
                  <a:cubicBezTo>
                    <a:pt x="66" y="14"/>
                    <a:pt x="56" y="10"/>
                    <a:pt x="47" y="10"/>
                  </a:cubicBezTo>
                  <a:cubicBezTo>
                    <a:pt x="37" y="10"/>
                    <a:pt x="28" y="14"/>
                    <a:pt x="21" y="21"/>
                  </a:cubicBezTo>
                  <a:cubicBezTo>
                    <a:pt x="14" y="28"/>
                    <a:pt x="10" y="37"/>
                    <a:pt x="10" y="48"/>
                  </a:cubicBezTo>
                  <a:cubicBezTo>
                    <a:pt x="10" y="59"/>
                    <a:pt x="14" y="68"/>
                    <a:pt x="22" y="75"/>
                  </a:cubicBezTo>
                  <a:cubicBezTo>
                    <a:pt x="30" y="82"/>
                    <a:pt x="38" y="85"/>
                    <a:pt x="47" y="85"/>
                  </a:cubicBezTo>
                  <a:cubicBezTo>
                    <a:pt x="56" y="85"/>
                    <a:pt x="66" y="81"/>
                    <a:pt x="74" y="73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5" y="91"/>
                    <a:pt x="56" y="94"/>
                    <a:pt x="47" y="94"/>
                  </a:cubicBezTo>
                  <a:cubicBezTo>
                    <a:pt x="34" y="94"/>
                    <a:pt x="23" y="90"/>
                    <a:pt x="14" y="80"/>
                  </a:cubicBezTo>
                  <a:cubicBezTo>
                    <a:pt x="4" y="71"/>
                    <a:pt x="0" y="60"/>
                    <a:pt x="0" y="48"/>
                  </a:cubicBezTo>
                  <a:cubicBezTo>
                    <a:pt x="0" y="35"/>
                    <a:pt x="4" y="23"/>
                    <a:pt x="14" y="14"/>
                  </a:cubicBezTo>
                  <a:cubicBezTo>
                    <a:pt x="23" y="5"/>
                    <a:pt x="34" y="0"/>
                    <a:pt x="47" y="0"/>
                  </a:cubicBezTo>
                  <a:cubicBezTo>
                    <a:pt x="57" y="0"/>
                    <a:pt x="66" y="3"/>
                    <a:pt x="74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9B650A49-2325-4B09-BE2E-23492E1560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06" y="1046"/>
              <a:ext cx="120" cy="204"/>
            </a:xfrm>
            <a:custGeom>
              <a:avLst/>
              <a:gdLst>
                <a:gd name="T0" fmla="*/ 71 w 120"/>
                <a:gd name="T1" fmla="*/ 20 h 204"/>
                <a:gd name="T2" fmla="*/ 71 w 120"/>
                <a:gd name="T3" fmla="*/ 204 h 204"/>
                <a:gd name="T4" fmla="*/ 49 w 120"/>
                <a:gd name="T5" fmla="*/ 204 h 204"/>
                <a:gd name="T6" fmla="*/ 49 w 120"/>
                <a:gd name="T7" fmla="*/ 20 h 204"/>
                <a:gd name="T8" fmla="*/ 0 w 120"/>
                <a:gd name="T9" fmla="*/ 20 h 204"/>
                <a:gd name="T10" fmla="*/ 0 w 120"/>
                <a:gd name="T11" fmla="*/ 0 h 204"/>
                <a:gd name="T12" fmla="*/ 120 w 120"/>
                <a:gd name="T13" fmla="*/ 0 h 204"/>
                <a:gd name="T14" fmla="*/ 120 w 120"/>
                <a:gd name="T15" fmla="*/ 20 h 204"/>
                <a:gd name="T16" fmla="*/ 71 w 120"/>
                <a:gd name="T17" fmla="*/ 2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204">
                  <a:moveTo>
                    <a:pt x="71" y="20"/>
                  </a:moveTo>
                  <a:lnTo>
                    <a:pt x="71" y="204"/>
                  </a:lnTo>
                  <a:lnTo>
                    <a:pt x="49" y="204"/>
                  </a:lnTo>
                  <a:lnTo>
                    <a:pt x="49" y="20"/>
                  </a:lnTo>
                  <a:lnTo>
                    <a:pt x="0" y="20"/>
                  </a:lnTo>
                  <a:lnTo>
                    <a:pt x="0" y="0"/>
                  </a:lnTo>
                  <a:lnTo>
                    <a:pt x="120" y="0"/>
                  </a:lnTo>
                  <a:lnTo>
                    <a:pt x="120" y="20"/>
                  </a:lnTo>
                  <a:lnTo>
                    <a:pt x="71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6B4B7F41-0B71-452C-9698-55419573F4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257" y="1046"/>
              <a:ext cx="22" cy="2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90D4AC8A-81FA-4AA0-A544-6CCB1DE71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17" y="1035"/>
              <a:ext cx="221" cy="221"/>
            </a:xfrm>
            <a:custGeom>
              <a:avLst/>
              <a:gdLst>
                <a:gd name="T0" fmla="*/ 0 w 221"/>
                <a:gd name="T1" fmla="*/ 215 h 221"/>
                <a:gd name="T2" fmla="*/ 34 w 221"/>
                <a:gd name="T3" fmla="*/ 0 h 221"/>
                <a:gd name="T4" fmla="*/ 112 w 221"/>
                <a:gd name="T5" fmla="*/ 170 h 221"/>
                <a:gd name="T6" fmla="*/ 189 w 221"/>
                <a:gd name="T7" fmla="*/ 0 h 221"/>
                <a:gd name="T8" fmla="*/ 221 w 221"/>
                <a:gd name="T9" fmla="*/ 215 h 221"/>
                <a:gd name="T10" fmla="*/ 198 w 221"/>
                <a:gd name="T11" fmla="*/ 215 h 221"/>
                <a:gd name="T12" fmla="*/ 178 w 221"/>
                <a:gd name="T13" fmla="*/ 74 h 221"/>
                <a:gd name="T14" fmla="*/ 109 w 221"/>
                <a:gd name="T15" fmla="*/ 221 h 221"/>
                <a:gd name="T16" fmla="*/ 43 w 221"/>
                <a:gd name="T17" fmla="*/ 72 h 221"/>
                <a:gd name="T18" fmla="*/ 23 w 221"/>
                <a:gd name="T19" fmla="*/ 215 h 221"/>
                <a:gd name="T20" fmla="*/ 0 w 221"/>
                <a:gd name="T21" fmla="*/ 215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221">
                  <a:moveTo>
                    <a:pt x="0" y="215"/>
                  </a:moveTo>
                  <a:lnTo>
                    <a:pt x="34" y="0"/>
                  </a:lnTo>
                  <a:lnTo>
                    <a:pt x="112" y="170"/>
                  </a:lnTo>
                  <a:lnTo>
                    <a:pt x="189" y="0"/>
                  </a:lnTo>
                  <a:lnTo>
                    <a:pt x="221" y="215"/>
                  </a:lnTo>
                  <a:lnTo>
                    <a:pt x="198" y="215"/>
                  </a:lnTo>
                  <a:lnTo>
                    <a:pt x="178" y="74"/>
                  </a:lnTo>
                  <a:lnTo>
                    <a:pt x="109" y="221"/>
                  </a:lnTo>
                  <a:lnTo>
                    <a:pt x="43" y="72"/>
                  </a:lnTo>
                  <a:lnTo>
                    <a:pt x="23" y="215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Rectangle 17">
              <a:extLst>
                <a:ext uri="{FF2B5EF4-FFF2-40B4-BE49-F238E27FC236}">
                  <a16:creationId xmlns:a16="http://schemas.microsoft.com/office/drawing/2014/main" id="{602C7707-42D2-4E9C-86C9-14FECD1632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580" y="1046"/>
              <a:ext cx="22" cy="2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id="{C9ACC9E9-3DD5-41EC-960E-AA77CC39D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36" y="1046"/>
              <a:ext cx="147" cy="204"/>
            </a:xfrm>
            <a:custGeom>
              <a:avLst/>
              <a:gdLst>
                <a:gd name="T0" fmla="*/ 37 w 147"/>
                <a:gd name="T1" fmla="*/ 181 h 204"/>
                <a:gd name="T2" fmla="*/ 144 w 147"/>
                <a:gd name="T3" fmla="*/ 181 h 204"/>
                <a:gd name="T4" fmla="*/ 144 w 147"/>
                <a:gd name="T5" fmla="*/ 204 h 204"/>
                <a:gd name="T6" fmla="*/ 0 w 147"/>
                <a:gd name="T7" fmla="*/ 204 h 204"/>
                <a:gd name="T8" fmla="*/ 109 w 147"/>
                <a:gd name="T9" fmla="*/ 20 h 204"/>
                <a:gd name="T10" fmla="*/ 13 w 147"/>
                <a:gd name="T11" fmla="*/ 20 h 204"/>
                <a:gd name="T12" fmla="*/ 13 w 147"/>
                <a:gd name="T13" fmla="*/ 0 h 204"/>
                <a:gd name="T14" fmla="*/ 147 w 147"/>
                <a:gd name="T15" fmla="*/ 0 h 204"/>
                <a:gd name="T16" fmla="*/ 37 w 147"/>
                <a:gd name="T17" fmla="*/ 18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204">
                  <a:moveTo>
                    <a:pt x="37" y="181"/>
                  </a:moveTo>
                  <a:lnTo>
                    <a:pt x="144" y="181"/>
                  </a:lnTo>
                  <a:lnTo>
                    <a:pt x="144" y="204"/>
                  </a:lnTo>
                  <a:lnTo>
                    <a:pt x="0" y="204"/>
                  </a:lnTo>
                  <a:lnTo>
                    <a:pt x="109" y="20"/>
                  </a:lnTo>
                  <a:lnTo>
                    <a:pt x="13" y="20"/>
                  </a:lnTo>
                  <a:lnTo>
                    <a:pt x="13" y="0"/>
                  </a:lnTo>
                  <a:lnTo>
                    <a:pt x="147" y="0"/>
                  </a:lnTo>
                  <a:lnTo>
                    <a:pt x="37" y="1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id="{70AFB572-68CC-4353-90BA-08E899548A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11" y="1046"/>
              <a:ext cx="105" cy="204"/>
            </a:xfrm>
            <a:custGeom>
              <a:avLst/>
              <a:gdLst>
                <a:gd name="T0" fmla="*/ 105 w 105"/>
                <a:gd name="T1" fmla="*/ 20 h 204"/>
                <a:gd name="T2" fmla="*/ 23 w 105"/>
                <a:gd name="T3" fmla="*/ 20 h 204"/>
                <a:gd name="T4" fmla="*/ 23 w 105"/>
                <a:gd name="T5" fmla="*/ 81 h 204"/>
                <a:gd name="T6" fmla="*/ 103 w 105"/>
                <a:gd name="T7" fmla="*/ 81 h 204"/>
                <a:gd name="T8" fmla="*/ 103 w 105"/>
                <a:gd name="T9" fmla="*/ 103 h 204"/>
                <a:gd name="T10" fmla="*/ 23 w 105"/>
                <a:gd name="T11" fmla="*/ 103 h 204"/>
                <a:gd name="T12" fmla="*/ 23 w 105"/>
                <a:gd name="T13" fmla="*/ 181 h 204"/>
                <a:gd name="T14" fmla="*/ 105 w 105"/>
                <a:gd name="T15" fmla="*/ 181 h 204"/>
                <a:gd name="T16" fmla="*/ 105 w 105"/>
                <a:gd name="T17" fmla="*/ 204 h 204"/>
                <a:gd name="T18" fmla="*/ 0 w 105"/>
                <a:gd name="T19" fmla="*/ 204 h 204"/>
                <a:gd name="T20" fmla="*/ 0 w 105"/>
                <a:gd name="T21" fmla="*/ 0 h 204"/>
                <a:gd name="T22" fmla="*/ 105 w 105"/>
                <a:gd name="T23" fmla="*/ 0 h 204"/>
                <a:gd name="T24" fmla="*/ 105 w 105"/>
                <a:gd name="T25" fmla="*/ 2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204">
                  <a:moveTo>
                    <a:pt x="105" y="20"/>
                  </a:moveTo>
                  <a:lnTo>
                    <a:pt x="23" y="20"/>
                  </a:lnTo>
                  <a:lnTo>
                    <a:pt x="23" y="81"/>
                  </a:lnTo>
                  <a:lnTo>
                    <a:pt x="103" y="81"/>
                  </a:lnTo>
                  <a:lnTo>
                    <a:pt x="103" y="103"/>
                  </a:lnTo>
                  <a:lnTo>
                    <a:pt x="23" y="103"/>
                  </a:lnTo>
                  <a:lnTo>
                    <a:pt x="23" y="181"/>
                  </a:lnTo>
                  <a:lnTo>
                    <a:pt x="105" y="181"/>
                  </a:lnTo>
                  <a:lnTo>
                    <a:pt x="105" y="204"/>
                  </a:lnTo>
                  <a:lnTo>
                    <a:pt x="0" y="204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63639728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water&#10;&#10;Description generated with high confidence">
            <a:extLst>
              <a:ext uri="{FF2B5EF4-FFF2-40B4-BE49-F238E27FC236}">
                <a16:creationId xmlns:a16="http://schemas.microsoft.com/office/drawing/2014/main" id="{2AC3D471-59AD-42ED-96C3-C5C7524FDB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5556"/>
            <a:ext cx="18288000" cy="10287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0F274C-024B-4A0E-B69C-746B1B719AB1}"/>
              </a:ext>
            </a:extLst>
          </p:cNvPr>
          <p:cNvSpPr/>
          <p:nvPr userDrawn="1"/>
        </p:nvSpPr>
        <p:spPr>
          <a:xfrm>
            <a:off x="8737193" y="-11504"/>
            <a:ext cx="9552393" cy="103040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635A4AE-C9BF-454C-999F-959BC9DD44CC}"/>
              </a:ext>
            </a:extLst>
          </p:cNvPr>
          <p:cNvSpPr/>
          <p:nvPr userDrawn="1"/>
        </p:nvSpPr>
        <p:spPr>
          <a:xfrm>
            <a:off x="8737193" y="0"/>
            <a:ext cx="3498900" cy="7539236"/>
          </a:xfrm>
          <a:custGeom>
            <a:avLst/>
            <a:gdLst>
              <a:gd name="connsiteX0" fmla="*/ 9535 w 2263042"/>
              <a:gd name="connsiteY0" fmla="*/ 9535 h 7539235"/>
              <a:gd name="connsiteX1" fmla="*/ 9535 w 2263042"/>
              <a:gd name="connsiteY1" fmla="*/ 7537329 h 7539235"/>
              <a:gd name="connsiteX2" fmla="*/ 2263678 w 2263042"/>
              <a:gd name="connsiteY2" fmla="*/ 9535 h 7539235"/>
              <a:gd name="connsiteX3" fmla="*/ 9535 w 2263042"/>
              <a:gd name="connsiteY3" fmla="*/ 9535 h 753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042" h="7539235">
                <a:moveTo>
                  <a:pt x="9535" y="9535"/>
                </a:moveTo>
                <a:lnTo>
                  <a:pt x="9535" y="7537329"/>
                </a:lnTo>
                <a:cubicBezTo>
                  <a:pt x="1180470" y="5337856"/>
                  <a:pt x="1952192" y="2815453"/>
                  <a:pt x="2263678" y="9535"/>
                </a:cubicBezTo>
                <a:lnTo>
                  <a:pt x="9535" y="9535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2432F58-2C18-40D7-A4E5-13AD8DA69CED}"/>
              </a:ext>
            </a:extLst>
          </p:cNvPr>
          <p:cNvSpPr/>
          <p:nvPr userDrawn="1"/>
        </p:nvSpPr>
        <p:spPr>
          <a:xfrm>
            <a:off x="0" y="-11504"/>
            <a:ext cx="8737193" cy="10304060"/>
          </a:xfrm>
          <a:prstGeom prst="rect">
            <a:avLst/>
          </a:prstGeom>
          <a:solidFill>
            <a:srgbClr val="20202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3700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C19775E-DCBC-48F1-ADB5-6CD1D0D47BC5}"/>
              </a:ext>
            </a:extLst>
          </p:cNvPr>
          <p:cNvSpPr/>
          <p:nvPr userDrawn="1"/>
        </p:nvSpPr>
        <p:spPr>
          <a:xfrm>
            <a:off x="0" y="0"/>
            <a:ext cx="18291175" cy="377910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85919" y="1778333"/>
            <a:ext cx="16932039" cy="779986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 marL="901700" indent="-279400"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lang="en-US" sz="26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140A5EE2-4A61-40AF-906A-E0C29B723F74}"/>
              </a:ext>
            </a:extLst>
          </p:cNvPr>
          <p:cNvSpPr/>
          <p:nvPr/>
        </p:nvSpPr>
        <p:spPr>
          <a:xfrm>
            <a:off x="12532611" y="-24149"/>
            <a:ext cx="5758564" cy="1954549"/>
          </a:xfrm>
          <a:custGeom>
            <a:avLst/>
            <a:gdLst>
              <a:gd name="connsiteX0" fmla="*/ 2610326 w 2609850"/>
              <a:gd name="connsiteY0" fmla="*/ 7144 h 885825"/>
              <a:gd name="connsiteX1" fmla="*/ 7144 w 2609850"/>
              <a:gd name="connsiteY1" fmla="*/ 7144 h 885825"/>
              <a:gd name="connsiteX2" fmla="*/ 2610326 w 2609850"/>
              <a:gd name="connsiteY2" fmla="*/ 882491 h 885825"/>
              <a:gd name="connsiteX3" fmla="*/ 2610326 w 2609850"/>
              <a:gd name="connsiteY3" fmla="*/ 7144 h 885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9850" h="885825">
                <a:moveTo>
                  <a:pt x="2610326" y="7144"/>
                </a:moveTo>
                <a:lnTo>
                  <a:pt x="7144" y="7144"/>
                </a:lnTo>
                <a:cubicBezTo>
                  <a:pt x="1083469" y="23336"/>
                  <a:pt x="1975961" y="311944"/>
                  <a:pt x="2610326" y="882491"/>
                </a:cubicBezTo>
                <a:lnTo>
                  <a:pt x="2610326" y="714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60105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85919" y="1778333"/>
            <a:ext cx="16932039" cy="779986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 marL="1079500" indent="-457200">
              <a:buFontTx/>
              <a:buNone/>
              <a:defRPr lang="en-US" sz="26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737364" y="377910"/>
            <a:ext cx="16932039" cy="874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Graphic 7">
            <a:extLst>
              <a:ext uri="{FF2B5EF4-FFF2-40B4-BE49-F238E27FC236}">
                <a16:creationId xmlns:a16="http://schemas.microsoft.com/office/drawing/2014/main" id="{50768152-3711-4A14-80EE-91A18077281E}"/>
              </a:ext>
            </a:extLst>
          </p:cNvPr>
          <p:cNvSpPr/>
          <p:nvPr userDrawn="1"/>
        </p:nvSpPr>
        <p:spPr>
          <a:xfrm flipV="1">
            <a:off x="-25928" y="-25400"/>
            <a:ext cx="458528" cy="6605671"/>
          </a:xfrm>
          <a:custGeom>
            <a:avLst/>
            <a:gdLst>
              <a:gd name="connsiteX0" fmla="*/ 455847 w 458528"/>
              <a:gd name="connsiteY0" fmla="*/ 795445 h 6605671"/>
              <a:gd name="connsiteX1" fmla="*/ 15947 w 458528"/>
              <a:gd name="connsiteY1" fmla="*/ 15947 h 6605671"/>
              <a:gd name="connsiteX2" fmla="*/ 15947 w 458528"/>
              <a:gd name="connsiteY2" fmla="*/ 6594393 h 6605671"/>
              <a:gd name="connsiteX3" fmla="*/ 455847 w 458528"/>
              <a:gd name="connsiteY3" fmla="*/ 6594393 h 6605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8528" h="6605671">
                <a:moveTo>
                  <a:pt x="455847" y="795445"/>
                </a:moveTo>
                <a:lnTo>
                  <a:pt x="15947" y="15947"/>
                </a:lnTo>
                <a:lnTo>
                  <a:pt x="15947" y="6594393"/>
                </a:lnTo>
                <a:lnTo>
                  <a:pt x="455847" y="6594393"/>
                </a:lnTo>
                <a:close/>
              </a:path>
            </a:pathLst>
          </a:custGeom>
          <a:solidFill>
            <a:srgbClr val="069EDB"/>
          </a:solidFill>
          <a:ln w="1413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9725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0201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2">
            <a:extLst>
              <a:ext uri="{FF2B5EF4-FFF2-40B4-BE49-F238E27FC236}">
                <a16:creationId xmlns:a16="http://schemas.microsoft.com/office/drawing/2014/main" id="{BD78CACF-F3ED-4116-BF70-F7643B144A36}"/>
              </a:ext>
            </a:extLst>
          </p:cNvPr>
          <p:cNvSpPr/>
          <p:nvPr/>
        </p:nvSpPr>
        <p:spPr>
          <a:xfrm>
            <a:off x="-12727" y="-12728"/>
            <a:ext cx="18333183" cy="10310827"/>
          </a:xfrm>
          <a:custGeom>
            <a:avLst/>
            <a:gdLst>
              <a:gd name="connsiteX0" fmla="*/ 13317634 w 18333183"/>
              <a:gd name="connsiteY0" fmla="*/ 3895497 h 10310826"/>
              <a:gd name="connsiteX1" fmla="*/ 6645475 w 18333183"/>
              <a:gd name="connsiteY1" fmla="*/ 12727 h 10310826"/>
              <a:gd name="connsiteX2" fmla="*/ 3951437 w 18333183"/>
              <a:gd name="connsiteY2" fmla="*/ 12727 h 10310826"/>
              <a:gd name="connsiteX3" fmla="*/ 12727 w 18333183"/>
              <a:gd name="connsiteY3" fmla="*/ 12727 h 10310826"/>
              <a:gd name="connsiteX4" fmla="*/ 12727 w 18333183"/>
              <a:gd name="connsiteY4" fmla="*/ 5524125 h 10310826"/>
              <a:gd name="connsiteX5" fmla="*/ 3951437 w 18333183"/>
              <a:gd name="connsiteY5" fmla="*/ 9057268 h 10310826"/>
              <a:gd name="connsiteX6" fmla="*/ 6304747 w 18333183"/>
              <a:gd name="connsiteY6" fmla="*/ 10304483 h 10310826"/>
              <a:gd name="connsiteX7" fmla="*/ 18324298 w 18333183"/>
              <a:gd name="connsiteY7" fmla="*/ 10304483 h 10310826"/>
              <a:gd name="connsiteX8" fmla="*/ 18324298 w 18333183"/>
              <a:gd name="connsiteY8" fmla="*/ 2175331 h 10310826"/>
              <a:gd name="connsiteX9" fmla="*/ 13317634 w 18333183"/>
              <a:gd name="connsiteY9" fmla="*/ 3895497 h 10310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333183" h="10310826">
                <a:moveTo>
                  <a:pt x="13317634" y="3895497"/>
                </a:moveTo>
                <a:cubicBezTo>
                  <a:pt x="10294312" y="3895497"/>
                  <a:pt x="8013471" y="2458847"/>
                  <a:pt x="6645475" y="12727"/>
                </a:cubicBezTo>
                <a:lnTo>
                  <a:pt x="3951437" y="12727"/>
                </a:lnTo>
                <a:lnTo>
                  <a:pt x="12727" y="12727"/>
                </a:lnTo>
                <a:lnTo>
                  <a:pt x="12727" y="5524125"/>
                </a:lnTo>
                <a:cubicBezTo>
                  <a:pt x="1131534" y="6916277"/>
                  <a:pt x="2457575" y="8103739"/>
                  <a:pt x="3951437" y="9057268"/>
                </a:cubicBezTo>
                <a:cubicBezTo>
                  <a:pt x="4695190" y="9532760"/>
                  <a:pt x="5482169" y="9949770"/>
                  <a:pt x="6304747" y="10304483"/>
                </a:cubicBezTo>
                <a:lnTo>
                  <a:pt x="18324298" y="10304483"/>
                </a:lnTo>
                <a:lnTo>
                  <a:pt x="18324298" y="2175331"/>
                </a:lnTo>
                <a:cubicBezTo>
                  <a:pt x="17105052" y="3328465"/>
                  <a:pt x="15402684" y="3895497"/>
                  <a:pt x="13317634" y="3895497"/>
                </a:cubicBezTo>
                <a:close/>
              </a:path>
            </a:pathLst>
          </a:custGeom>
          <a:solidFill>
            <a:schemeClr val="bg1"/>
          </a:solidFill>
          <a:ln w="1271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737364" y="377910"/>
            <a:ext cx="16932039" cy="874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ADE8FFCF-68F9-49C0-87FF-9F320EB66C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920" y="1778333"/>
            <a:ext cx="5396226" cy="779986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0" indent="0">
              <a:spcBef>
                <a:spcPts val="1200"/>
              </a:spcBef>
              <a:buNone/>
              <a:defRPr lang="en-US" sz="3200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53973989-155B-44C7-A200-0A51748F6F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86" y="1778333"/>
            <a:ext cx="11233113" cy="779986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>
              <a:spcBef>
                <a:spcPts val="1200"/>
              </a:spcBef>
              <a:spcAft>
                <a:spcPts val="0"/>
              </a:spcAft>
              <a:defRPr lang="en-US" sz="32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9500" indent="-457200">
              <a:spcBef>
                <a:spcPts val="1200"/>
              </a:spcBef>
              <a:spcAft>
                <a:spcPts val="0"/>
              </a:spcAft>
              <a:defRPr lang="en-US" sz="26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EE55B5CD-A953-4D0D-9AE0-8CCE796E11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6700" y="9773641"/>
            <a:ext cx="2451100" cy="322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899181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3">
            <a:extLst>
              <a:ext uri="{FF2B5EF4-FFF2-40B4-BE49-F238E27FC236}">
                <a16:creationId xmlns:a16="http://schemas.microsoft.com/office/drawing/2014/main" id="{01AA9D77-CD35-4156-82A8-7093EAE5DC76}"/>
              </a:ext>
            </a:extLst>
          </p:cNvPr>
          <p:cNvSpPr/>
          <p:nvPr/>
        </p:nvSpPr>
        <p:spPr>
          <a:xfrm>
            <a:off x="-29308" y="-12728"/>
            <a:ext cx="18333183" cy="10310827"/>
          </a:xfrm>
          <a:custGeom>
            <a:avLst/>
            <a:gdLst>
              <a:gd name="connsiteX0" fmla="*/ 11180458 w 18333183"/>
              <a:gd name="connsiteY0" fmla="*/ 8331314 h 10310826"/>
              <a:gd name="connsiteX1" fmla="*/ 11074934 w 18333183"/>
              <a:gd name="connsiteY1" fmla="*/ 8331314 h 10310826"/>
              <a:gd name="connsiteX2" fmla="*/ 6386115 w 18333183"/>
              <a:gd name="connsiteY2" fmla="*/ 12727 h 10310826"/>
              <a:gd name="connsiteX3" fmla="*/ 12727 w 18333183"/>
              <a:gd name="connsiteY3" fmla="*/ 12727 h 10310826"/>
              <a:gd name="connsiteX4" fmla="*/ 12727 w 18333183"/>
              <a:gd name="connsiteY4" fmla="*/ 4362091 h 10310826"/>
              <a:gd name="connsiteX5" fmla="*/ 3324651 w 18333183"/>
              <a:gd name="connsiteY5" fmla="*/ 10304483 h 10310826"/>
              <a:gd name="connsiteX6" fmla="*/ 18324298 w 18333183"/>
              <a:gd name="connsiteY6" fmla="*/ 10304483 h 10310826"/>
              <a:gd name="connsiteX7" fmla="*/ 18324298 w 18333183"/>
              <a:gd name="connsiteY7" fmla="*/ 12727 h 10310826"/>
              <a:gd name="connsiteX8" fmla="*/ 11180458 w 18333183"/>
              <a:gd name="connsiteY8" fmla="*/ 12727 h 10310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333183" h="10310826">
                <a:moveTo>
                  <a:pt x="11180458" y="8331314"/>
                </a:moveTo>
                <a:lnTo>
                  <a:pt x="11074934" y="8331314"/>
                </a:lnTo>
                <a:lnTo>
                  <a:pt x="6386115" y="12727"/>
                </a:lnTo>
                <a:lnTo>
                  <a:pt x="12727" y="12727"/>
                </a:lnTo>
                <a:lnTo>
                  <a:pt x="12727" y="4362091"/>
                </a:lnTo>
                <a:lnTo>
                  <a:pt x="3324651" y="10304483"/>
                </a:lnTo>
                <a:lnTo>
                  <a:pt x="18324298" y="10304483"/>
                </a:lnTo>
                <a:lnTo>
                  <a:pt x="18324298" y="12727"/>
                </a:lnTo>
                <a:lnTo>
                  <a:pt x="11180458" y="12727"/>
                </a:lnTo>
                <a:close/>
              </a:path>
            </a:pathLst>
          </a:custGeom>
          <a:solidFill>
            <a:schemeClr val="bg1"/>
          </a:solidFill>
          <a:ln w="1271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85920" y="1778333"/>
            <a:ext cx="5396226" cy="779986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 marL="0" indent="0">
              <a:spcBef>
                <a:spcPts val="1200"/>
              </a:spcBef>
              <a:buNone/>
              <a:defRPr lang="en-US" sz="3200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737364" y="377910"/>
            <a:ext cx="16932039" cy="874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445286" y="1778333"/>
            <a:ext cx="11233113" cy="779986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>
            <a:lvl1pPr>
              <a:spcBef>
                <a:spcPts val="1200"/>
              </a:spcBef>
              <a:spcAft>
                <a:spcPts val="0"/>
              </a:spcAft>
              <a:defRPr lang="en-US" sz="32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9500" indent="-457200">
              <a:spcBef>
                <a:spcPts val="1200"/>
              </a:spcBef>
              <a:spcAft>
                <a:spcPts val="0"/>
              </a:spcAft>
              <a:defRPr lang="en-US" sz="26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B9E51E76-FB9C-4FE6-8A98-E02F9662FA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6700" y="9773641"/>
            <a:ext cx="2451100" cy="322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567240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2">
            <a:extLst>
              <a:ext uri="{FF2B5EF4-FFF2-40B4-BE49-F238E27FC236}">
                <a16:creationId xmlns:a16="http://schemas.microsoft.com/office/drawing/2014/main" id="{4F100CEE-CB17-4873-88E5-A07F152ACB8E}"/>
              </a:ext>
            </a:extLst>
          </p:cNvPr>
          <p:cNvSpPr/>
          <p:nvPr/>
        </p:nvSpPr>
        <p:spPr>
          <a:xfrm>
            <a:off x="2578100" y="0"/>
            <a:ext cx="15713075" cy="10335202"/>
          </a:xfrm>
          <a:custGeom>
            <a:avLst/>
            <a:gdLst>
              <a:gd name="connsiteX0" fmla="*/ 4783931 w 11744325"/>
              <a:gd name="connsiteY0" fmla="*/ 7717631 h 7724775"/>
              <a:gd name="connsiteX1" fmla="*/ 9045416 w 11744325"/>
              <a:gd name="connsiteY1" fmla="*/ 2388394 h 7724775"/>
              <a:gd name="connsiteX2" fmla="*/ 11745754 w 11744325"/>
              <a:gd name="connsiteY2" fmla="*/ 3263741 h 7724775"/>
              <a:gd name="connsiteX3" fmla="*/ 11745754 w 11744325"/>
              <a:gd name="connsiteY3" fmla="*/ 7144 h 7724775"/>
              <a:gd name="connsiteX4" fmla="*/ 3656171 w 11744325"/>
              <a:gd name="connsiteY4" fmla="*/ 7144 h 7724775"/>
              <a:gd name="connsiteX5" fmla="*/ 7144 w 11744325"/>
              <a:gd name="connsiteY5" fmla="*/ 7717631 h 7724775"/>
              <a:gd name="connsiteX6" fmla="*/ 4783931 w 11744325"/>
              <a:gd name="connsiteY6" fmla="*/ 7717631 h 772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44325" h="7724775">
                <a:moveTo>
                  <a:pt x="4783931" y="7717631"/>
                </a:moveTo>
                <a:cubicBezTo>
                  <a:pt x="4820126" y="4520089"/>
                  <a:pt x="6381274" y="2388394"/>
                  <a:pt x="9045416" y="2388394"/>
                </a:cubicBezTo>
                <a:cubicBezTo>
                  <a:pt x="10164604" y="2388394"/>
                  <a:pt x="11092339" y="2677001"/>
                  <a:pt x="11745754" y="3263741"/>
                </a:cubicBezTo>
                <a:lnTo>
                  <a:pt x="11745754" y="7144"/>
                </a:lnTo>
                <a:lnTo>
                  <a:pt x="3656171" y="7144"/>
                </a:lnTo>
                <a:cubicBezTo>
                  <a:pt x="1353979" y="1720691"/>
                  <a:pt x="38576" y="4543901"/>
                  <a:pt x="7144" y="7717631"/>
                </a:cubicBezTo>
                <a:lnTo>
                  <a:pt x="4783931" y="7717631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737364" y="377910"/>
            <a:ext cx="16932039" cy="874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9EC8DD51-C049-4B6F-8DC0-A98D764DC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7363" y="2616200"/>
            <a:ext cx="7993359" cy="6962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lang="en-US" sz="3200" dirty="0" smtClean="0">
                <a:solidFill>
                  <a:schemeClr val="tx1"/>
                </a:solidFill>
              </a:defRPr>
            </a:lvl1pPr>
            <a:lvl2pPr marL="1079500" indent="-457200">
              <a:spcAft>
                <a:spcPts val="0"/>
              </a:spcAft>
              <a:defRPr lang="en-US" sz="26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EA3DC59-4114-4C1D-84FB-22867F15A0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7363" y="1778333"/>
            <a:ext cx="7993359" cy="646113"/>
          </a:xfrm>
        </p:spPr>
        <p:txBody>
          <a:bodyPr>
            <a:noAutofit/>
          </a:bodyPr>
          <a:lstStyle>
            <a:lvl1pPr marL="0" indent="0">
              <a:buNone/>
              <a:tabLst/>
              <a:defRPr lang="en-US" sz="3600" kern="1200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58A8083A-0A1F-4A74-8DEC-00BCF41760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45587" y="2616200"/>
            <a:ext cx="7993359" cy="6962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lang="en-US" sz="3200" dirty="0" smtClean="0">
                <a:solidFill>
                  <a:schemeClr val="tx1"/>
                </a:solidFill>
              </a:defRPr>
            </a:lvl1pPr>
            <a:lvl2pPr marL="1079500" indent="-457200">
              <a:spcAft>
                <a:spcPts val="0"/>
              </a:spcAft>
              <a:defRPr lang="en-US" sz="26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C86764-5F80-4ECD-AE64-54AA249C61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45587" y="1778333"/>
            <a:ext cx="7993359" cy="646113"/>
          </a:xfrm>
        </p:spPr>
        <p:txBody>
          <a:bodyPr>
            <a:noAutofit/>
          </a:bodyPr>
          <a:lstStyle>
            <a:lvl1pPr marL="0" indent="0">
              <a:buNone/>
              <a:tabLst/>
              <a:defRPr lang="en-US" sz="3600" kern="1200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34452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737364" y="377910"/>
            <a:ext cx="16932039" cy="874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85919" y="2616200"/>
            <a:ext cx="7985357" cy="6962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lang="en-US" sz="3200" dirty="0" smtClean="0">
                <a:solidFill>
                  <a:schemeClr val="tx1"/>
                </a:solidFill>
              </a:defRPr>
            </a:lvl1pPr>
            <a:lvl2pPr marL="1079500" indent="-457200">
              <a:spcAft>
                <a:spcPts val="0"/>
              </a:spcAft>
              <a:defRPr lang="en-US" sz="26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9182219" y="2616200"/>
            <a:ext cx="7985357" cy="6962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lang="en-US" sz="3200" dirty="0" smtClean="0">
                <a:solidFill>
                  <a:schemeClr val="tx1"/>
                </a:solidFill>
              </a:defRPr>
            </a:lvl1pPr>
            <a:lvl2pPr marL="1079500" indent="-457200">
              <a:spcBef>
                <a:spcPts val="1200"/>
              </a:spcBef>
              <a:spcAft>
                <a:spcPts val="0"/>
              </a:spcAft>
              <a:defRPr lang="en-US" sz="26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85801" y="1778333"/>
            <a:ext cx="8044922" cy="646113"/>
          </a:xfrm>
        </p:spPr>
        <p:txBody>
          <a:bodyPr>
            <a:noAutofit/>
          </a:bodyPr>
          <a:lstStyle>
            <a:lvl1pPr marL="0" indent="0">
              <a:buNone/>
              <a:tabLst/>
              <a:defRPr lang="en-US" sz="3600" kern="1200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9035321" y="1778333"/>
            <a:ext cx="8323263" cy="646113"/>
          </a:xfrm>
        </p:spPr>
        <p:txBody>
          <a:bodyPr>
            <a:noAutofit/>
          </a:bodyPr>
          <a:lstStyle>
            <a:lvl1pPr marL="0" indent="0">
              <a:buNone/>
              <a:tabLst/>
              <a:defRPr lang="en-US" sz="3600" kern="1200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781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2603" name="Graphic 2601">
            <a:extLst>
              <a:ext uri="{FF2B5EF4-FFF2-40B4-BE49-F238E27FC236}">
                <a16:creationId xmlns:a16="http://schemas.microsoft.com/office/drawing/2014/main" id="{A84DCBB5-1F2B-4E8B-A860-C836F2203935}"/>
              </a:ext>
            </a:extLst>
          </p:cNvPr>
          <p:cNvGrpSpPr/>
          <p:nvPr/>
        </p:nvGrpSpPr>
        <p:grpSpPr>
          <a:xfrm>
            <a:off x="265804" y="865746"/>
            <a:ext cx="17814157" cy="8703099"/>
            <a:chOff x="383458" y="1169269"/>
            <a:chExt cx="16908255" cy="8260521"/>
          </a:xfrm>
          <a:solidFill>
            <a:schemeClr val="accent1"/>
          </a:solidFill>
        </p:grpSpPr>
        <p:sp>
          <p:nvSpPr>
            <p:cNvPr id="2604" name="Freeform: Shape 2603">
              <a:extLst>
                <a:ext uri="{FF2B5EF4-FFF2-40B4-BE49-F238E27FC236}">
                  <a16:creationId xmlns:a16="http://schemas.microsoft.com/office/drawing/2014/main" id="{DF4ABA1C-BD09-4DAA-9126-D8A9750F87C3}"/>
                </a:ext>
              </a:extLst>
            </p:cNvPr>
            <p:cNvSpPr/>
            <p:nvPr/>
          </p:nvSpPr>
          <p:spPr>
            <a:xfrm>
              <a:off x="609332" y="1911425"/>
              <a:ext cx="774424" cy="387212"/>
            </a:xfrm>
            <a:custGeom>
              <a:avLst/>
              <a:gdLst>
                <a:gd name="connsiteX0" fmla="*/ 716342 w 774423"/>
                <a:gd name="connsiteY0" fmla="*/ 367851 h 387211"/>
                <a:gd name="connsiteX1" fmla="*/ 96803 w 774423"/>
                <a:gd name="connsiteY1" fmla="*/ 96803 h 387211"/>
                <a:gd name="connsiteX2" fmla="*/ 729249 w 774423"/>
                <a:gd name="connsiteY2" fmla="*/ 109710 h 387211"/>
                <a:gd name="connsiteX3" fmla="*/ 716342 w 774423"/>
                <a:gd name="connsiteY3" fmla="*/ 367851 h 387211"/>
                <a:gd name="connsiteX4" fmla="*/ 135524 w 774423"/>
                <a:gd name="connsiteY4" fmla="*/ 109710 h 387211"/>
                <a:gd name="connsiteX5" fmla="*/ 716342 w 774423"/>
                <a:gd name="connsiteY5" fmla="*/ 354944 h 387211"/>
                <a:gd name="connsiteX6" fmla="*/ 742156 w 774423"/>
                <a:gd name="connsiteY6" fmla="*/ 122617 h 387211"/>
                <a:gd name="connsiteX7" fmla="*/ 135524 w 774423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387211">
                  <a:moveTo>
                    <a:pt x="716342" y="367851"/>
                  </a:moveTo>
                  <a:lnTo>
                    <a:pt x="96803" y="96803"/>
                  </a:lnTo>
                  <a:lnTo>
                    <a:pt x="729249" y="109710"/>
                  </a:lnTo>
                  <a:lnTo>
                    <a:pt x="716342" y="367851"/>
                  </a:lnTo>
                  <a:close/>
                  <a:moveTo>
                    <a:pt x="135524" y="109710"/>
                  </a:moveTo>
                  <a:lnTo>
                    <a:pt x="716342" y="354944"/>
                  </a:lnTo>
                  <a:lnTo>
                    <a:pt x="742156" y="122617"/>
                  </a:lnTo>
                  <a:lnTo>
                    <a:pt x="13552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5" name="Freeform: Shape 2604">
              <a:extLst>
                <a:ext uri="{FF2B5EF4-FFF2-40B4-BE49-F238E27FC236}">
                  <a16:creationId xmlns:a16="http://schemas.microsoft.com/office/drawing/2014/main" id="{9B9FB1A2-3E5C-474B-B1B7-CD8FBC035D31}"/>
                </a:ext>
              </a:extLst>
            </p:cNvPr>
            <p:cNvSpPr/>
            <p:nvPr/>
          </p:nvSpPr>
          <p:spPr>
            <a:xfrm>
              <a:off x="1215964" y="1924332"/>
              <a:ext cx="645353" cy="387212"/>
            </a:xfrm>
            <a:custGeom>
              <a:avLst/>
              <a:gdLst>
                <a:gd name="connsiteX0" fmla="*/ 96803 w 645353"/>
                <a:gd name="connsiteY0" fmla="*/ 342037 h 387211"/>
                <a:gd name="connsiteX1" fmla="*/ 122617 w 645353"/>
                <a:gd name="connsiteY1" fmla="*/ 96803 h 387211"/>
                <a:gd name="connsiteX2" fmla="*/ 122617 w 645353"/>
                <a:gd name="connsiteY2" fmla="*/ 96803 h 387211"/>
                <a:gd name="connsiteX3" fmla="*/ 651807 w 645353"/>
                <a:gd name="connsiteY3" fmla="*/ 174245 h 387211"/>
                <a:gd name="connsiteX4" fmla="*/ 96803 w 645353"/>
                <a:gd name="connsiteY4" fmla="*/ 342037 h 387211"/>
                <a:gd name="connsiteX5" fmla="*/ 122617 w 645353"/>
                <a:gd name="connsiteY5" fmla="*/ 109710 h 387211"/>
                <a:gd name="connsiteX6" fmla="*/ 109710 w 645353"/>
                <a:gd name="connsiteY6" fmla="*/ 342037 h 387211"/>
                <a:gd name="connsiteX7" fmla="*/ 625993 w 645353"/>
                <a:gd name="connsiteY7" fmla="*/ 187152 h 387211"/>
                <a:gd name="connsiteX8" fmla="*/ 122617 w 645353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96803" y="342037"/>
                  </a:moveTo>
                  <a:lnTo>
                    <a:pt x="122617" y="96803"/>
                  </a:lnTo>
                  <a:lnTo>
                    <a:pt x="122617" y="96803"/>
                  </a:lnTo>
                  <a:lnTo>
                    <a:pt x="651807" y="174245"/>
                  </a:lnTo>
                  <a:lnTo>
                    <a:pt x="96803" y="342037"/>
                  </a:lnTo>
                  <a:close/>
                  <a:moveTo>
                    <a:pt x="122617" y="109710"/>
                  </a:moveTo>
                  <a:lnTo>
                    <a:pt x="109710" y="342037"/>
                  </a:lnTo>
                  <a:lnTo>
                    <a:pt x="625993" y="187152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6" name="Freeform: Shape 2605">
              <a:extLst>
                <a:ext uri="{FF2B5EF4-FFF2-40B4-BE49-F238E27FC236}">
                  <a16:creationId xmlns:a16="http://schemas.microsoft.com/office/drawing/2014/main" id="{C30C0F0C-C80E-4730-91EE-1D5BBBF023E3}"/>
                </a:ext>
              </a:extLst>
            </p:cNvPr>
            <p:cNvSpPr/>
            <p:nvPr/>
          </p:nvSpPr>
          <p:spPr>
            <a:xfrm>
              <a:off x="802938" y="2453522"/>
              <a:ext cx="516283" cy="258141"/>
            </a:xfrm>
            <a:custGeom>
              <a:avLst/>
              <a:gdLst>
                <a:gd name="connsiteX0" fmla="*/ 238781 w 516282"/>
                <a:gd name="connsiteY0" fmla="*/ 277502 h 258141"/>
                <a:gd name="connsiteX1" fmla="*/ 96803 w 516282"/>
                <a:gd name="connsiteY1" fmla="*/ 238781 h 258141"/>
                <a:gd name="connsiteX2" fmla="*/ 496922 w 516282"/>
                <a:gd name="connsiteY2" fmla="*/ 96803 h 258141"/>
                <a:gd name="connsiteX3" fmla="*/ 238781 w 516282"/>
                <a:gd name="connsiteY3" fmla="*/ 277502 h 258141"/>
                <a:gd name="connsiteX4" fmla="*/ 122617 w 516282"/>
                <a:gd name="connsiteY4" fmla="*/ 238781 h 258141"/>
                <a:gd name="connsiteX5" fmla="*/ 251688 w 516282"/>
                <a:gd name="connsiteY5" fmla="*/ 277502 h 258141"/>
                <a:gd name="connsiteX6" fmla="*/ 471108 w 516282"/>
                <a:gd name="connsiteY6" fmla="*/ 122617 h 258141"/>
                <a:gd name="connsiteX7" fmla="*/ 122617 w 516282"/>
                <a:gd name="connsiteY7" fmla="*/ 23878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238781" y="277502"/>
                  </a:moveTo>
                  <a:lnTo>
                    <a:pt x="96803" y="238781"/>
                  </a:lnTo>
                  <a:lnTo>
                    <a:pt x="496922" y="96803"/>
                  </a:lnTo>
                  <a:lnTo>
                    <a:pt x="238781" y="277502"/>
                  </a:lnTo>
                  <a:close/>
                  <a:moveTo>
                    <a:pt x="122617" y="238781"/>
                  </a:moveTo>
                  <a:lnTo>
                    <a:pt x="251688" y="277502"/>
                  </a:lnTo>
                  <a:lnTo>
                    <a:pt x="471108" y="122617"/>
                  </a:lnTo>
                  <a:lnTo>
                    <a:pt x="122617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7" name="Freeform: Shape 2606">
              <a:extLst>
                <a:ext uri="{FF2B5EF4-FFF2-40B4-BE49-F238E27FC236}">
                  <a16:creationId xmlns:a16="http://schemas.microsoft.com/office/drawing/2014/main" id="{A815E04C-75F4-40A9-9A7A-EB551F3AADCE}"/>
                </a:ext>
              </a:extLst>
            </p:cNvPr>
            <p:cNvSpPr/>
            <p:nvPr/>
          </p:nvSpPr>
          <p:spPr>
            <a:xfrm>
              <a:off x="389912" y="2324451"/>
              <a:ext cx="387212" cy="387212"/>
            </a:xfrm>
            <a:custGeom>
              <a:avLst/>
              <a:gdLst>
                <a:gd name="connsiteX0" fmla="*/ 316223 w 387211"/>
                <a:gd name="connsiteY0" fmla="*/ 316223 h 387211"/>
                <a:gd name="connsiteX1" fmla="*/ 96803 w 387211"/>
                <a:gd name="connsiteY1" fmla="*/ 212967 h 387211"/>
                <a:gd name="connsiteX2" fmla="*/ 303316 w 387211"/>
                <a:gd name="connsiteY2" fmla="*/ 96803 h 387211"/>
                <a:gd name="connsiteX3" fmla="*/ 316223 w 387211"/>
                <a:gd name="connsiteY3" fmla="*/ 316223 h 387211"/>
                <a:gd name="connsiteX4" fmla="*/ 122617 w 387211"/>
                <a:gd name="connsiteY4" fmla="*/ 212967 h 387211"/>
                <a:gd name="connsiteX5" fmla="*/ 316223 w 387211"/>
                <a:gd name="connsiteY5" fmla="*/ 303316 h 387211"/>
                <a:gd name="connsiteX6" fmla="*/ 316223 w 387211"/>
                <a:gd name="connsiteY6" fmla="*/ 96803 h 387211"/>
                <a:gd name="connsiteX7" fmla="*/ 122617 w 387211"/>
                <a:gd name="connsiteY7" fmla="*/ 21296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16223" y="316223"/>
                  </a:moveTo>
                  <a:lnTo>
                    <a:pt x="96803" y="212967"/>
                  </a:lnTo>
                  <a:lnTo>
                    <a:pt x="303316" y="96803"/>
                  </a:lnTo>
                  <a:lnTo>
                    <a:pt x="316223" y="316223"/>
                  </a:lnTo>
                  <a:close/>
                  <a:moveTo>
                    <a:pt x="122617" y="212967"/>
                  </a:moveTo>
                  <a:lnTo>
                    <a:pt x="316223" y="303316"/>
                  </a:lnTo>
                  <a:lnTo>
                    <a:pt x="316223" y="96803"/>
                  </a:lnTo>
                  <a:lnTo>
                    <a:pt x="122617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8" name="Freeform: Shape 2607">
              <a:extLst>
                <a:ext uri="{FF2B5EF4-FFF2-40B4-BE49-F238E27FC236}">
                  <a16:creationId xmlns:a16="http://schemas.microsoft.com/office/drawing/2014/main" id="{35FC4A7C-C16D-42CD-82D2-E074D1B8BC06}"/>
                </a:ext>
              </a:extLst>
            </p:cNvPr>
            <p:cNvSpPr/>
            <p:nvPr/>
          </p:nvSpPr>
          <p:spPr>
            <a:xfrm>
              <a:off x="609332" y="2298637"/>
              <a:ext cx="387212" cy="387212"/>
            </a:xfrm>
            <a:custGeom>
              <a:avLst/>
              <a:gdLst>
                <a:gd name="connsiteX0" fmla="*/ 303316 w 387211"/>
                <a:gd name="connsiteY0" fmla="*/ 393665 h 387211"/>
                <a:gd name="connsiteX1" fmla="*/ 96803 w 387211"/>
                <a:gd name="connsiteY1" fmla="*/ 329130 h 387211"/>
                <a:gd name="connsiteX2" fmla="*/ 96803 w 387211"/>
                <a:gd name="connsiteY2" fmla="*/ 96803 h 387211"/>
                <a:gd name="connsiteX3" fmla="*/ 303316 w 387211"/>
                <a:gd name="connsiteY3" fmla="*/ 393665 h 387211"/>
                <a:gd name="connsiteX4" fmla="*/ 96803 w 387211"/>
                <a:gd name="connsiteY4" fmla="*/ 329130 h 387211"/>
                <a:gd name="connsiteX5" fmla="*/ 290409 w 387211"/>
                <a:gd name="connsiteY5" fmla="*/ 380758 h 387211"/>
                <a:gd name="connsiteX6" fmla="*/ 96803 w 387211"/>
                <a:gd name="connsiteY6" fmla="*/ 122617 h 387211"/>
                <a:gd name="connsiteX7" fmla="*/ 96803 w 387211"/>
                <a:gd name="connsiteY7" fmla="*/ 32913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03316" y="393665"/>
                  </a:moveTo>
                  <a:lnTo>
                    <a:pt x="96803" y="329130"/>
                  </a:lnTo>
                  <a:lnTo>
                    <a:pt x="96803" y="96803"/>
                  </a:lnTo>
                  <a:lnTo>
                    <a:pt x="303316" y="393665"/>
                  </a:lnTo>
                  <a:close/>
                  <a:moveTo>
                    <a:pt x="96803" y="329130"/>
                  </a:moveTo>
                  <a:lnTo>
                    <a:pt x="290409" y="380758"/>
                  </a:lnTo>
                  <a:lnTo>
                    <a:pt x="96803" y="122617"/>
                  </a:lnTo>
                  <a:lnTo>
                    <a:pt x="96803" y="3291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9" name="Freeform: Shape 2608">
              <a:extLst>
                <a:ext uri="{FF2B5EF4-FFF2-40B4-BE49-F238E27FC236}">
                  <a16:creationId xmlns:a16="http://schemas.microsoft.com/office/drawing/2014/main" id="{54E3BA3E-0061-4CCC-84C1-26812EE2AFE2}"/>
                </a:ext>
              </a:extLst>
            </p:cNvPr>
            <p:cNvSpPr/>
            <p:nvPr/>
          </p:nvSpPr>
          <p:spPr>
            <a:xfrm>
              <a:off x="596425" y="2311544"/>
              <a:ext cx="774424" cy="387212"/>
            </a:xfrm>
            <a:custGeom>
              <a:avLst/>
              <a:gdLst>
                <a:gd name="connsiteX0" fmla="*/ 316223 w 774423"/>
                <a:gd name="connsiteY0" fmla="*/ 380758 h 387211"/>
                <a:gd name="connsiteX1" fmla="*/ 316223 w 774423"/>
                <a:gd name="connsiteY1" fmla="*/ 380758 h 387211"/>
                <a:gd name="connsiteX2" fmla="*/ 96803 w 774423"/>
                <a:gd name="connsiteY2" fmla="*/ 96803 h 387211"/>
                <a:gd name="connsiteX3" fmla="*/ 690528 w 774423"/>
                <a:gd name="connsiteY3" fmla="*/ 251688 h 387211"/>
                <a:gd name="connsiteX4" fmla="*/ 316223 w 774423"/>
                <a:gd name="connsiteY4" fmla="*/ 380758 h 387211"/>
                <a:gd name="connsiteX5" fmla="*/ 122617 w 774423"/>
                <a:gd name="connsiteY5" fmla="*/ 109710 h 387211"/>
                <a:gd name="connsiteX6" fmla="*/ 316223 w 774423"/>
                <a:gd name="connsiteY6" fmla="*/ 367851 h 387211"/>
                <a:gd name="connsiteX7" fmla="*/ 677621 w 774423"/>
                <a:gd name="connsiteY7" fmla="*/ 251688 h 387211"/>
                <a:gd name="connsiteX8" fmla="*/ 122617 w 774423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387211">
                  <a:moveTo>
                    <a:pt x="316223" y="380758"/>
                  </a:moveTo>
                  <a:lnTo>
                    <a:pt x="316223" y="380758"/>
                  </a:lnTo>
                  <a:lnTo>
                    <a:pt x="96803" y="96803"/>
                  </a:lnTo>
                  <a:lnTo>
                    <a:pt x="690528" y="251688"/>
                  </a:lnTo>
                  <a:lnTo>
                    <a:pt x="316223" y="380758"/>
                  </a:lnTo>
                  <a:close/>
                  <a:moveTo>
                    <a:pt x="122617" y="109710"/>
                  </a:moveTo>
                  <a:lnTo>
                    <a:pt x="316223" y="367851"/>
                  </a:lnTo>
                  <a:lnTo>
                    <a:pt x="677621" y="251688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0" name="Freeform: Shape 2609">
              <a:extLst>
                <a:ext uri="{FF2B5EF4-FFF2-40B4-BE49-F238E27FC236}">
                  <a16:creationId xmlns:a16="http://schemas.microsoft.com/office/drawing/2014/main" id="{7EB1FED0-32F6-4692-A81C-F656C539A75B}"/>
                </a:ext>
              </a:extLst>
            </p:cNvPr>
            <p:cNvSpPr/>
            <p:nvPr/>
          </p:nvSpPr>
          <p:spPr>
            <a:xfrm>
              <a:off x="596425" y="2169566"/>
              <a:ext cx="774424" cy="387212"/>
            </a:xfrm>
            <a:custGeom>
              <a:avLst/>
              <a:gdLst>
                <a:gd name="connsiteX0" fmla="*/ 690528 w 774423"/>
                <a:gd name="connsiteY0" fmla="*/ 393665 h 387211"/>
                <a:gd name="connsiteX1" fmla="*/ 690528 w 774423"/>
                <a:gd name="connsiteY1" fmla="*/ 393665 h 387211"/>
                <a:gd name="connsiteX2" fmla="*/ 96803 w 774423"/>
                <a:gd name="connsiteY2" fmla="*/ 251688 h 387211"/>
                <a:gd name="connsiteX3" fmla="*/ 729249 w 774423"/>
                <a:gd name="connsiteY3" fmla="*/ 96803 h 387211"/>
                <a:gd name="connsiteX4" fmla="*/ 690528 w 774423"/>
                <a:gd name="connsiteY4" fmla="*/ 393665 h 387211"/>
                <a:gd name="connsiteX5" fmla="*/ 122617 w 774423"/>
                <a:gd name="connsiteY5" fmla="*/ 251688 h 387211"/>
                <a:gd name="connsiteX6" fmla="*/ 677621 w 774423"/>
                <a:gd name="connsiteY6" fmla="*/ 393665 h 387211"/>
                <a:gd name="connsiteX7" fmla="*/ 716342 w 774423"/>
                <a:gd name="connsiteY7" fmla="*/ 109710 h 387211"/>
                <a:gd name="connsiteX8" fmla="*/ 122617 w 774423"/>
                <a:gd name="connsiteY8" fmla="*/ 25168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387211">
                  <a:moveTo>
                    <a:pt x="690528" y="393665"/>
                  </a:moveTo>
                  <a:lnTo>
                    <a:pt x="690528" y="393665"/>
                  </a:lnTo>
                  <a:lnTo>
                    <a:pt x="96803" y="251688"/>
                  </a:lnTo>
                  <a:lnTo>
                    <a:pt x="729249" y="96803"/>
                  </a:lnTo>
                  <a:lnTo>
                    <a:pt x="690528" y="393665"/>
                  </a:lnTo>
                  <a:close/>
                  <a:moveTo>
                    <a:pt x="122617" y="251688"/>
                  </a:moveTo>
                  <a:lnTo>
                    <a:pt x="677621" y="393665"/>
                  </a:lnTo>
                  <a:lnTo>
                    <a:pt x="716342" y="109710"/>
                  </a:lnTo>
                  <a:lnTo>
                    <a:pt x="122617" y="2516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1" name="Freeform: Shape 2610">
              <a:extLst>
                <a:ext uri="{FF2B5EF4-FFF2-40B4-BE49-F238E27FC236}">
                  <a16:creationId xmlns:a16="http://schemas.microsoft.com/office/drawing/2014/main" id="{6176CAC5-08DF-42DB-AC7B-2E1A5125B011}"/>
                </a:ext>
              </a:extLst>
            </p:cNvPr>
            <p:cNvSpPr/>
            <p:nvPr/>
          </p:nvSpPr>
          <p:spPr>
            <a:xfrm>
              <a:off x="312469" y="2143752"/>
              <a:ext cx="387212" cy="258141"/>
            </a:xfrm>
            <a:custGeom>
              <a:avLst/>
              <a:gdLst>
                <a:gd name="connsiteX0" fmla="*/ 393665 w 387211"/>
                <a:gd name="connsiteY0" fmla="*/ 277502 h 258141"/>
                <a:gd name="connsiteX1" fmla="*/ 96803 w 387211"/>
                <a:gd name="connsiteY1" fmla="*/ 148431 h 258141"/>
                <a:gd name="connsiteX2" fmla="*/ 354944 w 387211"/>
                <a:gd name="connsiteY2" fmla="*/ 96803 h 258141"/>
                <a:gd name="connsiteX3" fmla="*/ 393665 w 387211"/>
                <a:gd name="connsiteY3" fmla="*/ 277502 h 258141"/>
                <a:gd name="connsiteX4" fmla="*/ 122617 w 387211"/>
                <a:gd name="connsiteY4" fmla="*/ 148431 h 258141"/>
                <a:gd name="connsiteX5" fmla="*/ 393665 w 387211"/>
                <a:gd name="connsiteY5" fmla="*/ 264595 h 258141"/>
                <a:gd name="connsiteX6" fmla="*/ 354944 w 387211"/>
                <a:gd name="connsiteY6" fmla="*/ 96803 h 258141"/>
                <a:gd name="connsiteX7" fmla="*/ 122617 w 387211"/>
                <a:gd name="connsiteY7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93665" y="277502"/>
                  </a:moveTo>
                  <a:lnTo>
                    <a:pt x="96803" y="148431"/>
                  </a:lnTo>
                  <a:lnTo>
                    <a:pt x="354944" y="96803"/>
                  </a:lnTo>
                  <a:lnTo>
                    <a:pt x="393665" y="277502"/>
                  </a:lnTo>
                  <a:close/>
                  <a:moveTo>
                    <a:pt x="122617" y="148431"/>
                  </a:moveTo>
                  <a:lnTo>
                    <a:pt x="393665" y="264595"/>
                  </a:lnTo>
                  <a:lnTo>
                    <a:pt x="354944" y="96803"/>
                  </a:lnTo>
                  <a:lnTo>
                    <a:pt x="122617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2" name="Freeform: Shape 2611">
              <a:extLst>
                <a:ext uri="{FF2B5EF4-FFF2-40B4-BE49-F238E27FC236}">
                  <a16:creationId xmlns:a16="http://schemas.microsoft.com/office/drawing/2014/main" id="{2F0AADF9-7F6B-4704-9F8A-AA7EC954FA1F}"/>
                </a:ext>
              </a:extLst>
            </p:cNvPr>
            <p:cNvSpPr/>
            <p:nvPr/>
          </p:nvSpPr>
          <p:spPr>
            <a:xfrm>
              <a:off x="557703" y="2143752"/>
              <a:ext cx="774424" cy="258141"/>
            </a:xfrm>
            <a:custGeom>
              <a:avLst/>
              <a:gdLst>
                <a:gd name="connsiteX0" fmla="*/ 148431 w 774423"/>
                <a:gd name="connsiteY0" fmla="*/ 277502 h 258141"/>
                <a:gd name="connsiteX1" fmla="*/ 96803 w 774423"/>
                <a:gd name="connsiteY1" fmla="*/ 96803 h 258141"/>
                <a:gd name="connsiteX2" fmla="*/ 96803 w 774423"/>
                <a:gd name="connsiteY2" fmla="*/ 96803 h 258141"/>
                <a:gd name="connsiteX3" fmla="*/ 780877 w 774423"/>
                <a:gd name="connsiteY3" fmla="*/ 122617 h 258141"/>
                <a:gd name="connsiteX4" fmla="*/ 148431 w 774423"/>
                <a:gd name="connsiteY4" fmla="*/ 277502 h 258141"/>
                <a:gd name="connsiteX5" fmla="*/ 109710 w 774423"/>
                <a:gd name="connsiteY5" fmla="*/ 96803 h 258141"/>
                <a:gd name="connsiteX6" fmla="*/ 148431 w 774423"/>
                <a:gd name="connsiteY6" fmla="*/ 264595 h 258141"/>
                <a:gd name="connsiteX7" fmla="*/ 742156 w 774423"/>
                <a:gd name="connsiteY7" fmla="*/ 122617 h 258141"/>
                <a:gd name="connsiteX8" fmla="*/ 109710 w 774423"/>
                <a:gd name="connsiteY8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258141">
                  <a:moveTo>
                    <a:pt x="148431" y="277502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780877" y="122617"/>
                  </a:lnTo>
                  <a:lnTo>
                    <a:pt x="148431" y="277502"/>
                  </a:lnTo>
                  <a:close/>
                  <a:moveTo>
                    <a:pt x="109710" y="96803"/>
                  </a:moveTo>
                  <a:lnTo>
                    <a:pt x="148431" y="264595"/>
                  </a:lnTo>
                  <a:lnTo>
                    <a:pt x="742156" y="122617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3" name="Freeform: Shape 2612">
              <a:extLst>
                <a:ext uri="{FF2B5EF4-FFF2-40B4-BE49-F238E27FC236}">
                  <a16:creationId xmlns:a16="http://schemas.microsoft.com/office/drawing/2014/main" id="{19C507A0-7963-415E-8508-40D2BF047E66}"/>
                </a:ext>
              </a:extLst>
            </p:cNvPr>
            <p:cNvSpPr/>
            <p:nvPr/>
          </p:nvSpPr>
          <p:spPr>
            <a:xfrm>
              <a:off x="557703" y="1911425"/>
              <a:ext cx="774424" cy="387212"/>
            </a:xfrm>
            <a:custGeom>
              <a:avLst/>
              <a:gdLst>
                <a:gd name="connsiteX0" fmla="*/ 780877 w 774423"/>
                <a:gd name="connsiteY0" fmla="*/ 354944 h 387211"/>
                <a:gd name="connsiteX1" fmla="*/ 96803 w 774423"/>
                <a:gd name="connsiteY1" fmla="*/ 329130 h 387211"/>
                <a:gd name="connsiteX2" fmla="*/ 161338 w 774423"/>
                <a:gd name="connsiteY2" fmla="*/ 96803 h 387211"/>
                <a:gd name="connsiteX3" fmla="*/ 780877 w 774423"/>
                <a:gd name="connsiteY3" fmla="*/ 354944 h 387211"/>
                <a:gd name="connsiteX4" fmla="*/ 109710 w 774423"/>
                <a:gd name="connsiteY4" fmla="*/ 329130 h 387211"/>
                <a:gd name="connsiteX5" fmla="*/ 742156 w 774423"/>
                <a:gd name="connsiteY5" fmla="*/ 354944 h 387211"/>
                <a:gd name="connsiteX6" fmla="*/ 161338 w 774423"/>
                <a:gd name="connsiteY6" fmla="*/ 109710 h 387211"/>
                <a:gd name="connsiteX7" fmla="*/ 109710 w 774423"/>
                <a:gd name="connsiteY7" fmla="*/ 32913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387211">
                  <a:moveTo>
                    <a:pt x="780877" y="354944"/>
                  </a:moveTo>
                  <a:lnTo>
                    <a:pt x="96803" y="329130"/>
                  </a:lnTo>
                  <a:lnTo>
                    <a:pt x="161338" y="96803"/>
                  </a:lnTo>
                  <a:lnTo>
                    <a:pt x="780877" y="354944"/>
                  </a:lnTo>
                  <a:close/>
                  <a:moveTo>
                    <a:pt x="109710" y="329130"/>
                  </a:moveTo>
                  <a:lnTo>
                    <a:pt x="742156" y="354944"/>
                  </a:lnTo>
                  <a:lnTo>
                    <a:pt x="161338" y="109710"/>
                  </a:lnTo>
                  <a:lnTo>
                    <a:pt x="109710" y="3291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4" name="Freeform: Shape 2613">
              <a:extLst>
                <a:ext uri="{FF2B5EF4-FFF2-40B4-BE49-F238E27FC236}">
                  <a16:creationId xmlns:a16="http://schemas.microsoft.com/office/drawing/2014/main" id="{D947C738-AC4C-4F79-A005-BBE7E54AA6E6}"/>
                </a:ext>
              </a:extLst>
            </p:cNvPr>
            <p:cNvSpPr/>
            <p:nvPr/>
          </p:nvSpPr>
          <p:spPr>
            <a:xfrm>
              <a:off x="377004" y="1911425"/>
              <a:ext cx="387212" cy="387212"/>
            </a:xfrm>
            <a:custGeom>
              <a:avLst/>
              <a:gdLst>
                <a:gd name="connsiteX0" fmla="*/ 290409 w 387211"/>
                <a:gd name="connsiteY0" fmla="*/ 329130 h 387211"/>
                <a:gd name="connsiteX1" fmla="*/ 96803 w 387211"/>
                <a:gd name="connsiteY1" fmla="*/ 174245 h 387211"/>
                <a:gd name="connsiteX2" fmla="*/ 342037 w 387211"/>
                <a:gd name="connsiteY2" fmla="*/ 96803 h 387211"/>
                <a:gd name="connsiteX3" fmla="*/ 290409 w 387211"/>
                <a:gd name="connsiteY3" fmla="*/ 329130 h 387211"/>
                <a:gd name="connsiteX4" fmla="*/ 109710 w 387211"/>
                <a:gd name="connsiteY4" fmla="*/ 174245 h 387211"/>
                <a:gd name="connsiteX5" fmla="*/ 277502 w 387211"/>
                <a:gd name="connsiteY5" fmla="*/ 316223 h 387211"/>
                <a:gd name="connsiteX6" fmla="*/ 329130 w 387211"/>
                <a:gd name="connsiteY6" fmla="*/ 96803 h 387211"/>
                <a:gd name="connsiteX7" fmla="*/ 109710 w 387211"/>
                <a:gd name="connsiteY7" fmla="*/ 17424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90409" y="329130"/>
                  </a:moveTo>
                  <a:lnTo>
                    <a:pt x="96803" y="174245"/>
                  </a:lnTo>
                  <a:lnTo>
                    <a:pt x="342037" y="96803"/>
                  </a:lnTo>
                  <a:lnTo>
                    <a:pt x="290409" y="329130"/>
                  </a:lnTo>
                  <a:close/>
                  <a:moveTo>
                    <a:pt x="109710" y="174245"/>
                  </a:moveTo>
                  <a:lnTo>
                    <a:pt x="277502" y="316223"/>
                  </a:lnTo>
                  <a:lnTo>
                    <a:pt x="329130" y="96803"/>
                  </a:lnTo>
                  <a:lnTo>
                    <a:pt x="109710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5" name="Freeform: Shape 2614">
              <a:extLst>
                <a:ext uri="{FF2B5EF4-FFF2-40B4-BE49-F238E27FC236}">
                  <a16:creationId xmlns:a16="http://schemas.microsoft.com/office/drawing/2014/main" id="{2222F899-F662-4476-8F39-7FA4B974E4D9}"/>
                </a:ext>
              </a:extLst>
            </p:cNvPr>
            <p:cNvSpPr/>
            <p:nvPr/>
          </p:nvSpPr>
          <p:spPr>
            <a:xfrm>
              <a:off x="1177243" y="2156659"/>
              <a:ext cx="516283" cy="516283"/>
            </a:xfrm>
            <a:custGeom>
              <a:avLst/>
              <a:gdLst>
                <a:gd name="connsiteX0" fmla="*/ 471108 w 516282"/>
                <a:gd name="connsiteY0" fmla="*/ 458201 h 516282"/>
                <a:gd name="connsiteX1" fmla="*/ 96803 w 516282"/>
                <a:gd name="connsiteY1" fmla="*/ 406573 h 516282"/>
                <a:gd name="connsiteX2" fmla="*/ 135524 w 516282"/>
                <a:gd name="connsiteY2" fmla="*/ 96803 h 516282"/>
                <a:gd name="connsiteX3" fmla="*/ 471108 w 516282"/>
                <a:gd name="connsiteY3" fmla="*/ 458201 h 516282"/>
                <a:gd name="connsiteX4" fmla="*/ 109710 w 516282"/>
                <a:gd name="connsiteY4" fmla="*/ 406573 h 516282"/>
                <a:gd name="connsiteX5" fmla="*/ 458201 w 516282"/>
                <a:gd name="connsiteY5" fmla="*/ 458201 h 516282"/>
                <a:gd name="connsiteX6" fmla="*/ 148431 w 516282"/>
                <a:gd name="connsiteY6" fmla="*/ 122617 h 516282"/>
                <a:gd name="connsiteX7" fmla="*/ 109710 w 516282"/>
                <a:gd name="connsiteY7" fmla="*/ 40657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471108" y="458201"/>
                  </a:moveTo>
                  <a:lnTo>
                    <a:pt x="96803" y="406573"/>
                  </a:lnTo>
                  <a:lnTo>
                    <a:pt x="135524" y="96803"/>
                  </a:lnTo>
                  <a:lnTo>
                    <a:pt x="471108" y="458201"/>
                  </a:lnTo>
                  <a:close/>
                  <a:moveTo>
                    <a:pt x="109710" y="406573"/>
                  </a:moveTo>
                  <a:lnTo>
                    <a:pt x="458201" y="458201"/>
                  </a:lnTo>
                  <a:lnTo>
                    <a:pt x="148431" y="122617"/>
                  </a:lnTo>
                  <a:lnTo>
                    <a:pt x="109710" y="406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6" name="Freeform: Shape 2615">
              <a:extLst>
                <a:ext uri="{FF2B5EF4-FFF2-40B4-BE49-F238E27FC236}">
                  <a16:creationId xmlns:a16="http://schemas.microsoft.com/office/drawing/2014/main" id="{184F0D98-75FA-4641-A06D-0C7E2B619F4A}"/>
                </a:ext>
              </a:extLst>
            </p:cNvPr>
            <p:cNvSpPr/>
            <p:nvPr/>
          </p:nvSpPr>
          <p:spPr>
            <a:xfrm>
              <a:off x="1215964" y="2001775"/>
              <a:ext cx="645353" cy="645353"/>
            </a:xfrm>
            <a:custGeom>
              <a:avLst/>
              <a:gdLst>
                <a:gd name="connsiteX0" fmla="*/ 419480 w 645353"/>
                <a:gd name="connsiteY0" fmla="*/ 613086 h 645353"/>
                <a:gd name="connsiteX1" fmla="*/ 96803 w 645353"/>
                <a:gd name="connsiteY1" fmla="*/ 264595 h 645353"/>
                <a:gd name="connsiteX2" fmla="*/ 638900 w 645353"/>
                <a:gd name="connsiteY2" fmla="*/ 96803 h 645353"/>
                <a:gd name="connsiteX3" fmla="*/ 419480 w 645353"/>
                <a:gd name="connsiteY3" fmla="*/ 613086 h 645353"/>
                <a:gd name="connsiteX4" fmla="*/ 109710 w 645353"/>
                <a:gd name="connsiteY4" fmla="*/ 264595 h 645353"/>
                <a:gd name="connsiteX5" fmla="*/ 419480 w 645353"/>
                <a:gd name="connsiteY5" fmla="*/ 600179 h 645353"/>
                <a:gd name="connsiteX6" fmla="*/ 625993 w 645353"/>
                <a:gd name="connsiteY6" fmla="*/ 109710 h 645353"/>
                <a:gd name="connsiteX7" fmla="*/ 109710 w 645353"/>
                <a:gd name="connsiteY7" fmla="*/ 264595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419480" y="613086"/>
                  </a:moveTo>
                  <a:lnTo>
                    <a:pt x="96803" y="264595"/>
                  </a:lnTo>
                  <a:lnTo>
                    <a:pt x="638900" y="96803"/>
                  </a:lnTo>
                  <a:lnTo>
                    <a:pt x="419480" y="613086"/>
                  </a:lnTo>
                  <a:close/>
                  <a:moveTo>
                    <a:pt x="109710" y="264595"/>
                  </a:moveTo>
                  <a:lnTo>
                    <a:pt x="419480" y="600179"/>
                  </a:lnTo>
                  <a:lnTo>
                    <a:pt x="625993" y="109710"/>
                  </a:lnTo>
                  <a:lnTo>
                    <a:pt x="109710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7" name="Freeform: Shape 2616">
              <a:extLst>
                <a:ext uri="{FF2B5EF4-FFF2-40B4-BE49-F238E27FC236}">
                  <a16:creationId xmlns:a16="http://schemas.microsoft.com/office/drawing/2014/main" id="{2AA0CC27-E486-4911-A816-A410BB226BB8}"/>
                </a:ext>
              </a:extLst>
            </p:cNvPr>
            <p:cNvSpPr/>
            <p:nvPr/>
          </p:nvSpPr>
          <p:spPr>
            <a:xfrm>
              <a:off x="1538640" y="2001775"/>
              <a:ext cx="516283" cy="774424"/>
            </a:xfrm>
            <a:custGeom>
              <a:avLst/>
              <a:gdLst>
                <a:gd name="connsiteX0" fmla="*/ 419480 w 516282"/>
                <a:gd name="connsiteY0" fmla="*/ 690528 h 774423"/>
                <a:gd name="connsiteX1" fmla="*/ 96803 w 516282"/>
                <a:gd name="connsiteY1" fmla="*/ 613086 h 774423"/>
                <a:gd name="connsiteX2" fmla="*/ 316223 w 516282"/>
                <a:gd name="connsiteY2" fmla="*/ 96803 h 774423"/>
                <a:gd name="connsiteX3" fmla="*/ 419480 w 516282"/>
                <a:gd name="connsiteY3" fmla="*/ 690528 h 774423"/>
                <a:gd name="connsiteX4" fmla="*/ 109710 w 516282"/>
                <a:gd name="connsiteY4" fmla="*/ 600179 h 774423"/>
                <a:gd name="connsiteX5" fmla="*/ 419480 w 516282"/>
                <a:gd name="connsiteY5" fmla="*/ 677621 h 774423"/>
                <a:gd name="connsiteX6" fmla="*/ 329130 w 516282"/>
                <a:gd name="connsiteY6" fmla="*/ 109710 h 774423"/>
                <a:gd name="connsiteX7" fmla="*/ 109710 w 516282"/>
                <a:gd name="connsiteY7" fmla="*/ 600179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774423">
                  <a:moveTo>
                    <a:pt x="419480" y="690528"/>
                  </a:moveTo>
                  <a:lnTo>
                    <a:pt x="96803" y="613086"/>
                  </a:lnTo>
                  <a:lnTo>
                    <a:pt x="316223" y="96803"/>
                  </a:lnTo>
                  <a:lnTo>
                    <a:pt x="419480" y="690528"/>
                  </a:lnTo>
                  <a:close/>
                  <a:moveTo>
                    <a:pt x="109710" y="600179"/>
                  </a:moveTo>
                  <a:lnTo>
                    <a:pt x="419480" y="677621"/>
                  </a:lnTo>
                  <a:lnTo>
                    <a:pt x="329130" y="109710"/>
                  </a:lnTo>
                  <a:lnTo>
                    <a:pt x="109710" y="6001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8" name="Freeform: Shape 2617">
              <a:extLst>
                <a:ext uri="{FF2B5EF4-FFF2-40B4-BE49-F238E27FC236}">
                  <a16:creationId xmlns:a16="http://schemas.microsoft.com/office/drawing/2014/main" id="{44386798-50AD-4A0A-8815-99756EAFEAE4}"/>
                </a:ext>
              </a:extLst>
            </p:cNvPr>
            <p:cNvSpPr/>
            <p:nvPr/>
          </p:nvSpPr>
          <p:spPr>
            <a:xfrm>
              <a:off x="1525733" y="2492243"/>
              <a:ext cx="645353" cy="516283"/>
            </a:xfrm>
            <a:custGeom>
              <a:avLst/>
              <a:gdLst>
                <a:gd name="connsiteX0" fmla="*/ 651807 w 645353"/>
                <a:gd name="connsiteY0" fmla="*/ 432387 h 516282"/>
                <a:gd name="connsiteX1" fmla="*/ 96803 w 645353"/>
                <a:gd name="connsiteY1" fmla="*/ 96803 h 516282"/>
                <a:gd name="connsiteX2" fmla="*/ 432387 w 645353"/>
                <a:gd name="connsiteY2" fmla="*/ 187152 h 516282"/>
                <a:gd name="connsiteX3" fmla="*/ 651807 w 645353"/>
                <a:gd name="connsiteY3" fmla="*/ 432387 h 516282"/>
                <a:gd name="connsiteX4" fmla="*/ 135524 w 645353"/>
                <a:gd name="connsiteY4" fmla="*/ 122617 h 516282"/>
                <a:gd name="connsiteX5" fmla="*/ 613086 w 645353"/>
                <a:gd name="connsiteY5" fmla="*/ 406572 h 516282"/>
                <a:gd name="connsiteX6" fmla="*/ 419480 w 645353"/>
                <a:gd name="connsiteY6" fmla="*/ 200060 h 516282"/>
                <a:gd name="connsiteX7" fmla="*/ 135524 w 645353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651807" y="432387"/>
                  </a:moveTo>
                  <a:lnTo>
                    <a:pt x="96803" y="96803"/>
                  </a:lnTo>
                  <a:lnTo>
                    <a:pt x="432387" y="187152"/>
                  </a:lnTo>
                  <a:lnTo>
                    <a:pt x="651807" y="432387"/>
                  </a:lnTo>
                  <a:close/>
                  <a:moveTo>
                    <a:pt x="135524" y="122617"/>
                  </a:moveTo>
                  <a:lnTo>
                    <a:pt x="613086" y="406572"/>
                  </a:lnTo>
                  <a:lnTo>
                    <a:pt x="419480" y="200060"/>
                  </a:lnTo>
                  <a:lnTo>
                    <a:pt x="135524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9" name="Freeform: Shape 2618">
              <a:extLst>
                <a:ext uri="{FF2B5EF4-FFF2-40B4-BE49-F238E27FC236}">
                  <a16:creationId xmlns:a16="http://schemas.microsoft.com/office/drawing/2014/main" id="{31CDC8EA-ED84-4BF8-81B0-5B6DE5E099F4}"/>
                </a:ext>
              </a:extLst>
            </p:cNvPr>
            <p:cNvSpPr/>
            <p:nvPr/>
          </p:nvSpPr>
          <p:spPr>
            <a:xfrm>
              <a:off x="2196901" y="3008526"/>
              <a:ext cx="387212" cy="645353"/>
            </a:xfrm>
            <a:custGeom>
              <a:avLst/>
              <a:gdLst>
                <a:gd name="connsiteX0" fmla="*/ 290409 w 387211"/>
                <a:gd name="connsiteY0" fmla="*/ 561457 h 645353"/>
                <a:gd name="connsiteX1" fmla="*/ 96803 w 387211"/>
                <a:gd name="connsiteY1" fmla="*/ 96803 h 645353"/>
                <a:gd name="connsiteX2" fmla="*/ 342037 w 387211"/>
                <a:gd name="connsiteY2" fmla="*/ 251688 h 645353"/>
                <a:gd name="connsiteX3" fmla="*/ 342037 w 387211"/>
                <a:gd name="connsiteY3" fmla="*/ 251688 h 645353"/>
                <a:gd name="connsiteX4" fmla="*/ 290409 w 387211"/>
                <a:gd name="connsiteY4" fmla="*/ 561457 h 645353"/>
                <a:gd name="connsiteX5" fmla="*/ 109710 w 387211"/>
                <a:gd name="connsiteY5" fmla="*/ 109710 h 645353"/>
                <a:gd name="connsiteX6" fmla="*/ 290409 w 387211"/>
                <a:gd name="connsiteY6" fmla="*/ 535643 h 645353"/>
                <a:gd name="connsiteX7" fmla="*/ 342037 w 387211"/>
                <a:gd name="connsiteY7" fmla="*/ 251688 h 645353"/>
                <a:gd name="connsiteX8" fmla="*/ 109710 w 387211"/>
                <a:gd name="connsiteY8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645353">
                  <a:moveTo>
                    <a:pt x="290409" y="561457"/>
                  </a:moveTo>
                  <a:lnTo>
                    <a:pt x="96803" y="96803"/>
                  </a:lnTo>
                  <a:lnTo>
                    <a:pt x="342037" y="251688"/>
                  </a:lnTo>
                  <a:lnTo>
                    <a:pt x="342037" y="251688"/>
                  </a:lnTo>
                  <a:lnTo>
                    <a:pt x="290409" y="561457"/>
                  </a:lnTo>
                  <a:close/>
                  <a:moveTo>
                    <a:pt x="109710" y="109710"/>
                  </a:moveTo>
                  <a:lnTo>
                    <a:pt x="290409" y="535643"/>
                  </a:lnTo>
                  <a:lnTo>
                    <a:pt x="342037" y="251688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0" name="Freeform: Shape 2619">
              <a:extLst>
                <a:ext uri="{FF2B5EF4-FFF2-40B4-BE49-F238E27FC236}">
                  <a16:creationId xmlns:a16="http://schemas.microsoft.com/office/drawing/2014/main" id="{37D9BBC0-3532-4721-87D4-E88608C7961C}"/>
                </a:ext>
              </a:extLst>
            </p:cNvPr>
            <p:cNvSpPr/>
            <p:nvPr/>
          </p:nvSpPr>
          <p:spPr>
            <a:xfrm>
              <a:off x="2558298" y="4002370"/>
              <a:ext cx="387212" cy="387212"/>
            </a:xfrm>
            <a:custGeom>
              <a:avLst/>
              <a:gdLst>
                <a:gd name="connsiteX0" fmla="*/ 303316 w 387211"/>
                <a:gd name="connsiteY0" fmla="*/ 367851 h 387211"/>
                <a:gd name="connsiteX1" fmla="*/ 96803 w 387211"/>
                <a:gd name="connsiteY1" fmla="*/ 96803 h 387211"/>
                <a:gd name="connsiteX2" fmla="*/ 342037 w 387211"/>
                <a:gd name="connsiteY2" fmla="*/ 251688 h 387211"/>
                <a:gd name="connsiteX3" fmla="*/ 303316 w 387211"/>
                <a:gd name="connsiteY3" fmla="*/ 367851 h 387211"/>
                <a:gd name="connsiteX4" fmla="*/ 122617 w 387211"/>
                <a:gd name="connsiteY4" fmla="*/ 109710 h 387211"/>
                <a:gd name="connsiteX5" fmla="*/ 303316 w 387211"/>
                <a:gd name="connsiteY5" fmla="*/ 354944 h 387211"/>
                <a:gd name="connsiteX6" fmla="*/ 342037 w 387211"/>
                <a:gd name="connsiteY6" fmla="*/ 251688 h 387211"/>
                <a:gd name="connsiteX7" fmla="*/ 122617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03316" y="367851"/>
                  </a:moveTo>
                  <a:lnTo>
                    <a:pt x="96803" y="96803"/>
                  </a:lnTo>
                  <a:lnTo>
                    <a:pt x="342037" y="251688"/>
                  </a:lnTo>
                  <a:lnTo>
                    <a:pt x="303316" y="367851"/>
                  </a:lnTo>
                  <a:close/>
                  <a:moveTo>
                    <a:pt x="122617" y="109710"/>
                  </a:moveTo>
                  <a:lnTo>
                    <a:pt x="303316" y="354944"/>
                  </a:lnTo>
                  <a:lnTo>
                    <a:pt x="342037" y="251688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1" name="Freeform: Shape 2620">
              <a:extLst>
                <a:ext uri="{FF2B5EF4-FFF2-40B4-BE49-F238E27FC236}">
                  <a16:creationId xmlns:a16="http://schemas.microsoft.com/office/drawing/2014/main" id="{4E78BAF5-9F23-413A-9F0A-99F3819BC134}"/>
                </a:ext>
              </a:extLst>
            </p:cNvPr>
            <p:cNvSpPr/>
            <p:nvPr/>
          </p:nvSpPr>
          <p:spPr>
            <a:xfrm>
              <a:off x="2764812" y="4131440"/>
              <a:ext cx="387212" cy="387212"/>
            </a:xfrm>
            <a:custGeom>
              <a:avLst/>
              <a:gdLst>
                <a:gd name="connsiteX0" fmla="*/ 316223 w 387211"/>
                <a:gd name="connsiteY0" fmla="*/ 303316 h 387211"/>
                <a:gd name="connsiteX1" fmla="*/ 96803 w 387211"/>
                <a:gd name="connsiteY1" fmla="*/ 225874 h 387211"/>
                <a:gd name="connsiteX2" fmla="*/ 135524 w 387211"/>
                <a:gd name="connsiteY2" fmla="*/ 96803 h 387211"/>
                <a:gd name="connsiteX3" fmla="*/ 316223 w 387211"/>
                <a:gd name="connsiteY3" fmla="*/ 303316 h 387211"/>
                <a:gd name="connsiteX4" fmla="*/ 96803 w 387211"/>
                <a:gd name="connsiteY4" fmla="*/ 225874 h 387211"/>
                <a:gd name="connsiteX5" fmla="*/ 290409 w 387211"/>
                <a:gd name="connsiteY5" fmla="*/ 290409 h 387211"/>
                <a:gd name="connsiteX6" fmla="*/ 135524 w 387211"/>
                <a:gd name="connsiteY6" fmla="*/ 109710 h 387211"/>
                <a:gd name="connsiteX7" fmla="*/ 96803 w 387211"/>
                <a:gd name="connsiteY7" fmla="*/ 22587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16223" y="303316"/>
                  </a:moveTo>
                  <a:lnTo>
                    <a:pt x="96803" y="225874"/>
                  </a:lnTo>
                  <a:lnTo>
                    <a:pt x="135524" y="96803"/>
                  </a:lnTo>
                  <a:lnTo>
                    <a:pt x="316223" y="303316"/>
                  </a:lnTo>
                  <a:close/>
                  <a:moveTo>
                    <a:pt x="96803" y="225874"/>
                  </a:moveTo>
                  <a:lnTo>
                    <a:pt x="290409" y="290409"/>
                  </a:lnTo>
                  <a:lnTo>
                    <a:pt x="135524" y="109710"/>
                  </a:lnTo>
                  <a:lnTo>
                    <a:pt x="96803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2" name="Freeform: Shape 2621">
              <a:extLst>
                <a:ext uri="{FF2B5EF4-FFF2-40B4-BE49-F238E27FC236}">
                  <a16:creationId xmlns:a16="http://schemas.microsoft.com/office/drawing/2014/main" id="{E1612F6E-F467-46BF-8BBC-9A137750912E}"/>
                </a:ext>
              </a:extLst>
            </p:cNvPr>
            <p:cNvSpPr/>
            <p:nvPr/>
          </p:nvSpPr>
          <p:spPr>
            <a:xfrm>
              <a:off x="2751904" y="4260511"/>
              <a:ext cx="387212" cy="645353"/>
            </a:xfrm>
            <a:custGeom>
              <a:avLst/>
              <a:gdLst>
                <a:gd name="connsiteX0" fmla="*/ 406573 w 387211"/>
                <a:gd name="connsiteY0" fmla="*/ 561457 h 645353"/>
                <a:gd name="connsiteX1" fmla="*/ 96803 w 387211"/>
                <a:gd name="connsiteY1" fmla="*/ 96803 h 645353"/>
                <a:gd name="connsiteX2" fmla="*/ 316223 w 387211"/>
                <a:gd name="connsiteY2" fmla="*/ 174245 h 645353"/>
                <a:gd name="connsiteX3" fmla="*/ 406573 w 387211"/>
                <a:gd name="connsiteY3" fmla="*/ 561457 h 645353"/>
                <a:gd name="connsiteX4" fmla="*/ 122617 w 387211"/>
                <a:gd name="connsiteY4" fmla="*/ 109710 h 645353"/>
                <a:gd name="connsiteX5" fmla="*/ 406573 w 387211"/>
                <a:gd name="connsiteY5" fmla="*/ 522736 h 645353"/>
                <a:gd name="connsiteX6" fmla="*/ 316223 w 387211"/>
                <a:gd name="connsiteY6" fmla="*/ 174245 h 645353"/>
                <a:gd name="connsiteX7" fmla="*/ 122617 w 387211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406573" y="561457"/>
                  </a:moveTo>
                  <a:lnTo>
                    <a:pt x="96803" y="96803"/>
                  </a:lnTo>
                  <a:lnTo>
                    <a:pt x="316223" y="174245"/>
                  </a:lnTo>
                  <a:lnTo>
                    <a:pt x="406573" y="561457"/>
                  </a:lnTo>
                  <a:close/>
                  <a:moveTo>
                    <a:pt x="122617" y="109710"/>
                  </a:moveTo>
                  <a:lnTo>
                    <a:pt x="406573" y="522736"/>
                  </a:lnTo>
                  <a:lnTo>
                    <a:pt x="316223" y="174245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3" name="Freeform: Shape 2622">
              <a:extLst>
                <a:ext uri="{FF2B5EF4-FFF2-40B4-BE49-F238E27FC236}">
                  <a16:creationId xmlns:a16="http://schemas.microsoft.com/office/drawing/2014/main" id="{A87D5276-0684-44C0-8A1F-271ACCAFFEAD}"/>
                </a:ext>
              </a:extLst>
            </p:cNvPr>
            <p:cNvSpPr/>
            <p:nvPr/>
          </p:nvSpPr>
          <p:spPr>
            <a:xfrm>
              <a:off x="3268187" y="4699351"/>
              <a:ext cx="387212" cy="516283"/>
            </a:xfrm>
            <a:custGeom>
              <a:avLst/>
              <a:gdLst>
                <a:gd name="connsiteX0" fmla="*/ 303316 w 387211"/>
                <a:gd name="connsiteY0" fmla="*/ 432387 h 516282"/>
                <a:gd name="connsiteX1" fmla="*/ 109710 w 387211"/>
                <a:gd name="connsiteY1" fmla="*/ 316223 h 516282"/>
                <a:gd name="connsiteX2" fmla="*/ 96803 w 387211"/>
                <a:gd name="connsiteY2" fmla="*/ 96803 h 516282"/>
                <a:gd name="connsiteX3" fmla="*/ 303316 w 387211"/>
                <a:gd name="connsiteY3" fmla="*/ 432387 h 516282"/>
                <a:gd name="connsiteX4" fmla="*/ 109710 w 387211"/>
                <a:gd name="connsiteY4" fmla="*/ 316223 h 516282"/>
                <a:gd name="connsiteX5" fmla="*/ 290409 w 387211"/>
                <a:gd name="connsiteY5" fmla="*/ 419480 h 516282"/>
                <a:gd name="connsiteX6" fmla="*/ 109710 w 387211"/>
                <a:gd name="connsiteY6" fmla="*/ 135524 h 516282"/>
                <a:gd name="connsiteX7" fmla="*/ 109710 w 387211"/>
                <a:gd name="connsiteY7" fmla="*/ 31622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03316" y="432387"/>
                  </a:moveTo>
                  <a:lnTo>
                    <a:pt x="109710" y="316223"/>
                  </a:lnTo>
                  <a:lnTo>
                    <a:pt x="96803" y="96803"/>
                  </a:lnTo>
                  <a:lnTo>
                    <a:pt x="303316" y="432387"/>
                  </a:lnTo>
                  <a:close/>
                  <a:moveTo>
                    <a:pt x="109710" y="316223"/>
                  </a:moveTo>
                  <a:lnTo>
                    <a:pt x="290409" y="419480"/>
                  </a:lnTo>
                  <a:lnTo>
                    <a:pt x="109710" y="135524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4" name="Freeform: Shape 2623">
              <a:extLst>
                <a:ext uri="{FF2B5EF4-FFF2-40B4-BE49-F238E27FC236}">
                  <a16:creationId xmlns:a16="http://schemas.microsoft.com/office/drawing/2014/main" id="{EF44AC7C-9DB2-451F-94A9-E23A2CDE0C17}"/>
                </a:ext>
              </a:extLst>
            </p:cNvPr>
            <p:cNvSpPr/>
            <p:nvPr/>
          </p:nvSpPr>
          <p:spPr>
            <a:xfrm>
              <a:off x="3732841" y="4931678"/>
              <a:ext cx="387212" cy="387212"/>
            </a:xfrm>
            <a:custGeom>
              <a:avLst/>
              <a:gdLst>
                <a:gd name="connsiteX0" fmla="*/ 290409 w 387211"/>
                <a:gd name="connsiteY0" fmla="*/ 406572 h 387211"/>
                <a:gd name="connsiteX1" fmla="*/ 96803 w 387211"/>
                <a:gd name="connsiteY1" fmla="*/ 251688 h 387211"/>
                <a:gd name="connsiteX2" fmla="*/ 342037 w 387211"/>
                <a:gd name="connsiteY2" fmla="*/ 96803 h 387211"/>
                <a:gd name="connsiteX3" fmla="*/ 290409 w 387211"/>
                <a:gd name="connsiteY3" fmla="*/ 406572 h 387211"/>
                <a:gd name="connsiteX4" fmla="*/ 109710 w 387211"/>
                <a:gd name="connsiteY4" fmla="*/ 251688 h 387211"/>
                <a:gd name="connsiteX5" fmla="*/ 290409 w 387211"/>
                <a:gd name="connsiteY5" fmla="*/ 393666 h 387211"/>
                <a:gd name="connsiteX6" fmla="*/ 329130 w 387211"/>
                <a:gd name="connsiteY6" fmla="*/ 109710 h 387211"/>
                <a:gd name="connsiteX7" fmla="*/ 109710 w 387211"/>
                <a:gd name="connsiteY7" fmla="*/ 25168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90409" y="406572"/>
                  </a:moveTo>
                  <a:lnTo>
                    <a:pt x="96803" y="251688"/>
                  </a:lnTo>
                  <a:lnTo>
                    <a:pt x="342037" y="96803"/>
                  </a:lnTo>
                  <a:lnTo>
                    <a:pt x="290409" y="406572"/>
                  </a:lnTo>
                  <a:close/>
                  <a:moveTo>
                    <a:pt x="109710" y="251688"/>
                  </a:moveTo>
                  <a:lnTo>
                    <a:pt x="290409" y="393666"/>
                  </a:lnTo>
                  <a:lnTo>
                    <a:pt x="329130" y="109710"/>
                  </a:lnTo>
                  <a:lnTo>
                    <a:pt x="109710" y="2516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5" name="Freeform: Shape 2624">
              <a:extLst>
                <a:ext uri="{FF2B5EF4-FFF2-40B4-BE49-F238E27FC236}">
                  <a16:creationId xmlns:a16="http://schemas.microsoft.com/office/drawing/2014/main" id="{E37FDAE3-9611-4D66-9BAC-0EE907421712}"/>
                </a:ext>
              </a:extLst>
            </p:cNvPr>
            <p:cNvSpPr/>
            <p:nvPr/>
          </p:nvSpPr>
          <p:spPr>
            <a:xfrm>
              <a:off x="4171682" y="5422147"/>
              <a:ext cx="387212" cy="387212"/>
            </a:xfrm>
            <a:custGeom>
              <a:avLst/>
              <a:gdLst>
                <a:gd name="connsiteX0" fmla="*/ 354944 w 387211"/>
                <a:gd name="connsiteY0" fmla="*/ 290409 h 387211"/>
                <a:gd name="connsiteX1" fmla="*/ 96803 w 387211"/>
                <a:gd name="connsiteY1" fmla="*/ 96803 h 387211"/>
                <a:gd name="connsiteX2" fmla="*/ 316223 w 387211"/>
                <a:gd name="connsiteY2" fmla="*/ 187153 h 387211"/>
                <a:gd name="connsiteX3" fmla="*/ 354944 w 387211"/>
                <a:gd name="connsiteY3" fmla="*/ 290409 h 387211"/>
                <a:gd name="connsiteX4" fmla="*/ 135524 w 387211"/>
                <a:gd name="connsiteY4" fmla="*/ 122617 h 387211"/>
                <a:gd name="connsiteX5" fmla="*/ 342037 w 387211"/>
                <a:gd name="connsiteY5" fmla="*/ 277502 h 387211"/>
                <a:gd name="connsiteX6" fmla="*/ 316223 w 387211"/>
                <a:gd name="connsiteY6" fmla="*/ 200059 h 387211"/>
                <a:gd name="connsiteX7" fmla="*/ 135524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54944" y="290409"/>
                  </a:moveTo>
                  <a:lnTo>
                    <a:pt x="96803" y="96803"/>
                  </a:lnTo>
                  <a:lnTo>
                    <a:pt x="316223" y="187153"/>
                  </a:lnTo>
                  <a:lnTo>
                    <a:pt x="354944" y="290409"/>
                  </a:lnTo>
                  <a:close/>
                  <a:moveTo>
                    <a:pt x="135524" y="122617"/>
                  </a:moveTo>
                  <a:lnTo>
                    <a:pt x="342037" y="277502"/>
                  </a:lnTo>
                  <a:lnTo>
                    <a:pt x="316223" y="200059"/>
                  </a:lnTo>
                  <a:lnTo>
                    <a:pt x="135524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6" name="Freeform: Shape 2625">
              <a:extLst>
                <a:ext uri="{FF2B5EF4-FFF2-40B4-BE49-F238E27FC236}">
                  <a16:creationId xmlns:a16="http://schemas.microsoft.com/office/drawing/2014/main" id="{92C6D518-1CA5-402E-93B2-181AB51BD2B1}"/>
                </a:ext>
              </a:extLst>
            </p:cNvPr>
            <p:cNvSpPr/>
            <p:nvPr/>
          </p:nvSpPr>
          <p:spPr>
            <a:xfrm>
              <a:off x="4378195" y="5473775"/>
              <a:ext cx="258141" cy="258141"/>
            </a:xfrm>
            <a:custGeom>
              <a:avLst/>
              <a:gdLst>
                <a:gd name="connsiteX0" fmla="*/ 135524 w 258141"/>
                <a:gd name="connsiteY0" fmla="*/ 238781 h 258141"/>
                <a:gd name="connsiteX1" fmla="*/ 96803 w 258141"/>
                <a:gd name="connsiteY1" fmla="*/ 135525 h 258141"/>
                <a:gd name="connsiteX2" fmla="*/ 238781 w 258141"/>
                <a:gd name="connsiteY2" fmla="*/ 96803 h 258141"/>
                <a:gd name="connsiteX3" fmla="*/ 135524 w 258141"/>
                <a:gd name="connsiteY3" fmla="*/ 238781 h 258141"/>
                <a:gd name="connsiteX4" fmla="*/ 109710 w 258141"/>
                <a:gd name="connsiteY4" fmla="*/ 135525 h 258141"/>
                <a:gd name="connsiteX5" fmla="*/ 135524 w 258141"/>
                <a:gd name="connsiteY5" fmla="*/ 225874 h 258141"/>
                <a:gd name="connsiteX6" fmla="*/ 225874 w 258141"/>
                <a:gd name="connsiteY6" fmla="*/ 109710 h 258141"/>
                <a:gd name="connsiteX7" fmla="*/ 109710 w 258141"/>
                <a:gd name="connsiteY7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35524" y="238781"/>
                  </a:moveTo>
                  <a:lnTo>
                    <a:pt x="96803" y="135525"/>
                  </a:lnTo>
                  <a:lnTo>
                    <a:pt x="238781" y="96803"/>
                  </a:lnTo>
                  <a:lnTo>
                    <a:pt x="135524" y="238781"/>
                  </a:lnTo>
                  <a:close/>
                  <a:moveTo>
                    <a:pt x="109710" y="135525"/>
                  </a:moveTo>
                  <a:lnTo>
                    <a:pt x="135524" y="225874"/>
                  </a:lnTo>
                  <a:lnTo>
                    <a:pt x="225874" y="109710"/>
                  </a:lnTo>
                  <a:lnTo>
                    <a:pt x="109710" y="1355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7" name="Freeform: Shape 2626">
              <a:extLst>
                <a:ext uri="{FF2B5EF4-FFF2-40B4-BE49-F238E27FC236}">
                  <a16:creationId xmlns:a16="http://schemas.microsoft.com/office/drawing/2014/main" id="{6D6EAA2F-EB5B-420A-B572-B24419F4C59B}"/>
                </a:ext>
              </a:extLst>
            </p:cNvPr>
            <p:cNvSpPr/>
            <p:nvPr/>
          </p:nvSpPr>
          <p:spPr>
            <a:xfrm>
              <a:off x="4042611" y="5241448"/>
              <a:ext cx="387212" cy="387212"/>
            </a:xfrm>
            <a:custGeom>
              <a:avLst/>
              <a:gdLst>
                <a:gd name="connsiteX0" fmla="*/ 251688 w 387211"/>
                <a:gd name="connsiteY0" fmla="*/ 303316 h 387211"/>
                <a:gd name="connsiteX1" fmla="*/ 251688 w 387211"/>
                <a:gd name="connsiteY1" fmla="*/ 303316 h 387211"/>
                <a:gd name="connsiteX2" fmla="*/ 96803 w 387211"/>
                <a:gd name="connsiteY2" fmla="*/ 96803 h 387211"/>
                <a:gd name="connsiteX3" fmla="*/ 316223 w 387211"/>
                <a:gd name="connsiteY3" fmla="*/ 238781 h 387211"/>
                <a:gd name="connsiteX4" fmla="*/ 251688 w 387211"/>
                <a:gd name="connsiteY4" fmla="*/ 303316 h 387211"/>
                <a:gd name="connsiteX5" fmla="*/ 122617 w 387211"/>
                <a:gd name="connsiteY5" fmla="*/ 122617 h 387211"/>
                <a:gd name="connsiteX6" fmla="*/ 251688 w 387211"/>
                <a:gd name="connsiteY6" fmla="*/ 290409 h 387211"/>
                <a:gd name="connsiteX7" fmla="*/ 303316 w 387211"/>
                <a:gd name="connsiteY7" fmla="*/ 238781 h 387211"/>
                <a:gd name="connsiteX8" fmla="*/ 122617 w 387211"/>
                <a:gd name="connsiteY8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251688" y="303316"/>
                  </a:moveTo>
                  <a:lnTo>
                    <a:pt x="251688" y="303316"/>
                  </a:lnTo>
                  <a:lnTo>
                    <a:pt x="96803" y="96803"/>
                  </a:lnTo>
                  <a:lnTo>
                    <a:pt x="316223" y="238781"/>
                  </a:lnTo>
                  <a:lnTo>
                    <a:pt x="251688" y="303316"/>
                  </a:lnTo>
                  <a:close/>
                  <a:moveTo>
                    <a:pt x="122617" y="122617"/>
                  </a:moveTo>
                  <a:lnTo>
                    <a:pt x="251688" y="290409"/>
                  </a:lnTo>
                  <a:lnTo>
                    <a:pt x="303316" y="238781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8" name="Freeform: Shape 2627">
              <a:extLst>
                <a:ext uri="{FF2B5EF4-FFF2-40B4-BE49-F238E27FC236}">
                  <a16:creationId xmlns:a16="http://schemas.microsoft.com/office/drawing/2014/main" id="{0EC5DA63-7DB0-4BA4-B042-F9DE8A560A46}"/>
                </a:ext>
              </a:extLst>
            </p:cNvPr>
            <p:cNvSpPr/>
            <p:nvPr/>
          </p:nvSpPr>
          <p:spPr>
            <a:xfrm>
              <a:off x="4184589" y="5370518"/>
              <a:ext cx="387212" cy="258141"/>
            </a:xfrm>
            <a:custGeom>
              <a:avLst/>
              <a:gdLst>
                <a:gd name="connsiteX0" fmla="*/ 316223 w 387211"/>
                <a:gd name="connsiteY0" fmla="*/ 251688 h 258141"/>
                <a:gd name="connsiteX1" fmla="*/ 96803 w 387211"/>
                <a:gd name="connsiteY1" fmla="*/ 161338 h 258141"/>
                <a:gd name="connsiteX2" fmla="*/ 161338 w 387211"/>
                <a:gd name="connsiteY2" fmla="*/ 96803 h 258141"/>
                <a:gd name="connsiteX3" fmla="*/ 316223 w 387211"/>
                <a:gd name="connsiteY3" fmla="*/ 251688 h 258141"/>
                <a:gd name="connsiteX4" fmla="*/ 109710 w 387211"/>
                <a:gd name="connsiteY4" fmla="*/ 161338 h 258141"/>
                <a:gd name="connsiteX5" fmla="*/ 290409 w 387211"/>
                <a:gd name="connsiteY5" fmla="*/ 225874 h 258141"/>
                <a:gd name="connsiteX6" fmla="*/ 174245 w 387211"/>
                <a:gd name="connsiteY6" fmla="*/ 109710 h 258141"/>
                <a:gd name="connsiteX7" fmla="*/ 109710 w 387211"/>
                <a:gd name="connsiteY7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16223" y="251688"/>
                  </a:moveTo>
                  <a:lnTo>
                    <a:pt x="96803" y="161338"/>
                  </a:lnTo>
                  <a:lnTo>
                    <a:pt x="161338" y="96803"/>
                  </a:lnTo>
                  <a:lnTo>
                    <a:pt x="316223" y="251688"/>
                  </a:lnTo>
                  <a:close/>
                  <a:moveTo>
                    <a:pt x="109710" y="161338"/>
                  </a:moveTo>
                  <a:lnTo>
                    <a:pt x="290409" y="225874"/>
                  </a:lnTo>
                  <a:lnTo>
                    <a:pt x="174245" y="109710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9" name="Freeform: Shape 2628">
              <a:extLst>
                <a:ext uri="{FF2B5EF4-FFF2-40B4-BE49-F238E27FC236}">
                  <a16:creationId xmlns:a16="http://schemas.microsoft.com/office/drawing/2014/main" id="{9411A538-9483-40EF-88F8-9A02943C8868}"/>
                </a:ext>
              </a:extLst>
            </p:cNvPr>
            <p:cNvSpPr/>
            <p:nvPr/>
          </p:nvSpPr>
          <p:spPr>
            <a:xfrm>
              <a:off x="4042611" y="5164005"/>
              <a:ext cx="387212" cy="387212"/>
            </a:xfrm>
            <a:custGeom>
              <a:avLst/>
              <a:gdLst>
                <a:gd name="connsiteX0" fmla="*/ 303316 w 387211"/>
                <a:gd name="connsiteY0" fmla="*/ 316223 h 387211"/>
                <a:gd name="connsiteX1" fmla="*/ 96803 w 387211"/>
                <a:gd name="connsiteY1" fmla="*/ 174245 h 387211"/>
                <a:gd name="connsiteX2" fmla="*/ 354944 w 387211"/>
                <a:gd name="connsiteY2" fmla="*/ 96803 h 387211"/>
                <a:gd name="connsiteX3" fmla="*/ 303316 w 387211"/>
                <a:gd name="connsiteY3" fmla="*/ 316223 h 387211"/>
                <a:gd name="connsiteX4" fmla="*/ 109710 w 387211"/>
                <a:gd name="connsiteY4" fmla="*/ 187153 h 387211"/>
                <a:gd name="connsiteX5" fmla="*/ 303316 w 387211"/>
                <a:gd name="connsiteY5" fmla="*/ 316223 h 387211"/>
                <a:gd name="connsiteX6" fmla="*/ 354944 w 387211"/>
                <a:gd name="connsiteY6" fmla="*/ 109710 h 387211"/>
                <a:gd name="connsiteX7" fmla="*/ 109710 w 387211"/>
                <a:gd name="connsiteY7" fmla="*/ 18715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03316" y="316223"/>
                  </a:moveTo>
                  <a:lnTo>
                    <a:pt x="96803" y="174245"/>
                  </a:lnTo>
                  <a:lnTo>
                    <a:pt x="354944" y="96803"/>
                  </a:lnTo>
                  <a:lnTo>
                    <a:pt x="303316" y="316223"/>
                  </a:lnTo>
                  <a:close/>
                  <a:moveTo>
                    <a:pt x="109710" y="187153"/>
                  </a:moveTo>
                  <a:lnTo>
                    <a:pt x="303316" y="316223"/>
                  </a:lnTo>
                  <a:lnTo>
                    <a:pt x="354944" y="109710"/>
                  </a:lnTo>
                  <a:lnTo>
                    <a:pt x="109710" y="1871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0" name="Freeform: Shape 2629">
              <a:extLst>
                <a:ext uri="{FF2B5EF4-FFF2-40B4-BE49-F238E27FC236}">
                  <a16:creationId xmlns:a16="http://schemas.microsoft.com/office/drawing/2014/main" id="{566CFA40-9529-45C8-B6E8-4BB59EFF8F4F}"/>
                </a:ext>
              </a:extLst>
            </p:cNvPr>
            <p:cNvSpPr/>
            <p:nvPr/>
          </p:nvSpPr>
          <p:spPr>
            <a:xfrm>
              <a:off x="3926447" y="4931678"/>
              <a:ext cx="387212" cy="387212"/>
            </a:xfrm>
            <a:custGeom>
              <a:avLst/>
              <a:gdLst>
                <a:gd name="connsiteX0" fmla="*/ 96803 w 387211"/>
                <a:gd name="connsiteY0" fmla="*/ 406572 h 387211"/>
                <a:gd name="connsiteX1" fmla="*/ 135524 w 387211"/>
                <a:gd name="connsiteY1" fmla="*/ 96803 h 387211"/>
                <a:gd name="connsiteX2" fmla="*/ 329130 w 387211"/>
                <a:gd name="connsiteY2" fmla="*/ 290409 h 387211"/>
                <a:gd name="connsiteX3" fmla="*/ 96803 w 387211"/>
                <a:gd name="connsiteY3" fmla="*/ 406572 h 387211"/>
                <a:gd name="connsiteX4" fmla="*/ 135524 w 387211"/>
                <a:gd name="connsiteY4" fmla="*/ 109710 h 387211"/>
                <a:gd name="connsiteX5" fmla="*/ 96803 w 387211"/>
                <a:gd name="connsiteY5" fmla="*/ 393666 h 387211"/>
                <a:gd name="connsiteX6" fmla="*/ 316223 w 387211"/>
                <a:gd name="connsiteY6" fmla="*/ 290409 h 387211"/>
                <a:gd name="connsiteX7" fmla="*/ 135524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406572"/>
                  </a:moveTo>
                  <a:lnTo>
                    <a:pt x="135524" y="96803"/>
                  </a:lnTo>
                  <a:lnTo>
                    <a:pt x="329130" y="290409"/>
                  </a:lnTo>
                  <a:lnTo>
                    <a:pt x="96803" y="406572"/>
                  </a:lnTo>
                  <a:close/>
                  <a:moveTo>
                    <a:pt x="135524" y="109710"/>
                  </a:moveTo>
                  <a:lnTo>
                    <a:pt x="96803" y="393666"/>
                  </a:lnTo>
                  <a:lnTo>
                    <a:pt x="316223" y="290409"/>
                  </a:lnTo>
                  <a:lnTo>
                    <a:pt x="13552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1" name="Freeform: Shape 2630">
              <a:extLst>
                <a:ext uri="{FF2B5EF4-FFF2-40B4-BE49-F238E27FC236}">
                  <a16:creationId xmlns:a16="http://schemas.microsoft.com/office/drawing/2014/main" id="{992EAB59-AD94-4276-98D9-C4AF44D4DCEE}"/>
                </a:ext>
              </a:extLst>
            </p:cNvPr>
            <p:cNvSpPr/>
            <p:nvPr/>
          </p:nvSpPr>
          <p:spPr>
            <a:xfrm>
              <a:off x="3913540" y="5112377"/>
              <a:ext cx="387212" cy="258141"/>
            </a:xfrm>
            <a:custGeom>
              <a:avLst/>
              <a:gdLst>
                <a:gd name="connsiteX0" fmla="*/ 238781 w 387211"/>
                <a:gd name="connsiteY0" fmla="*/ 238781 h 258141"/>
                <a:gd name="connsiteX1" fmla="*/ 238781 w 387211"/>
                <a:gd name="connsiteY1" fmla="*/ 238781 h 258141"/>
                <a:gd name="connsiteX2" fmla="*/ 96803 w 387211"/>
                <a:gd name="connsiteY2" fmla="*/ 225874 h 258141"/>
                <a:gd name="connsiteX3" fmla="*/ 342037 w 387211"/>
                <a:gd name="connsiteY3" fmla="*/ 96803 h 258141"/>
                <a:gd name="connsiteX4" fmla="*/ 238781 w 387211"/>
                <a:gd name="connsiteY4" fmla="*/ 238781 h 258141"/>
                <a:gd name="connsiteX5" fmla="*/ 122617 w 387211"/>
                <a:gd name="connsiteY5" fmla="*/ 212967 h 258141"/>
                <a:gd name="connsiteX6" fmla="*/ 238781 w 387211"/>
                <a:gd name="connsiteY6" fmla="*/ 225874 h 258141"/>
                <a:gd name="connsiteX7" fmla="*/ 329130 w 387211"/>
                <a:gd name="connsiteY7" fmla="*/ 109710 h 258141"/>
                <a:gd name="connsiteX8" fmla="*/ 122617 w 387211"/>
                <a:gd name="connsiteY8" fmla="*/ 21296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258141">
                  <a:moveTo>
                    <a:pt x="238781" y="238781"/>
                  </a:moveTo>
                  <a:lnTo>
                    <a:pt x="238781" y="238781"/>
                  </a:lnTo>
                  <a:lnTo>
                    <a:pt x="96803" y="225874"/>
                  </a:lnTo>
                  <a:lnTo>
                    <a:pt x="342037" y="96803"/>
                  </a:lnTo>
                  <a:lnTo>
                    <a:pt x="238781" y="238781"/>
                  </a:lnTo>
                  <a:close/>
                  <a:moveTo>
                    <a:pt x="122617" y="212967"/>
                  </a:moveTo>
                  <a:lnTo>
                    <a:pt x="238781" y="225874"/>
                  </a:lnTo>
                  <a:lnTo>
                    <a:pt x="329130" y="109710"/>
                  </a:lnTo>
                  <a:lnTo>
                    <a:pt x="122617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2" name="Freeform: Shape 2631">
              <a:extLst>
                <a:ext uri="{FF2B5EF4-FFF2-40B4-BE49-F238E27FC236}">
                  <a16:creationId xmlns:a16="http://schemas.microsoft.com/office/drawing/2014/main" id="{98A873A9-C922-4B92-9EE7-3821A9B1A193}"/>
                </a:ext>
              </a:extLst>
            </p:cNvPr>
            <p:cNvSpPr/>
            <p:nvPr/>
          </p:nvSpPr>
          <p:spPr>
            <a:xfrm>
              <a:off x="4042611" y="5112377"/>
              <a:ext cx="387212" cy="258141"/>
            </a:xfrm>
            <a:custGeom>
              <a:avLst/>
              <a:gdLst>
                <a:gd name="connsiteX0" fmla="*/ 96803 w 387211"/>
                <a:gd name="connsiteY0" fmla="*/ 238781 h 258141"/>
                <a:gd name="connsiteX1" fmla="*/ 200059 w 387211"/>
                <a:gd name="connsiteY1" fmla="*/ 96803 h 258141"/>
                <a:gd name="connsiteX2" fmla="*/ 367851 w 387211"/>
                <a:gd name="connsiteY2" fmla="*/ 148431 h 258141"/>
                <a:gd name="connsiteX3" fmla="*/ 96803 w 387211"/>
                <a:gd name="connsiteY3" fmla="*/ 238781 h 258141"/>
                <a:gd name="connsiteX4" fmla="*/ 200059 w 387211"/>
                <a:gd name="connsiteY4" fmla="*/ 109710 h 258141"/>
                <a:gd name="connsiteX5" fmla="*/ 109710 w 387211"/>
                <a:gd name="connsiteY5" fmla="*/ 225874 h 258141"/>
                <a:gd name="connsiteX6" fmla="*/ 342037 w 387211"/>
                <a:gd name="connsiteY6" fmla="*/ 148431 h 258141"/>
                <a:gd name="connsiteX7" fmla="*/ 200059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96803" y="238781"/>
                  </a:moveTo>
                  <a:lnTo>
                    <a:pt x="200059" y="96803"/>
                  </a:lnTo>
                  <a:lnTo>
                    <a:pt x="367851" y="148431"/>
                  </a:lnTo>
                  <a:lnTo>
                    <a:pt x="96803" y="238781"/>
                  </a:lnTo>
                  <a:close/>
                  <a:moveTo>
                    <a:pt x="200059" y="109710"/>
                  </a:moveTo>
                  <a:lnTo>
                    <a:pt x="109710" y="225874"/>
                  </a:lnTo>
                  <a:lnTo>
                    <a:pt x="342037" y="148431"/>
                  </a:lnTo>
                  <a:lnTo>
                    <a:pt x="200059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3" name="Freeform: Shape 2632">
              <a:extLst>
                <a:ext uri="{FF2B5EF4-FFF2-40B4-BE49-F238E27FC236}">
                  <a16:creationId xmlns:a16="http://schemas.microsoft.com/office/drawing/2014/main" id="{036A7185-F419-4141-A210-99B11A38844D}"/>
                </a:ext>
              </a:extLst>
            </p:cNvPr>
            <p:cNvSpPr/>
            <p:nvPr/>
          </p:nvSpPr>
          <p:spPr>
            <a:xfrm>
              <a:off x="3281094" y="4725165"/>
              <a:ext cx="516283" cy="387212"/>
            </a:xfrm>
            <a:custGeom>
              <a:avLst/>
              <a:gdLst>
                <a:gd name="connsiteX0" fmla="*/ 290409 w 516282"/>
                <a:gd name="connsiteY0" fmla="*/ 406573 h 387211"/>
                <a:gd name="connsiteX1" fmla="*/ 290409 w 516282"/>
                <a:gd name="connsiteY1" fmla="*/ 406573 h 387211"/>
                <a:gd name="connsiteX2" fmla="*/ 96803 w 516282"/>
                <a:gd name="connsiteY2" fmla="*/ 96803 h 387211"/>
                <a:gd name="connsiteX3" fmla="*/ 496922 w 516282"/>
                <a:gd name="connsiteY3" fmla="*/ 109710 h 387211"/>
                <a:gd name="connsiteX4" fmla="*/ 290409 w 516282"/>
                <a:gd name="connsiteY4" fmla="*/ 406573 h 387211"/>
                <a:gd name="connsiteX5" fmla="*/ 96803 w 516282"/>
                <a:gd name="connsiteY5" fmla="*/ 96803 h 387211"/>
                <a:gd name="connsiteX6" fmla="*/ 290409 w 516282"/>
                <a:gd name="connsiteY6" fmla="*/ 393666 h 387211"/>
                <a:gd name="connsiteX7" fmla="*/ 484015 w 516282"/>
                <a:gd name="connsiteY7" fmla="*/ 109710 h 387211"/>
                <a:gd name="connsiteX8" fmla="*/ 96803 w 516282"/>
                <a:gd name="connsiteY8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290409" y="406573"/>
                  </a:moveTo>
                  <a:lnTo>
                    <a:pt x="290409" y="406573"/>
                  </a:lnTo>
                  <a:lnTo>
                    <a:pt x="96803" y="96803"/>
                  </a:lnTo>
                  <a:lnTo>
                    <a:pt x="496922" y="109710"/>
                  </a:lnTo>
                  <a:lnTo>
                    <a:pt x="290409" y="406573"/>
                  </a:lnTo>
                  <a:close/>
                  <a:moveTo>
                    <a:pt x="96803" y="96803"/>
                  </a:moveTo>
                  <a:lnTo>
                    <a:pt x="290409" y="393666"/>
                  </a:lnTo>
                  <a:lnTo>
                    <a:pt x="484015" y="109710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4" name="Freeform: Shape 2633">
              <a:extLst>
                <a:ext uri="{FF2B5EF4-FFF2-40B4-BE49-F238E27FC236}">
                  <a16:creationId xmlns:a16="http://schemas.microsoft.com/office/drawing/2014/main" id="{73B607FE-24EE-4487-A6EF-D83812670B51}"/>
                </a:ext>
              </a:extLst>
            </p:cNvPr>
            <p:cNvSpPr/>
            <p:nvPr/>
          </p:nvSpPr>
          <p:spPr>
            <a:xfrm>
              <a:off x="3255280" y="4621909"/>
              <a:ext cx="516283" cy="258141"/>
            </a:xfrm>
            <a:custGeom>
              <a:avLst/>
              <a:gdLst>
                <a:gd name="connsiteX0" fmla="*/ 509829 w 516282"/>
                <a:gd name="connsiteY0" fmla="*/ 212967 h 258141"/>
                <a:gd name="connsiteX1" fmla="*/ 96803 w 516282"/>
                <a:gd name="connsiteY1" fmla="*/ 200059 h 258141"/>
                <a:gd name="connsiteX2" fmla="*/ 419480 w 516282"/>
                <a:gd name="connsiteY2" fmla="*/ 96803 h 258141"/>
                <a:gd name="connsiteX3" fmla="*/ 509829 w 516282"/>
                <a:gd name="connsiteY3" fmla="*/ 212967 h 258141"/>
                <a:gd name="connsiteX4" fmla="*/ 135524 w 516282"/>
                <a:gd name="connsiteY4" fmla="*/ 200059 h 258141"/>
                <a:gd name="connsiteX5" fmla="*/ 496922 w 516282"/>
                <a:gd name="connsiteY5" fmla="*/ 212967 h 258141"/>
                <a:gd name="connsiteX6" fmla="*/ 419480 w 516282"/>
                <a:gd name="connsiteY6" fmla="*/ 109710 h 258141"/>
                <a:gd name="connsiteX7" fmla="*/ 135524 w 516282"/>
                <a:gd name="connsiteY7" fmla="*/ 200059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509829" y="212967"/>
                  </a:moveTo>
                  <a:lnTo>
                    <a:pt x="96803" y="200059"/>
                  </a:lnTo>
                  <a:lnTo>
                    <a:pt x="419480" y="96803"/>
                  </a:lnTo>
                  <a:lnTo>
                    <a:pt x="509829" y="212967"/>
                  </a:lnTo>
                  <a:close/>
                  <a:moveTo>
                    <a:pt x="135524" y="200059"/>
                  </a:moveTo>
                  <a:lnTo>
                    <a:pt x="496922" y="212967"/>
                  </a:lnTo>
                  <a:lnTo>
                    <a:pt x="419480" y="109710"/>
                  </a:lnTo>
                  <a:lnTo>
                    <a:pt x="135524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5" name="Freeform: Shape 2634">
              <a:extLst>
                <a:ext uri="{FF2B5EF4-FFF2-40B4-BE49-F238E27FC236}">
                  <a16:creationId xmlns:a16="http://schemas.microsoft.com/office/drawing/2014/main" id="{1C8F6DFB-F1AA-4605-A3A4-7BB58EACAADC}"/>
                </a:ext>
              </a:extLst>
            </p:cNvPr>
            <p:cNvSpPr/>
            <p:nvPr/>
          </p:nvSpPr>
          <p:spPr>
            <a:xfrm>
              <a:off x="3461793" y="4738072"/>
              <a:ext cx="387212" cy="516283"/>
            </a:xfrm>
            <a:custGeom>
              <a:avLst/>
              <a:gdLst>
                <a:gd name="connsiteX0" fmla="*/ 367851 w 387211"/>
                <a:gd name="connsiteY0" fmla="*/ 445294 h 516282"/>
                <a:gd name="connsiteX1" fmla="*/ 96803 w 387211"/>
                <a:gd name="connsiteY1" fmla="*/ 393666 h 516282"/>
                <a:gd name="connsiteX2" fmla="*/ 96803 w 387211"/>
                <a:gd name="connsiteY2" fmla="*/ 393666 h 516282"/>
                <a:gd name="connsiteX3" fmla="*/ 303316 w 387211"/>
                <a:gd name="connsiteY3" fmla="*/ 96803 h 516282"/>
                <a:gd name="connsiteX4" fmla="*/ 367851 w 387211"/>
                <a:gd name="connsiteY4" fmla="*/ 445294 h 516282"/>
                <a:gd name="connsiteX5" fmla="*/ 109710 w 387211"/>
                <a:gd name="connsiteY5" fmla="*/ 380759 h 516282"/>
                <a:gd name="connsiteX6" fmla="*/ 367851 w 387211"/>
                <a:gd name="connsiteY6" fmla="*/ 432387 h 516282"/>
                <a:gd name="connsiteX7" fmla="*/ 303316 w 387211"/>
                <a:gd name="connsiteY7" fmla="*/ 96803 h 516282"/>
                <a:gd name="connsiteX8" fmla="*/ 109710 w 387211"/>
                <a:gd name="connsiteY8" fmla="*/ 380759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516282">
                  <a:moveTo>
                    <a:pt x="367851" y="445294"/>
                  </a:moveTo>
                  <a:lnTo>
                    <a:pt x="96803" y="393666"/>
                  </a:lnTo>
                  <a:lnTo>
                    <a:pt x="96803" y="393666"/>
                  </a:lnTo>
                  <a:lnTo>
                    <a:pt x="303316" y="96803"/>
                  </a:lnTo>
                  <a:lnTo>
                    <a:pt x="367851" y="445294"/>
                  </a:lnTo>
                  <a:close/>
                  <a:moveTo>
                    <a:pt x="109710" y="380759"/>
                  </a:moveTo>
                  <a:lnTo>
                    <a:pt x="367851" y="432387"/>
                  </a:lnTo>
                  <a:lnTo>
                    <a:pt x="303316" y="96803"/>
                  </a:lnTo>
                  <a:lnTo>
                    <a:pt x="109710" y="3807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6" name="Freeform: Shape 2635">
              <a:extLst>
                <a:ext uri="{FF2B5EF4-FFF2-40B4-BE49-F238E27FC236}">
                  <a16:creationId xmlns:a16="http://schemas.microsoft.com/office/drawing/2014/main" id="{67D563A6-6A6E-4618-8FAD-97049BF2E6BE}"/>
                </a:ext>
              </a:extLst>
            </p:cNvPr>
            <p:cNvSpPr/>
            <p:nvPr/>
          </p:nvSpPr>
          <p:spPr>
            <a:xfrm>
              <a:off x="3694120" y="4867143"/>
              <a:ext cx="387212" cy="387212"/>
            </a:xfrm>
            <a:custGeom>
              <a:avLst/>
              <a:gdLst>
                <a:gd name="connsiteX0" fmla="*/ 135524 w 387211"/>
                <a:gd name="connsiteY0" fmla="*/ 316223 h 387211"/>
                <a:gd name="connsiteX1" fmla="*/ 96803 w 387211"/>
                <a:gd name="connsiteY1" fmla="*/ 96803 h 387211"/>
                <a:gd name="connsiteX2" fmla="*/ 303316 w 387211"/>
                <a:gd name="connsiteY2" fmla="*/ 161338 h 387211"/>
                <a:gd name="connsiteX3" fmla="*/ 135524 w 387211"/>
                <a:gd name="connsiteY3" fmla="*/ 316223 h 387211"/>
                <a:gd name="connsiteX4" fmla="*/ 96803 w 387211"/>
                <a:gd name="connsiteY4" fmla="*/ 109710 h 387211"/>
                <a:gd name="connsiteX5" fmla="*/ 135524 w 387211"/>
                <a:gd name="connsiteY5" fmla="*/ 303316 h 387211"/>
                <a:gd name="connsiteX6" fmla="*/ 290409 w 387211"/>
                <a:gd name="connsiteY6" fmla="*/ 161338 h 387211"/>
                <a:gd name="connsiteX7" fmla="*/ 96803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35524" y="316223"/>
                  </a:moveTo>
                  <a:lnTo>
                    <a:pt x="96803" y="96803"/>
                  </a:lnTo>
                  <a:lnTo>
                    <a:pt x="303316" y="161338"/>
                  </a:lnTo>
                  <a:lnTo>
                    <a:pt x="135524" y="316223"/>
                  </a:lnTo>
                  <a:close/>
                  <a:moveTo>
                    <a:pt x="96803" y="109710"/>
                  </a:moveTo>
                  <a:lnTo>
                    <a:pt x="135524" y="303316"/>
                  </a:lnTo>
                  <a:lnTo>
                    <a:pt x="290409" y="161338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7" name="Freeform: Shape 2636">
              <a:extLst>
                <a:ext uri="{FF2B5EF4-FFF2-40B4-BE49-F238E27FC236}">
                  <a16:creationId xmlns:a16="http://schemas.microsoft.com/office/drawing/2014/main" id="{823BF543-2BDE-409A-8180-F9C3D6B0117B}"/>
                </a:ext>
              </a:extLst>
            </p:cNvPr>
            <p:cNvSpPr/>
            <p:nvPr/>
          </p:nvSpPr>
          <p:spPr>
            <a:xfrm>
              <a:off x="3732841" y="4854236"/>
              <a:ext cx="387212" cy="387212"/>
            </a:xfrm>
            <a:custGeom>
              <a:avLst/>
              <a:gdLst>
                <a:gd name="connsiteX0" fmla="*/ 96803 w 387211"/>
                <a:gd name="connsiteY0" fmla="*/ 329130 h 387211"/>
                <a:gd name="connsiteX1" fmla="*/ 96803 w 387211"/>
                <a:gd name="connsiteY1" fmla="*/ 329130 h 387211"/>
                <a:gd name="connsiteX2" fmla="*/ 329130 w 387211"/>
                <a:gd name="connsiteY2" fmla="*/ 96803 h 387211"/>
                <a:gd name="connsiteX3" fmla="*/ 329130 w 387211"/>
                <a:gd name="connsiteY3" fmla="*/ 174245 h 387211"/>
                <a:gd name="connsiteX4" fmla="*/ 96803 w 387211"/>
                <a:gd name="connsiteY4" fmla="*/ 329130 h 387211"/>
                <a:gd name="connsiteX5" fmla="*/ 329130 w 387211"/>
                <a:gd name="connsiteY5" fmla="*/ 122617 h 387211"/>
                <a:gd name="connsiteX6" fmla="*/ 122617 w 387211"/>
                <a:gd name="connsiteY6" fmla="*/ 316223 h 387211"/>
                <a:gd name="connsiteX7" fmla="*/ 329130 w 387211"/>
                <a:gd name="connsiteY7" fmla="*/ 187153 h 387211"/>
                <a:gd name="connsiteX8" fmla="*/ 329130 w 387211"/>
                <a:gd name="connsiteY8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96803" y="329130"/>
                  </a:moveTo>
                  <a:lnTo>
                    <a:pt x="96803" y="329130"/>
                  </a:lnTo>
                  <a:lnTo>
                    <a:pt x="329130" y="96803"/>
                  </a:lnTo>
                  <a:lnTo>
                    <a:pt x="329130" y="174245"/>
                  </a:lnTo>
                  <a:lnTo>
                    <a:pt x="96803" y="329130"/>
                  </a:lnTo>
                  <a:close/>
                  <a:moveTo>
                    <a:pt x="329130" y="122617"/>
                  </a:moveTo>
                  <a:lnTo>
                    <a:pt x="122617" y="316223"/>
                  </a:lnTo>
                  <a:lnTo>
                    <a:pt x="329130" y="187153"/>
                  </a:lnTo>
                  <a:lnTo>
                    <a:pt x="32913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8" name="Freeform: Shape 2637">
              <a:extLst>
                <a:ext uri="{FF2B5EF4-FFF2-40B4-BE49-F238E27FC236}">
                  <a16:creationId xmlns:a16="http://schemas.microsoft.com/office/drawing/2014/main" id="{E47D4F3C-783E-40F9-815F-2FC86C2DDD91}"/>
                </a:ext>
              </a:extLst>
            </p:cNvPr>
            <p:cNvSpPr/>
            <p:nvPr/>
          </p:nvSpPr>
          <p:spPr>
            <a:xfrm>
              <a:off x="3965169" y="4776794"/>
              <a:ext cx="258141" cy="258141"/>
            </a:xfrm>
            <a:custGeom>
              <a:avLst/>
              <a:gdLst>
                <a:gd name="connsiteX0" fmla="*/ 96803 w 258141"/>
                <a:gd name="connsiteY0" fmla="*/ 264595 h 258141"/>
                <a:gd name="connsiteX1" fmla="*/ 109710 w 258141"/>
                <a:gd name="connsiteY1" fmla="*/ 109710 h 258141"/>
                <a:gd name="connsiteX2" fmla="*/ 264595 w 258141"/>
                <a:gd name="connsiteY2" fmla="*/ 96803 h 258141"/>
                <a:gd name="connsiteX3" fmla="*/ 96803 w 258141"/>
                <a:gd name="connsiteY3" fmla="*/ 264595 h 258141"/>
                <a:gd name="connsiteX4" fmla="*/ 109710 w 258141"/>
                <a:gd name="connsiteY4" fmla="*/ 122617 h 258141"/>
                <a:gd name="connsiteX5" fmla="*/ 109710 w 258141"/>
                <a:gd name="connsiteY5" fmla="*/ 251688 h 258141"/>
                <a:gd name="connsiteX6" fmla="*/ 251688 w 258141"/>
                <a:gd name="connsiteY6" fmla="*/ 109710 h 258141"/>
                <a:gd name="connsiteX7" fmla="*/ 109710 w 258141"/>
                <a:gd name="connsiteY7" fmla="*/ 12261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96803" y="264595"/>
                  </a:moveTo>
                  <a:lnTo>
                    <a:pt x="109710" y="109710"/>
                  </a:lnTo>
                  <a:lnTo>
                    <a:pt x="264595" y="96803"/>
                  </a:lnTo>
                  <a:lnTo>
                    <a:pt x="96803" y="264595"/>
                  </a:lnTo>
                  <a:close/>
                  <a:moveTo>
                    <a:pt x="109710" y="122617"/>
                  </a:moveTo>
                  <a:lnTo>
                    <a:pt x="109710" y="251688"/>
                  </a:lnTo>
                  <a:lnTo>
                    <a:pt x="251688" y="109710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9" name="Freeform: Shape 2638">
              <a:extLst>
                <a:ext uri="{FF2B5EF4-FFF2-40B4-BE49-F238E27FC236}">
                  <a16:creationId xmlns:a16="http://schemas.microsoft.com/office/drawing/2014/main" id="{1AE9FCA3-F661-4148-82EF-A350C34476EA}"/>
                </a:ext>
              </a:extLst>
            </p:cNvPr>
            <p:cNvSpPr/>
            <p:nvPr/>
          </p:nvSpPr>
          <p:spPr>
            <a:xfrm>
              <a:off x="3965169" y="4789700"/>
              <a:ext cx="387212" cy="516283"/>
            </a:xfrm>
            <a:custGeom>
              <a:avLst/>
              <a:gdLst>
                <a:gd name="connsiteX0" fmla="*/ 290409 w 387211"/>
                <a:gd name="connsiteY0" fmla="*/ 445294 h 516282"/>
                <a:gd name="connsiteX1" fmla="*/ 96803 w 387211"/>
                <a:gd name="connsiteY1" fmla="*/ 251688 h 516282"/>
                <a:gd name="connsiteX2" fmla="*/ 251688 w 387211"/>
                <a:gd name="connsiteY2" fmla="*/ 96803 h 516282"/>
                <a:gd name="connsiteX3" fmla="*/ 290409 w 387211"/>
                <a:gd name="connsiteY3" fmla="*/ 445294 h 516282"/>
                <a:gd name="connsiteX4" fmla="*/ 96803 w 387211"/>
                <a:gd name="connsiteY4" fmla="*/ 251688 h 516282"/>
                <a:gd name="connsiteX5" fmla="*/ 277502 w 387211"/>
                <a:gd name="connsiteY5" fmla="*/ 419480 h 516282"/>
                <a:gd name="connsiteX6" fmla="*/ 251688 w 387211"/>
                <a:gd name="connsiteY6" fmla="*/ 96803 h 516282"/>
                <a:gd name="connsiteX7" fmla="*/ 96803 w 387211"/>
                <a:gd name="connsiteY7" fmla="*/ 25168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90409" y="445294"/>
                  </a:moveTo>
                  <a:lnTo>
                    <a:pt x="96803" y="251688"/>
                  </a:lnTo>
                  <a:lnTo>
                    <a:pt x="251688" y="96803"/>
                  </a:lnTo>
                  <a:lnTo>
                    <a:pt x="290409" y="445294"/>
                  </a:lnTo>
                  <a:close/>
                  <a:moveTo>
                    <a:pt x="96803" y="251688"/>
                  </a:moveTo>
                  <a:lnTo>
                    <a:pt x="277502" y="419480"/>
                  </a:lnTo>
                  <a:lnTo>
                    <a:pt x="251688" y="96803"/>
                  </a:lnTo>
                  <a:lnTo>
                    <a:pt x="96803" y="2516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0" name="Freeform: Shape 2639">
              <a:extLst>
                <a:ext uri="{FF2B5EF4-FFF2-40B4-BE49-F238E27FC236}">
                  <a16:creationId xmlns:a16="http://schemas.microsoft.com/office/drawing/2014/main" id="{FCB268A1-A8E8-425A-9524-1448410ABC7A}"/>
                </a:ext>
              </a:extLst>
            </p:cNvPr>
            <p:cNvSpPr/>
            <p:nvPr/>
          </p:nvSpPr>
          <p:spPr>
            <a:xfrm>
              <a:off x="4300752" y="4312139"/>
              <a:ext cx="258141" cy="387212"/>
            </a:xfrm>
            <a:custGeom>
              <a:avLst/>
              <a:gdLst>
                <a:gd name="connsiteX0" fmla="*/ 225873 w 258141"/>
                <a:gd name="connsiteY0" fmla="*/ 367851 h 387211"/>
                <a:gd name="connsiteX1" fmla="*/ 96803 w 258141"/>
                <a:gd name="connsiteY1" fmla="*/ 96803 h 387211"/>
                <a:gd name="connsiteX2" fmla="*/ 277502 w 258141"/>
                <a:gd name="connsiteY2" fmla="*/ 290409 h 387211"/>
                <a:gd name="connsiteX3" fmla="*/ 225873 w 258141"/>
                <a:gd name="connsiteY3" fmla="*/ 367851 h 387211"/>
                <a:gd name="connsiteX4" fmla="*/ 109710 w 258141"/>
                <a:gd name="connsiteY4" fmla="*/ 135524 h 387211"/>
                <a:gd name="connsiteX5" fmla="*/ 212967 w 258141"/>
                <a:gd name="connsiteY5" fmla="*/ 354944 h 387211"/>
                <a:gd name="connsiteX6" fmla="*/ 251688 w 258141"/>
                <a:gd name="connsiteY6" fmla="*/ 290409 h 387211"/>
                <a:gd name="connsiteX7" fmla="*/ 109710 w 25814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25873" y="367851"/>
                  </a:moveTo>
                  <a:lnTo>
                    <a:pt x="96803" y="96803"/>
                  </a:lnTo>
                  <a:lnTo>
                    <a:pt x="277502" y="290409"/>
                  </a:lnTo>
                  <a:lnTo>
                    <a:pt x="225873" y="367851"/>
                  </a:lnTo>
                  <a:close/>
                  <a:moveTo>
                    <a:pt x="109710" y="135524"/>
                  </a:moveTo>
                  <a:lnTo>
                    <a:pt x="212967" y="354944"/>
                  </a:lnTo>
                  <a:lnTo>
                    <a:pt x="251688" y="290409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1" name="Freeform: Shape 2640">
              <a:extLst>
                <a:ext uri="{FF2B5EF4-FFF2-40B4-BE49-F238E27FC236}">
                  <a16:creationId xmlns:a16="http://schemas.microsoft.com/office/drawing/2014/main" id="{94E45928-DC75-4BCE-B0A8-9A13F5F1D026}"/>
                </a:ext>
              </a:extLst>
            </p:cNvPr>
            <p:cNvSpPr/>
            <p:nvPr/>
          </p:nvSpPr>
          <p:spPr>
            <a:xfrm>
              <a:off x="4171682" y="4195976"/>
              <a:ext cx="387212" cy="258141"/>
            </a:xfrm>
            <a:custGeom>
              <a:avLst/>
              <a:gdLst>
                <a:gd name="connsiteX0" fmla="*/ 225874 w 387211"/>
                <a:gd name="connsiteY0" fmla="*/ 238780 h 258141"/>
                <a:gd name="connsiteX1" fmla="*/ 96803 w 387211"/>
                <a:gd name="connsiteY1" fmla="*/ 161338 h 258141"/>
                <a:gd name="connsiteX2" fmla="*/ 316223 w 387211"/>
                <a:gd name="connsiteY2" fmla="*/ 96803 h 258141"/>
                <a:gd name="connsiteX3" fmla="*/ 225874 w 387211"/>
                <a:gd name="connsiteY3" fmla="*/ 238780 h 258141"/>
                <a:gd name="connsiteX4" fmla="*/ 109710 w 387211"/>
                <a:gd name="connsiteY4" fmla="*/ 161338 h 258141"/>
                <a:gd name="connsiteX5" fmla="*/ 225874 w 387211"/>
                <a:gd name="connsiteY5" fmla="*/ 225874 h 258141"/>
                <a:gd name="connsiteX6" fmla="*/ 303316 w 387211"/>
                <a:gd name="connsiteY6" fmla="*/ 109710 h 258141"/>
                <a:gd name="connsiteX7" fmla="*/ 109710 w 387211"/>
                <a:gd name="connsiteY7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225874" y="238780"/>
                  </a:moveTo>
                  <a:lnTo>
                    <a:pt x="96803" y="161338"/>
                  </a:lnTo>
                  <a:lnTo>
                    <a:pt x="316223" y="96803"/>
                  </a:lnTo>
                  <a:lnTo>
                    <a:pt x="225874" y="238780"/>
                  </a:lnTo>
                  <a:close/>
                  <a:moveTo>
                    <a:pt x="109710" y="161338"/>
                  </a:moveTo>
                  <a:lnTo>
                    <a:pt x="225874" y="225874"/>
                  </a:lnTo>
                  <a:lnTo>
                    <a:pt x="303316" y="109710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2" name="Freeform: Shape 2641">
              <a:extLst>
                <a:ext uri="{FF2B5EF4-FFF2-40B4-BE49-F238E27FC236}">
                  <a16:creationId xmlns:a16="http://schemas.microsoft.com/office/drawing/2014/main" id="{1507BC38-2315-4276-AFAB-117FF19C6112}"/>
                </a:ext>
              </a:extLst>
            </p:cNvPr>
            <p:cNvSpPr/>
            <p:nvPr/>
          </p:nvSpPr>
          <p:spPr>
            <a:xfrm>
              <a:off x="4300752" y="4195976"/>
              <a:ext cx="258141" cy="516283"/>
            </a:xfrm>
            <a:custGeom>
              <a:avLst/>
              <a:gdLst>
                <a:gd name="connsiteX0" fmla="*/ 264595 w 258141"/>
                <a:gd name="connsiteY0" fmla="*/ 419480 h 516282"/>
                <a:gd name="connsiteX1" fmla="*/ 96803 w 258141"/>
                <a:gd name="connsiteY1" fmla="*/ 225874 h 516282"/>
                <a:gd name="connsiteX2" fmla="*/ 187152 w 258141"/>
                <a:gd name="connsiteY2" fmla="*/ 96803 h 516282"/>
                <a:gd name="connsiteX3" fmla="*/ 264595 w 258141"/>
                <a:gd name="connsiteY3" fmla="*/ 419480 h 516282"/>
                <a:gd name="connsiteX4" fmla="*/ 96803 w 258141"/>
                <a:gd name="connsiteY4" fmla="*/ 225874 h 516282"/>
                <a:gd name="connsiteX5" fmla="*/ 251688 w 258141"/>
                <a:gd name="connsiteY5" fmla="*/ 393665 h 516282"/>
                <a:gd name="connsiteX6" fmla="*/ 174245 w 258141"/>
                <a:gd name="connsiteY6" fmla="*/ 109710 h 516282"/>
                <a:gd name="connsiteX7" fmla="*/ 96803 w 258141"/>
                <a:gd name="connsiteY7" fmla="*/ 22587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264595" y="419480"/>
                  </a:moveTo>
                  <a:lnTo>
                    <a:pt x="96803" y="225874"/>
                  </a:lnTo>
                  <a:lnTo>
                    <a:pt x="187152" y="96803"/>
                  </a:lnTo>
                  <a:lnTo>
                    <a:pt x="264595" y="419480"/>
                  </a:lnTo>
                  <a:close/>
                  <a:moveTo>
                    <a:pt x="96803" y="225874"/>
                  </a:moveTo>
                  <a:lnTo>
                    <a:pt x="251688" y="393665"/>
                  </a:lnTo>
                  <a:lnTo>
                    <a:pt x="174245" y="109710"/>
                  </a:lnTo>
                  <a:lnTo>
                    <a:pt x="96803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3" name="Freeform: Shape 2642">
              <a:extLst>
                <a:ext uri="{FF2B5EF4-FFF2-40B4-BE49-F238E27FC236}">
                  <a16:creationId xmlns:a16="http://schemas.microsoft.com/office/drawing/2014/main" id="{44023768-772D-4E7D-AD32-2300EB366109}"/>
                </a:ext>
              </a:extLst>
            </p:cNvPr>
            <p:cNvSpPr/>
            <p:nvPr/>
          </p:nvSpPr>
          <p:spPr>
            <a:xfrm>
              <a:off x="4507265" y="3602251"/>
              <a:ext cx="516283" cy="645353"/>
            </a:xfrm>
            <a:custGeom>
              <a:avLst/>
              <a:gdLst>
                <a:gd name="connsiteX0" fmla="*/ 96803 w 516282"/>
                <a:gd name="connsiteY0" fmla="*/ 561457 h 645353"/>
                <a:gd name="connsiteX1" fmla="*/ 212966 w 516282"/>
                <a:gd name="connsiteY1" fmla="*/ 251688 h 645353"/>
                <a:gd name="connsiteX2" fmla="*/ 458201 w 516282"/>
                <a:gd name="connsiteY2" fmla="*/ 96803 h 645353"/>
                <a:gd name="connsiteX3" fmla="*/ 96803 w 516282"/>
                <a:gd name="connsiteY3" fmla="*/ 561457 h 645353"/>
                <a:gd name="connsiteX4" fmla="*/ 212966 w 516282"/>
                <a:gd name="connsiteY4" fmla="*/ 264595 h 645353"/>
                <a:gd name="connsiteX5" fmla="*/ 109710 w 516282"/>
                <a:gd name="connsiteY5" fmla="*/ 535643 h 645353"/>
                <a:gd name="connsiteX6" fmla="*/ 419480 w 516282"/>
                <a:gd name="connsiteY6" fmla="*/ 135524 h 645353"/>
                <a:gd name="connsiteX7" fmla="*/ 212966 w 516282"/>
                <a:gd name="connsiteY7" fmla="*/ 264595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96803" y="561457"/>
                  </a:moveTo>
                  <a:lnTo>
                    <a:pt x="212966" y="251688"/>
                  </a:lnTo>
                  <a:lnTo>
                    <a:pt x="458201" y="96803"/>
                  </a:lnTo>
                  <a:lnTo>
                    <a:pt x="96803" y="561457"/>
                  </a:lnTo>
                  <a:close/>
                  <a:moveTo>
                    <a:pt x="212966" y="264595"/>
                  </a:moveTo>
                  <a:lnTo>
                    <a:pt x="109710" y="535643"/>
                  </a:lnTo>
                  <a:lnTo>
                    <a:pt x="419480" y="135524"/>
                  </a:lnTo>
                  <a:lnTo>
                    <a:pt x="212966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4" name="Freeform: Shape 2643">
              <a:extLst>
                <a:ext uri="{FF2B5EF4-FFF2-40B4-BE49-F238E27FC236}">
                  <a16:creationId xmlns:a16="http://schemas.microsoft.com/office/drawing/2014/main" id="{AA3C7E9B-E316-4667-826E-B4AA9309835A}"/>
                </a:ext>
              </a:extLst>
            </p:cNvPr>
            <p:cNvSpPr/>
            <p:nvPr/>
          </p:nvSpPr>
          <p:spPr>
            <a:xfrm>
              <a:off x="4829942" y="3344109"/>
              <a:ext cx="387212" cy="387212"/>
            </a:xfrm>
            <a:custGeom>
              <a:avLst/>
              <a:gdLst>
                <a:gd name="connsiteX0" fmla="*/ 96803 w 387211"/>
                <a:gd name="connsiteY0" fmla="*/ 380758 h 387211"/>
                <a:gd name="connsiteX1" fmla="*/ 174245 w 387211"/>
                <a:gd name="connsiteY1" fmla="*/ 238781 h 387211"/>
                <a:gd name="connsiteX2" fmla="*/ 393665 w 387211"/>
                <a:gd name="connsiteY2" fmla="*/ 96803 h 387211"/>
                <a:gd name="connsiteX3" fmla="*/ 393665 w 387211"/>
                <a:gd name="connsiteY3" fmla="*/ 96803 h 387211"/>
                <a:gd name="connsiteX4" fmla="*/ 96803 w 387211"/>
                <a:gd name="connsiteY4" fmla="*/ 380758 h 387211"/>
                <a:gd name="connsiteX5" fmla="*/ 174245 w 387211"/>
                <a:gd name="connsiteY5" fmla="*/ 251688 h 387211"/>
                <a:gd name="connsiteX6" fmla="*/ 122617 w 387211"/>
                <a:gd name="connsiteY6" fmla="*/ 354944 h 387211"/>
                <a:gd name="connsiteX7" fmla="*/ 367851 w 387211"/>
                <a:gd name="connsiteY7" fmla="*/ 135524 h 387211"/>
                <a:gd name="connsiteX8" fmla="*/ 174245 w 387211"/>
                <a:gd name="connsiteY8" fmla="*/ 25168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96803" y="380758"/>
                  </a:moveTo>
                  <a:lnTo>
                    <a:pt x="174245" y="238781"/>
                  </a:lnTo>
                  <a:lnTo>
                    <a:pt x="393665" y="96803"/>
                  </a:lnTo>
                  <a:lnTo>
                    <a:pt x="393665" y="96803"/>
                  </a:lnTo>
                  <a:lnTo>
                    <a:pt x="96803" y="380758"/>
                  </a:lnTo>
                  <a:close/>
                  <a:moveTo>
                    <a:pt x="174245" y="251688"/>
                  </a:moveTo>
                  <a:lnTo>
                    <a:pt x="122617" y="354944"/>
                  </a:lnTo>
                  <a:lnTo>
                    <a:pt x="367851" y="135524"/>
                  </a:lnTo>
                  <a:lnTo>
                    <a:pt x="174245" y="2516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5" name="Freeform: Shape 2644">
              <a:extLst>
                <a:ext uri="{FF2B5EF4-FFF2-40B4-BE49-F238E27FC236}">
                  <a16:creationId xmlns:a16="http://schemas.microsoft.com/office/drawing/2014/main" id="{D91288C0-A5C2-4375-AB5D-7E2C78BA9D4D}"/>
                </a:ext>
              </a:extLst>
            </p:cNvPr>
            <p:cNvSpPr/>
            <p:nvPr/>
          </p:nvSpPr>
          <p:spPr>
            <a:xfrm>
              <a:off x="5113897" y="3137596"/>
              <a:ext cx="258141" cy="387212"/>
            </a:xfrm>
            <a:custGeom>
              <a:avLst/>
              <a:gdLst>
                <a:gd name="connsiteX0" fmla="*/ 96803 w 258141"/>
                <a:gd name="connsiteY0" fmla="*/ 316223 h 387211"/>
                <a:gd name="connsiteX1" fmla="*/ 148431 w 258141"/>
                <a:gd name="connsiteY1" fmla="*/ 96803 h 387211"/>
                <a:gd name="connsiteX2" fmla="*/ 225874 w 258141"/>
                <a:gd name="connsiteY2" fmla="*/ 290409 h 387211"/>
                <a:gd name="connsiteX3" fmla="*/ 96803 w 258141"/>
                <a:gd name="connsiteY3" fmla="*/ 316223 h 387211"/>
                <a:gd name="connsiteX4" fmla="*/ 161338 w 258141"/>
                <a:gd name="connsiteY4" fmla="*/ 122617 h 387211"/>
                <a:gd name="connsiteX5" fmla="*/ 109710 w 258141"/>
                <a:gd name="connsiteY5" fmla="*/ 303316 h 387211"/>
                <a:gd name="connsiteX6" fmla="*/ 225874 w 258141"/>
                <a:gd name="connsiteY6" fmla="*/ 277502 h 387211"/>
                <a:gd name="connsiteX7" fmla="*/ 161338 w 25814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16223"/>
                  </a:moveTo>
                  <a:lnTo>
                    <a:pt x="148431" y="96803"/>
                  </a:lnTo>
                  <a:lnTo>
                    <a:pt x="225874" y="290409"/>
                  </a:lnTo>
                  <a:lnTo>
                    <a:pt x="96803" y="316223"/>
                  </a:lnTo>
                  <a:close/>
                  <a:moveTo>
                    <a:pt x="161338" y="122617"/>
                  </a:moveTo>
                  <a:lnTo>
                    <a:pt x="109710" y="303316"/>
                  </a:lnTo>
                  <a:lnTo>
                    <a:pt x="225874" y="277502"/>
                  </a:lnTo>
                  <a:lnTo>
                    <a:pt x="161338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6" name="Freeform: Shape 2645">
              <a:extLst>
                <a:ext uri="{FF2B5EF4-FFF2-40B4-BE49-F238E27FC236}">
                  <a16:creationId xmlns:a16="http://schemas.microsoft.com/office/drawing/2014/main" id="{FC3FE775-8480-4F15-8591-441F7AB970A1}"/>
                </a:ext>
              </a:extLst>
            </p:cNvPr>
            <p:cNvSpPr/>
            <p:nvPr/>
          </p:nvSpPr>
          <p:spPr>
            <a:xfrm>
              <a:off x="4907384" y="3202132"/>
              <a:ext cx="387212" cy="387212"/>
            </a:xfrm>
            <a:custGeom>
              <a:avLst/>
              <a:gdLst>
                <a:gd name="connsiteX0" fmla="*/ 96803 w 387211"/>
                <a:gd name="connsiteY0" fmla="*/ 393665 h 387211"/>
                <a:gd name="connsiteX1" fmla="*/ 122617 w 387211"/>
                <a:gd name="connsiteY1" fmla="*/ 96803 h 387211"/>
                <a:gd name="connsiteX2" fmla="*/ 329130 w 387211"/>
                <a:gd name="connsiteY2" fmla="*/ 251688 h 387211"/>
                <a:gd name="connsiteX3" fmla="*/ 96803 w 387211"/>
                <a:gd name="connsiteY3" fmla="*/ 393665 h 387211"/>
                <a:gd name="connsiteX4" fmla="*/ 109710 w 387211"/>
                <a:gd name="connsiteY4" fmla="*/ 109710 h 387211"/>
                <a:gd name="connsiteX5" fmla="*/ 96803 w 387211"/>
                <a:gd name="connsiteY5" fmla="*/ 380759 h 387211"/>
                <a:gd name="connsiteX6" fmla="*/ 303316 w 387211"/>
                <a:gd name="connsiteY6" fmla="*/ 251688 h 387211"/>
                <a:gd name="connsiteX7" fmla="*/ 109710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93665"/>
                  </a:moveTo>
                  <a:lnTo>
                    <a:pt x="122617" y="96803"/>
                  </a:lnTo>
                  <a:lnTo>
                    <a:pt x="329130" y="251688"/>
                  </a:lnTo>
                  <a:lnTo>
                    <a:pt x="96803" y="393665"/>
                  </a:lnTo>
                  <a:close/>
                  <a:moveTo>
                    <a:pt x="109710" y="109710"/>
                  </a:moveTo>
                  <a:lnTo>
                    <a:pt x="96803" y="380759"/>
                  </a:lnTo>
                  <a:lnTo>
                    <a:pt x="303316" y="251688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7" name="Freeform: Shape 2646">
              <a:extLst>
                <a:ext uri="{FF2B5EF4-FFF2-40B4-BE49-F238E27FC236}">
                  <a16:creationId xmlns:a16="http://schemas.microsoft.com/office/drawing/2014/main" id="{17F2A4B3-B0DA-44F7-AD99-2C0C99883408}"/>
                </a:ext>
              </a:extLst>
            </p:cNvPr>
            <p:cNvSpPr/>
            <p:nvPr/>
          </p:nvSpPr>
          <p:spPr>
            <a:xfrm>
              <a:off x="4920292" y="3150503"/>
              <a:ext cx="387212" cy="387212"/>
            </a:xfrm>
            <a:custGeom>
              <a:avLst/>
              <a:gdLst>
                <a:gd name="connsiteX0" fmla="*/ 303316 w 387211"/>
                <a:gd name="connsiteY0" fmla="*/ 316223 h 387211"/>
                <a:gd name="connsiteX1" fmla="*/ 96803 w 387211"/>
                <a:gd name="connsiteY1" fmla="*/ 161338 h 387211"/>
                <a:gd name="connsiteX2" fmla="*/ 354944 w 387211"/>
                <a:gd name="connsiteY2" fmla="*/ 109710 h 387211"/>
                <a:gd name="connsiteX3" fmla="*/ 303316 w 387211"/>
                <a:gd name="connsiteY3" fmla="*/ 316223 h 387211"/>
                <a:gd name="connsiteX4" fmla="*/ 109710 w 387211"/>
                <a:gd name="connsiteY4" fmla="*/ 148431 h 387211"/>
                <a:gd name="connsiteX5" fmla="*/ 290409 w 387211"/>
                <a:gd name="connsiteY5" fmla="*/ 290409 h 387211"/>
                <a:gd name="connsiteX6" fmla="*/ 342037 w 387211"/>
                <a:gd name="connsiteY6" fmla="*/ 96803 h 387211"/>
                <a:gd name="connsiteX7" fmla="*/ 109710 w 387211"/>
                <a:gd name="connsiteY7" fmla="*/ 14843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03316" y="316223"/>
                  </a:moveTo>
                  <a:lnTo>
                    <a:pt x="96803" y="161338"/>
                  </a:lnTo>
                  <a:lnTo>
                    <a:pt x="354944" y="109710"/>
                  </a:lnTo>
                  <a:lnTo>
                    <a:pt x="303316" y="316223"/>
                  </a:lnTo>
                  <a:close/>
                  <a:moveTo>
                    <a:pt x="109710" y="148431"/>
                  </a:moveTo>
                  <a:lnTo>
                    <a:pt x="290409" y="290409"/>
                  </a:lnTo>
                  <a:lnTo>
                    <a:pt x="342037" y="96803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8" name="Freeform: Shape 2647">
              <a:extLst>
                <a:ext uri="{FF2B5EF4-FFF2-40B4-BE49-F238E27FC236}">
                  <a16:creationId xmlns:a16="http://schemas.microsoft.com/office/drawing/2014/main" id="{D51CABBA-1120-4AB0-8B5F-670A35C59FC7}"/>
                </a:ext>
              </a:extLst>
            </p:cNvPr>
            <p:cNvSpPr/>
            <p:nvPr/>
          </p:nvSpPr>
          <p:spPr>
            <a:xfrm>
              <a:off x="5462388" y="2905269"/>
              <a:ext cx="387212" cy="387212"/>
            </a:xfrm>
            <a:custGeom>
              <a:avLst/>
              <a:gdLst>
                <a:gd name="connsiteX0" fmla="*/ 96803 w 387211"/>
                <a:gd name="connsiteY0" fmla="*/ 406573 h 387211"/>
                <a:gd name="connsiteX1" fmla="*/ 238781 w 387211"/>
                <a:gd name="connsiteY1" fmla="*/ 96803 h 387211"/>
                <a:gd name="connsiteX2" fmla="*/ 329131 w 387211"/>
                <a:gd name="connsiteY2" fmla="*/ 406573 h 387211"/>
                <a:gd name="connsiteX3" fmla="*/ 96803 w 387211"/>
                <a:gd name="connsiteY3" fmla="*/ 406573 h 387211"/>
                <a:gd name="connsiteX4" fmla="*/ 251688 w 387211"/>
                <a:gd name="connsiteY4" fmla="*/ 122617 h 387211"/>
                <a:gd name="connsiteX5" fmla="*/ 122617 w 387211"/>
                <a:gd name="connsiteY5" fmla="*/ 406573 h 387211"/>
                <a:gd name="connsiteX6" fmla="*/ 342037 w 387211"/>
                <a:gd name="connsiteY6" fmla="*/ 406573 h 387211"/>
                <a:gd name="connsiteX7" fmla="*/ 251688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406573"/>
                  </a:moveTo>
                  <a:lnTo>
                    <a:pt x="238781" y="96803"/>
                  </a:lnTo>
                  <a:lnTo>
                    <a:pt x="329131" y="406573"/>
                  </a:lnTo>
                  <a:lnTo>
                    <a:pt x="96803" y="406573"/>
                  </a:lnTo>
                  <a:close/>
                  <a:moveTo>
                    <a:pt x="251688" y="122617"/>
                  </a:moveTo>
                  <a:lnTo>
                    <a:pt x="122617" y="406573"/>
                  </a:lnTo>
                  <a:lnTo>
                    <a:pt x="342037" y="406573"/>
                  </a:lnTo>
                  <a:lnTo>
                    <a:pt x="251688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9" name="Freeform: Shape 2648">
              <a:extLst>
                <a:ext uri="{FF2B5EF4-FFF2-40B4-BE49-F238E27FC236}">
                  <a16:creationId xmlns:a16="http://schemas.microsoft.com/office/drawing/2014/main" id="{F0665064-5B15-426A-A154-C5938540988B}"/>
                </a:ext>
              </a:extLst>
            </p:cNvPr>
            <p:cNvSpPr/>
            <p:nvPr/>
          </p:nvSpPr>
          <p:spPr>
            <a:xfrm>
              <a:off x="5113897" y="2802013"/>
              <a:ext cx="387212" cy="387212"/>
            </a:xfrm>
            <a:custGeom>
              <a:avLst/>
              <a:gdLst>
                <a:gd name="connsiteX0" fmla="*/ 380758 w 387211"/>
                <a:gd name="connsiteY0" fmla="*/ 380759 h 387211"/>
                <a:gd name="connsiteX1" fmla="*/ 96803 w 387211"/>
                <a:gd name="connsiteY1" fmla="*/ 354944 h 387211"/>
                <a:gd name="connsiteX2" fmla="*/ 367851 w 387211"/>
                <a:gd name="connsiteY2" fmla="*/ 96803 h 387211"/>
                <a:gd name="connsiteX3" fmla="*/ 380758 w 387211"/>
                <a:gd name="connsiteY3" fmla="*/ 380759 h 387211"/>
                <a:gd name="connsiteX4" fmla="*/ 109710 w 387211"/>
                <a:gd name="connsiteY4" fmla="*/ 354944 h 387211"/>
                <a:gd name="connsiteX5" fmla="*/ 380758 w 387211"/>
                <a:gd name="connsiteY5" fmla="*/ 380759 h 387211"/>
                <a:gd name="connsiteX6" fmla="*/ 367851 w 387211"/>
                <a:gd name="connsiteY6" fmla="*/ 122617 h 387211"/>
                <a:gd name="connsiteX7" fmla="*/ 109710 w 387211"/>
                <a:gd name="connsiteY7" fmla="*/ 35494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80758" y="380759"/>
                  </a:moveTo>
                  <a:lnTo>
                    <a:pt x="96803" y="354944"/>
                  </a:lnTo>
                  <a:lnTo>
                    <a:pt x="367851" y="96803"/>
                  </a:lnTo>
                  <a:lnTo>
                    <a:pt x="380758" y="380759"/>
                  </a:lnTo>
                  <a:close/>
                  <a:moveTo>
                    <a:pt x="109710" y="354944"/>
                  </a:moveTo>
                  <a:lnTo>
                    <a:pt x="380758" y="380759"/>
                  </a:lnTo>
                  <a:lnTo>
                    <a:pt x="367851" y="122617"/>
                  </a:lnTo>
                  <a:lnTo>
                    <a:pt x="109710" y="3549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0" name="Freeform: Shape 2649">
              <a:extLst>
                <a:ext uri="{FF2B5EF4-FFF2-40B4-BE49-F238E27FC236}">
                  <a16:creationId xmlns:a16="http://schemas.microsoft.com/office/drawing/2014/main" id="{A8C2D6CA-A09F-462E-B76D-275164F6AC6C}"/>
                </a:ext>
              </a:extLst>
            </p:cNvPr>
            <p:cNvSpPr/>
            <p:nvPr/>
          </p:nvSpPr>
          <p:spPr>
            <a:xfrm>
              <a:off x="5384946" y="2814920"/>
              <a:ext cx="387212" cy="387212"/>
            </a:xfrm>
            <a:custGeom>
              <a:avLst/>
              <a:gdLst>
                <a:gd name="connsiteX0" fmla="*/ 109710 w 387211"/>
                <a:gd name="connsiteY0" fmla="*/ 380758 h 387211"/>
                <a:gd name="connsiteX1" fmla="*/ 96803 w 387211"/>
                <a:gd name="connsiteY1" fmla="*/ 96803 h 387211"/>
                <a:gd name="connsiteX2" fmla="*/ 329130 w 387211"/>
                <a:gd name="connsiteY2" fmla="*/ 200060 h 387211"/>
                <a:gd name="connsiteX3" fmla="*/ 109710 w 387211"/>
                <a:gd name="connsiteY3" fmla="*/ 380758 h 387211"/>
                <a:gd name="connsiteX4" fmla="*/ 96803 w 387211"/>
                <a:gd name="connsiteY4" fmla="*/ 96803 h 387211"/>
                <a:gd name="connsiteX5" fmla="*/ 109710 w 387211"/>
                <a:gd name="connsiteY5" fmla="*/ 354944 h 387211"/>
                <a:gd name="connsiteX6" fmla="*/ 316223 w 387211"/>
                <a:gd name="connsiteY6" fmla="*/ 200060 h 387211"/>
                <a:gd name="connsiteX7" fmla="*/ 96803 w 38721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09710" y="380758"/>
                  </a:moveTo>
                  <a:lnTo>
                    <a:pt x="96803" y="96803"/>
                  </a:lnTo>
                  <a:lnTo>
                    <a:pt x="329130" y="200060"/>
                  </a:lnTo>
                  <a:lnTo>
                    <a:pt x="109710" y="380758"/>
                  </a:lnTo>
                  <a:close/>
                  <a:moveTo>
                    <a:pt x="96803" y="96803"/>
                  </a:moveTo>
                  <a:lnTo>
                    <a:pt x="109710" y="354944"/>
                  </a:lnTo>
                  <a:lnTo>
                    <a:pt x="316223" y="200060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1" name="Freeform: Shape 2650">
              <a:extLst>
                <a:ext uri="{FF2B5EF4-FFF2-40B4-BE49-F238E27FC236}">
                  <a16:creationId xmlns:a16="http://schemas.microsoft.com/office/drawing/2014/main" id="{1AE91132-4257-4A7C-ABCE-EF05E83F01B3}"/>
                </a:ext>
              </a:extLst>
            </p:cNvPr>
            <p:cNvSpPr/>
            <p:nvPr/>
          </p:nvSpPr>
          <p:spPr>
            <a:xfrm>
              <a:off x="5217154" y="2530964"/>
              <a:ext cx="516283" cy="516283"/>
            </a:xfrm>
            <a:custGeom>
              <a:avLst/>
              <a:gdLst>
                <a:gd name="connsiteX0" fmla="*/ 509829 w 516282"/>
                <a:gd name="connsiteY0" fmla="*/ 496922 h 516282"/>
                <a:gd name="connsiteX1" fmla="*/ 264595 w 516282"/>
                <a:gd name="connsiteY1" fmla="*/ 380758 h 516282"/>
                <a:gd name="connsiteX2" fmla="*/ 264595 w 516282"/>
                <a:gd name="connsiteY2" fmla="*/ 380758 h 516282"/>
                <a:gd name="connsiteX3" fmla="*/ 96803 w 516282"/>
                <a:gd name="connsiteY3" fmla="*/ 96803 h 516282"/>
                <a:gd name="connsiteX4" fmla="*/ 509829 w 516282"/>
                <a:gd name="connsiteY4" fmla="*/ 496922 h 516282"/>
                <a:gd name="connsiteX5" fmla="*/ 264595 w 516282"/>
                <a:gd name="connsiteY5" fmla="*/ 380758 h 516282"/>
                <a:gd name="connsiteX6" fmla="*/ 471108 w 516282"/>
                <a:gd name="connsiteY6" fmla="*/ 471108 h 516282"/>
                <a:gd name="connsiteX7" fmla="*/ 122617 w 516282"/>
                <a:gd name="connsiteY7" fmla="*/ 135524 h 516282"/>
                <a:gd name="connsiteX8" fmla="*/ 264595 w 516282"/>
                <a:gd name="connsiteY8" fmla="*/ 38075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509829" y="496922"/>
                  </a:moveTo>
                  <a:lnTo>
                    <a:pt x="264595" y="380758"/>
                  </a:lnTo>
                  <a:lnTo>
                    <a:pt x="264595" y="380758"/>
                  </a:lnTo>
                  <a:lnTo>
                    <a:pt x="96803" y="96803"/>
                  </a:lnTo>
                  <a:lnTo>
                    <a:pt x="509829" y="496922"/>
                  </a:lnTo>
                  <a:close/>
                  <a:moveTo>
                    <a:pt x="264595" y="380758"/>
                  </a:moveTo>
                  <a:lnTo>
                    <a:pt x="471108" y="471108"/>
                  </a:lnTo>
                  <a:lnTo>
                    <a:pt x="122617" y="135524"/>
                  </a:lnTo>
                  <a:lnTo>
                    <a:pt x="264595" y="3807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2" name="Freeform: Shape 2651">
              <a:extLst>
                <a:ext uri="{FF2B5EF4-FFF2-40B4-BE49-F238E27FC236}">
                  <a16:creationId xmlns:a16="http://schemas.microsoft.com/office/drawing/2014/main" id="{C85921ED-7121-4A40-A53A-B176DDA28E0D}"/>
                </a:ext>
              </a:extLst>
            </p:cNvPr>
            <p:cNvSpPr/>
            <p:nvPr/>
          </p:nvSpPr>
          <p:spPr>
            <a:xfrm>
              <a:off x="5023548" y="2608407"/>
              <a:ext cx="516283" cy="645353"/>
            </a:xfrm>
            <a:custGeom>
              <a:avLst/>
              <a:gdLst>
                <a:gd name="connsiteX0" fmla="*/ 187153 w 516282"/>
                <a:gd name="connsiteY0" fmla="*/ 561457 h 645353"/>
                <a:gd name="connsiteX1" fmla="*/ 96803 w 516282"/>
                <a:gd name="connsiteY1" fmla="*/ 96803 h 645353"/>
                <a:gd name="connsiteX2" fmla="*/ 458201 w 516282"/>
                <a:gd name="connsiteY2" fmla="*/ 316223 h 645353"/>
                <a:gd name="connsiteX3" fmla="*/ 187153 w 516282"/>
                <a:gd name="connsiteY3" fmla="*/ 561457 h 645353"/>
                <a:gd name="connsiteX4" fmla="*/ 109710 w 516282"/>
                <a:gd name="connsiteY4" fmla="*/ 96803 h 645353"/>
                <a:gd name="connsiteX5" fmla="*/ 200059 w 516282"/>
                <a:gd name="connsiteY5" fmla="*/ 548550 h 645353"/>
                <a:gd name="connsiteX6" fmla="*/ 458201 w 516282"/>
                <a:gd name="connsiteY6" fmla="*/ 303316 h 645353"/>
                <a:gd name="connsiteX7" fmla="*/ 109710 w 516282"/>
                <a:gd name="connsiteY7" fmla="*/ 9680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187153" y="561457"/>
                  </a:moveTo>
                  <a:lnTo>
                    <a:pt x="96803" y="96803"/>
                  </a:lnTo>
                  <a:lnTo>
                    <a:pt x="458201" y="316223"/>
                  </a:lnTo>
                  <a:lnTo>
                    <a:pt x="187153" y="561457"/>
                  </a:lnTo>
                  <a:close/>
                  <a:moveTo>
                    <a:pt x="109710" y="96803"/>
                  </a:moveTo>
                  <a:lnTo>
                    <a:pt x="200059" y="548550"/>
                  </a:lnTo>
                  <a:lnTo>
                    <a:pt x="458201" y="303316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3" name="Freeform: Shape 2652">
              <a:extLst>
                <a:ext uri="{FF2B5EF4-FFF2-40B4-BE49-F238E27FC236}">
                  <a16:creationId xmlns:a16="http://schemas.microsoft.com/office/drawing/2014/main" id="{1D9F0975-0E88-484A-9974-7F8161E85C9A}"/>
                </a:ext>
              </a:extLst>
            </p:cNvPr>
            <p:cNvSpPr/>
            <p:nvPr/>
          </p:nvSpPr>
          <p:spPr>
            <a:xfrm>
              <a:off x="5023548" y="2466429"/>
              <a:ext cx="387212" cy="258141"/>
            </a:xfrm>
            <a:custGeom>
              <a:avLst/>
              <a:gdLst>
                <a:gd name="connsiteX0" fmla="*/ 96803 w 387211"/>
                <a:gd name="connsiteY0" fmla="*/ 238781 h 258141"/>
                <a:gd name="connsiteX1" fmla="*/ 238781 w 387211"/>
                <a:gd name="connsiteY1" fmla="*/ 96803 h 258141"/>
                <a:gd name="connsiteX2" fmla="*/ 303316 w 387211"/>
                <a:gd name="connsiteY2" fmla="*/ 174245 h 258141"/>
                <a:gd name="connsiteX3" fmla="*/ 96803 w 387211"/>
                <a:gd name="connsiteY3" fmla="*/ 238781 h 258141"/>
                <a:gd name="connsiteX4" fmla="*/ 238781 w 387211"/>
                <a:gd name="connsiteY4" fmla="*/ 109710 h 258141"/>
                <a:gd name="connsiteX5" fmla="*/ 122617 w 387211"/>
                <a:gd name="connsiteY5" fmla="*/ 225874 h 258141"/>
                <a:gd name="connsiteX6" fmla="*/ 303316 w 387211"/>
                <a:gd name="connsiteY6" fmla="*/ 174245 h 258141"/>
                <a:gd name="connsiteX7" fmla="*/ 238781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96803" y="238781"/>
                  </a:moveTo>
                  <a:lnTo>
                    <a:pt x="238781" y="96803"/>
                  </a:lnTo>
                  <a:lnTo>
                    <a:pt x="303316" y="174245"/>
                  </a:lnTo>
                  <a:lnTo>
                    <a:pt x="96803" y="238781"/>
                  </a:lnTo>
                  <a:close/>
                  <a:moveTo>
                    <a:pt x="238781" y="109710"/>
                  </a:moveTo>
                  <a:lnTo>
                    <a:pt x="122617" y="225874"/>
                  </a:lnTo>
                  <a:lnTo>
                    <a:pt x="303316" y="174245"/>
                  </a:lnTo>
                  <a:lnTo>
                    <a:pt x="23878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4" name="Freeform: Shape 2653">
              <a:extLst>
                <a:ext uri="{FF2B5EF4-FFF2-40B4-BE49-F238E27FC236}">
                  <a16:creationId xmlns:a16="http://schemas.microsoft.com/office/drawing/2014/main" id="{412B46AB-8254-4CAB-A3E9-AC5CEACA4A97}"/>
                </a:ext>
              </a:extLst>
            </p:cNvPr>
            <p:cNvSpPr/>
            <p:nvPr/>
          </p:nvSpPr>
          <p:spPr>
            <a:xfrm>
              <a:off x="5023548" y="2556778"/>
              <a:ext cx="516283" cy="387212"/>
            </a:xfrm>
            <a:custGeom>
              <a:avLst/>
              <a:gdLst>
                <a:gd name="connsiteX0" fmla="*/ 471108 w 516282"/>
                <a:gd name="connsiteY0" fmla="*/ 367851 h 387211"/>
                <a:gd name="connsiteX1" fmla="*/ 96803 w 516282"/>
                <a:gd name="connsiteY1" fmla="*/ 148431 h 387211"/>
                <a:gd name="connsiteX2" fmla="*/ 303316 w 516282"/>
                <a:gd name="connsiteY2" fmla="*/ 96803 h 387211"/>
                <a:gd name="connsiteX3" fmla="*/ 303316 w 516282"/>
                <a:gd name="connsiteY3" fmla="*/ 96803 h 387211"/>
                <a:gd name="connsiteX4" fmla="*/ 471108 w 516282"/>
                <a:gd name="connsiteY4" fmla="*/ 367851 h 387211"/>
                <a:gd name="connsiteX5" fmla="*/ 109710 w 516282"/>
                <a:gd name="connsiteY5" fmla="*/ 148431 h 387211"/>
                <a:gd name="connsiteX6" fmla="*/ 445294 w 516282"/>
                <a:gd name="connsiteY6" fmla="*/ 354944 h 387211"/>
                <a:gd name="connsiteX7" fmla="*/ 290409 w 516282"/>
                <a:gd name="connsiteY7" fmla="*/ 109710 h 387211"/>
                <a:gd name="connsiteX8" fmla="*/ 109710 w 516282"/>
                <a:gd name="connsiteY8" fmla="*/ 14843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471108" y="367851"/>
                  </a:moveTo>
                  <a:lnTo>
                    <a:pt x="96803" y="148431"/>
                  </a:lnTo>
                  <a:lnTo>
                    <a:pt x="303316" y="96803"/>
                  </a:lnTo>
                  <a:lnTo>
                    <a:pt x="303316" y="96803"/>
                  </a:lnTo>
                  <a:lnTo>
                    <a:pt x="471108" y="367851"/>
                  </a:lnTo>
                  <a:close/>
                  <a:moveTo>
                    <a:pt x="109710" y="148431"/>
                  </a:moveTo>
                  <a:lnTo>
                    <a:pt x="445294" y="354944"/>
                  </a:lnTo>
                  <a:lnTo>
                    <a:pt x="290409" y="109710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5" name="Freeform: Shape 2654">
              <a:extLst>
                <a:ext uri="{FF2B5EF4-FFF2-40B4-BE49-F238E27FC236}">
                  <a16:creationId xmlns:a16="http://schemas.microsoft.com/office/drawing/2014/main" id="{A31D109F-B612-4963-BCA3-292A3B53672C}"/>
                </a:ext>
              </a:extLst>
            </p:cNvPr>
            <p:cNvSpPr/>
            <p:nvPr/>
          </p:nvSpPr>
          <p:spPr>
            <a:xfrm>
              <a:off x="4842849" y="2453522"/>
              <a:ext cx="387212" cy="258141"/>
            </a:xfrm>
            <a:custGeom>
              <a:avLst/>
              <a:gdLst>
                <a:gd name="connsiteX0" fmla="*/ 277502 w 387211"/>
                <a:gd name="connsiteY0" fmla="*/ 251688 h 258141"/>
                <a:gd name="connsiteX1" fmla="*/ 96803 w 387211"/>
                <a:gd name="connsiteY1" fmla="*/ 96803 h 258141"/>
                <a:gd name="connsiteX2" fmla="*/ 406573 w 387211"/>
                <a:gd name="connsiteY2" fmla="*/ 122617 h 258141"/>
                <a:gd name="connsiteX3" fmla="*/ 277502 w 387211"/>
                <a:gd name="connsiteY3" fmla="*/ 251688 h 258141"/>
                <a:gd name="connsiteX4" fmla="*/ 122617 w 387211"/>
                <a:gd name="connsiteY4" fmla="*/ 96803 h 258141"/>
                <a:gd name="connsiteX5" fmla="*/ 277502 w 387211"/>
                <a:gd name="connsiteY5" fmla="*/ 238781 h 258141"/>
                <a:gd name="connsiteX6" fmla="*/ 406573 w 387211"/>
                <a:gd name="connsiteY6" fmla="*/ 109710 h 258141"/>
                <a:gd name="connsiteX7" fmla="*/ 122617 w 387211"/>
                <a:gd name="connsiteY7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277502" y="251688"/>
                  </a:moveTo>
                  <a:lnTo>
                    <a:pt x="96803" y="96803"/>
                  </a:lnTo>
                  <a:lnTo>
                    <a:pt x="406573" y="122617"/>
                  </a:lnTo>
                  <a:lnTo>
                    <a:pt x="277502" y="251688"/>
                  </a:lnTo>
                  <a:close/>
                  <a:moveTo>
                    <a:pt x="122617" y="96803"/>
                  </a:moveTo>
                  <a:lnTo>
                    <a:pt x="277502" y="238781"/>
                  </a:lnTo>
                  <a:lnTo>
                    <a:pt x="406573" y="109710"/>
                  </a:lnTo>
                  <a:lnTo>
                    <a:pt x="122617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6" name="Freeform: Shape 2655">
              <a:extLst>
                <a:ext uri="{FF2B5EF4-FFF2-40B4-BE49-F238E27FC236}">
                  <a16:creationId xmlns:a16="http://schemas.microsoft.com/office/drawing/2014/main" id="{809E3B07-A358-41CB-B768-99807DC4E115}"/>
                </a:ext>
              </a:extLst>
            </p:cNvPr>
            <p:cNvSpPr/>
            <p:nvPr/>
          </p:nvSpPr>
          <p:spPr>
            <a:xfrm>
              <a:off x="4481451" y="2363172"/>
              <a:ext cx="516283" cy="387212"/>
            </a:xfrm>
            <a:custGeom>
              <a:avLst/>
              <a:gdLst>
                <a:gd name="connsiteX0" fmla="*/ 96803 w 516282"/>
                <a:gd name="connsiteY0" fmla="*/ 354944 h 387211"/>
                <a:gd name="connsiteX1" fmla="*/ 161338 w 516282"/>
                <a:gd name="connsiteY1" fmla="*/ 96803 h 387211"/>
                <a:gd name="connsiteX2" fmla="*/ 161338 w 516282"/>
                <a:gd name="connsiteY2" fmla="*/ 96803 h 387211"/>
                <a:gd name="connsiteX3" fmla="*/ 484015 w 516282"/>
                <a:gd name="connsiteY3" fmla="*/ 174245 h 387211"/>
                <a:gd name="connsiteX4" fmla="*/ 96803 w 516282"/>
                <a:gd name="connsiteY4" fmla="*/ 354944 h 387211"/>
                <a:gd name="connsiteX5" fmla="*/ 174245 w 516282"/>
                <a:gd name="connsiteY5" fmla="*/ 109710 h 387211"/>
                <a:gd name="connsiteX6" fmla="*/ 109710 w 516282"/>
                <a:gd name="connsiteY6" fmla="*/ 342037 h 387211"/>
                <a:gd name="connsiteX7" fmla="*/ 471108 w 516282"/>
                <a:gd name="connsiteY7" fmla="*/ 187152 h 387211"/>
                <a:gd name="connsiteX8" fmla="*/ 174245 w 516282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96803" y="354944"/>
                  </a:moveTo>
                  <a:lnTo>
                    <a:pt x="161338" y="96803"/>
                  </a:lnTo>
                  <a:lnTo>
                    <a:pt x="161338" y="96803"/>
                  </a:lnTo>
                  <a:lnTo>
                    <a:pt x="484015" y="174245"/>
                  </a:lnTo>
                  <a:lnTo>
                    <a:pt x="96803" y="354944"/>
                  </a:lnTo>
                  <a:close/>
                  <a:moveTo>
                    <a:pt x="174245" y="109710"/>
                  </a:moveTo>
                  <a:lnTo>
                    <a:pt x="109710" y="342037"/>
                  </a:lnTo>
                  <a:lnTo>
                    <a:pt x="471108" y="187152"/>
                  </a:lnTo>
                  <a:lnTo>
                    <a:pt x="17424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7" name="Freeform: Shape 2656">
              <a:extLst>
                <a:ext uri="{FF2B5EF4-FFF2-40B4-BE49-F238E27FC236}">
                  <a16:creationId xmlns:a16="http://schemas.microsoft.com/office/drawing/2014/main" id="{47A63E80-4595-4565-924A-80D2967F91CF}"/>
                </a:ext>
              </a:extLst>
            </p:cNvPr>
            <p:cNvSpPr/>
            <p:nvPr/>
          </p:nvSpPr>
          <p:spPr>
            <a:xfrm>
              <a:off x="3952261" y="2130845"/>
              <a:ext cx="516283" cy="258141"/>
            </a:xfrm>
            <a:custGeom>
              <a:avLst/>
              <a:gdLst>
                <a:gd name="connsiteX0" fmla="*/ 96803 w 516282"/>
                <a:gd name="connsiteY0" fmla="*/ 264595 h 258141"/>
                <a:gd name="connsiteX1" fmla="*/ 458201 w 516282"/>
                <a:gd name="connsiteY1" fmla="*/ 96803 h 258141"/>
                <a:gd name="connsiteX2" fmla="*/ 445294 w 516282"/>
                <a:gd name="connsiteY2" fmla="*/ 251688 h 258141"/>
                <a:gd name="connsiteX3" fmla="*/ 96803 w 516282"/>
                <a:gd name="connsiteY3" fmla="*/ 264595 h 258141"/>
                <a:gd name="connsiteX4" fmla="*/ 445294 w 516282"/>
                <a:gd name="connsiteY4" fmla="*/ 109710 h 258141"/>
                <a:gd name="connsiteX5" fmla="*/ 122617 w 516282"/>
                <a:gd name="connsiteY5" fmla="*/ 264595 h 258141"/>
                <a:gd name="connsiteX6" fmla="*/ 432387 w 516282"/>
                <a:gd name="connsiteY6" fmla="*/ 251688 h 258141"/>
                <a:gd name="connsiteX7" fmla="*/ 445294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96803" y="264595"/>
                  </a:moveTo>
                  <a:lnTo>
                    <a:pt x="458201" y="96803"/>
                  </a:lnTo>
                  <a:lnTo>
                    <a:pt x="445294" y="251688"/>
                  </a:lnTo>
                  <a:lnTo>
                    <a:pt x="96803" y="264595"/>
                  </a:lnTo>
                  <a:close/>
                  <a:moveTo>
                    <a:pt x="445294" y="109710"/>
                  </a:moveTo>
                  <a:lnTo>
                    <a:pt x="122617" y="264595"/>
                  </a:lnTo>
                  <a:lnTo>
                    <a:pt x="432387" y="251688"/>
                  </a:lnTo>
                  <a:lnTo>
                    <a:pt x="44529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8" name="Freeform: Shape 2657">
              <a:extLst>
                <a:ext uri="{FF2B5EF4-FFF2-40B4-BE49-F238E27FC236}">
                  <a16:creationId xmlns:a16="http://schemas.microsoft.com/office/drawing/2014/main" id="{02FBD181-549D-4FF4-A2A2-713ACFC9A443}"/>
                </a:ext>
              </a:extLst>
            </p:cNvPr>
            <p:cNvSpPr/>
            <p:nvPr/>
          </p:nvSpPr>
          <p:spPr>
            <a:xfrm>
              <a:off x="4300752" y="2130845"/>
              <a:ext cx="258141" cy="387212"/>
            </a:xfrm>
            <a:custGeom>
              <a:avLst/>
              <a:gdLst>
                <a:gd name="connsiteX0" fmla="*/ 277502 w 258141"/>
                <a:gd name="connsiteY0" fmla="*/ 290409 h 387211"/>
                <a:gd name="connsiteX1" fmla="*/ 96803 w 258141"/>
                <a:gd name="connsiteY1" fmla="*/ 251688 h 387211"/>
                <a:gd name="connsiteX2" fmla="*/ 109710 w 258141"/>
                <a:gd name="connsiteY2" fmla="*/ 96803 h 387211"/>
                <a:gd name="connsiteX3" fmla="*/ 277502 w 258141"/>
                <a:gd name="connsiteY3" fmla="*/ 290409 h 387211"/>
                <a:gd name="connsiteX4" fmla="*/ 96803 w 258141"/>
                <a:gd name="connsiteY4" fmla="*/ 238781 h 387211"/>
                <a:gd name="connsiteX5" fmla="*/ 251688 w 258141"/>
                <a:gd name="connsiteY5" fmla="*/ 264595 h 387211"/>
                <a:gd name="connsiteX6" fmla="*/ 96803 w 258141"/>
                <a:gd name="connsiteY6" fmla="*/ 96803 h 387211"/>
                <a:gd name="connsiteX7" fmla="*/ 96803 w 258141"/>
                <a:gd name="connsiteY7" fmla="*/ 23878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77502" y="290409"/>
                  </a:moveTo>
                  <a:lnTo>
                    <a:pt x="96803" y="251688"/>
                  </a:lnTo>
                  <a:lnTo>
                    <a:pt x="109710" y="96803"/>
                  </a:lnTo>
                  <a:lnTo>
                    <a:pt x="277502" y="290409"/>
                  </a:lnTo>
                  <a:close/>
                  <a:moveTo>
                    <a:pt x="96803" y="238781"/>
                  </a:moveTo>
                  <a:lnTo>
                    <a:pt x="251688" y="264595"/>
                  </a:lnTo>
                  <a:lnTo>
                    <a:pt x="96803" y="96803"/>
                  </a:lnTo>
                  <a:lnTo>
                    <a:pt x="96803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9" name="Freeform: Shape 2658">
              <a:extLst>
                <a:ext uri="{FF2B5EF4-FFF2-40B4-BE49-F238E27FC236}">
                  <a16:creationId xmlns:a16="http://schemas.microsoft.com/office/drawing/2014/main" id="{B2D2859F-5A0A-4744-B658-3850474D12ED}"/>
                </a:ext>
              </a:extLst>
            </p:cNvPr>
            <p:cNvSpPr/>
            <p:nvPr/>
          </p:nvSpPr>
          <p:spPr>
            <a:xfrm>
              <a:off x="4300752" y="1898518"/>
              <a:ext cx="387212" cy="387212"/>
            </a:xfrm>
            <a:custGeom>
              <a:avLst/>
              <a:gdLst>
                <a:gd name="connsiteX0" fmla="*/ 96803 w 387211"/>
                <a:gd name="connsiteY0" fmla="*/ 354944 h 387211"/>
                <a:gd name="connsiteX1" fmla="*/ 174245 w 387211"/>
                <a:gd name="connsiteY1" fmla="*/ 161338 h 387211"/>
                <a:gd name="connsiteX2" fmla="*/ 329130 w 387211"/>
                <a:gd name="connsiteY2" fmla="*/ 96803 h 387211"/>
                <a:gd name="connsiteX3" fmla="*/ 96803 w 387211"/>
                <a:gd name="connsiteY3" fmla="*/ 354944 h 387211"/>
                <a:gd name="connsiteX4" fmla="*/ 174245 w 387211"/>
                <a:gd name="connsiteY4" fmla="*/ 161338 h 387211"/>
                <a:gd name="connsiteX5" fmla="*/ 109710 w 387211"/>
                <a:gd name="connsiteY5" fmla="*/ 329130 h 387211"/>
                <a:gd name="connsiteX6" fmla="*/ 290409 w 387211"/>
                <a:gd name="connsiteY6" fmla="*/ 109710 h 387211"/>
                <a:gd name="connsiteX7" fmla="*/ 174245 w 387211"/>
                <a:gd name="connsiteY7" fmla="*/ 16133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54944"/>
                  </a:moveTo>
                  <a:lnTo>
                    <a:pt x="174245" y="161338"/>
                  </a:lnTo>
                  <a:lnTo>
                    <a:pt x="329130" y="96803"/>
                  </a:lnTo>
                  <a:lnTo>
                    <a:pt x="96803" y="354944"/>
                  </a:lnTo>
                  <a:close/>
                  <a:moveTo>
                    <a:pt x="174245" y="161338"/>
                  </a:moveTo>
                  <a:lnTo>
                    <a:pt x="109710" y="329130"/>
                  </a:lnTo>
                  <a:lnTo>
                    <a:pt x="290409" y="109710"/>
                  </a:lnTo>
                  <a:lnTo>
                    <a:pt x="174245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0" name="Freeform: Shape 2659">
              <a:extLst>
                <a:ext uri="{FF2B5EF4-FFF2-40B4-BE49-F238E27FC236}">
                  <a16:creationId xmlns:a16="http://schemas.microsoft.com/office/drawing/2014/main" id="{FE491802-DB66-4A8D-8672-2F790EEDEDDC}"/>
                </a:ext>
              </a:extLst>
            </p:cNvPr>
            <p:cNvSpPr/>
            <p:nvPr/>
          </p:nvSpPr>
          <p:spPr>
            <a:xfrm>
              <a:off x="4507265" y="1885611"/>
              <a:ext cx="387212" cy="516283"/>
            </a:xfrm>
            <a:custGeom>
              <a:avLst/>
              <a:gdLst>
                <a:gd name="connsiteX0" fmla="*/ 251688 w 387211"/>
                <a:gd name="connsiteY0" fmla="*/ 484015 h 516282"/>
                <a:gd name="connsiteX1" fmla="*/ 96803 w 387211"/>
                <a:gd name="connsiteY1" fmla="*/ 96803 h 516282"/>
                <a:gd name="connsiteX2" fmla="*/ 367851 w 387211"/>
                <a:gd name="connsiteY2" fmla="*/ 225874 h 516282"/>
                <a:gd name="connsiteX3" fmla="*/ 251688 w 387211"/>
                <a:gd name="connsiteY3" fmla="*/ 484015 h 516282"/>
                <a:gd name="connsiteX4" fmla="*/ 109710 w 387211"/>
                <a:gd name="connsiteY4" fmla="*/ 122617 h 516282"/>
                <a:gd name="connsiteX5" fmla="*/ 251688 w 387211"/>
                <a:gd name="connsiteY5" fmla="*/ 471108 h 516282"/>
                <a:gd name="connsiteX6" fmla="*/ 354944 w 387211"/>
                <a:gd name="connsiteY6" fmla="*/ 225874 h 516282"/>
                <a:gd name="connsiteX7" fmla="*/ 109710 w 387211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51688" y="484015"/>
                  </a:moveTo>
                  <a:lnTo>
                    <a:pt x="96803" y="96803"/>
                  </a:lnTo>
                  <a:lnTo>
                    <a:pt x="367851" y="225874"/>
                  </a:lnTo>
                  <a:lnTo>
                    <a:pt x="251688" y="484015"/>
                  </a:lnTo>
                  <a:close/>
                  <a:moveTo>
                    <a:pt x="109710" y="122617"/>
                  </a:moveTo>
                  <a:lnTo>
                    <a:pt x="251688" y="471108"/>
                  </a:lnTo>
                  <a:lnTo>
                    <a:pt x="354944" y="225874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1" name="Freeform: Shape 2660">
              <a:extLst>
                <a:ext uri="{FF2B5EF4-FFF2-40B4-BE49-F238E27FC236}">
                  <a16:creationId xmlns:a16="http://schemas.microsoft.com/office/drawing/2014/main" id="{CFFA535F-6D7D-489E-85BB-86C3CCA230CE}"/>
                </a:ext>
              </a:extLst>
            </p:cNvPr>
            <p:cNvSpPr/>
            <p:nvPr/>
          </p:nvSpPr>
          <p:spPr>
            <a:xfrm>
              <a:off x="4545986" y="2272823"/>
              <a:ext cx="516283" cy="258141"/>
            </a:xfrm>
            <a:custGeom>
              <a:avLst/>
              <a:gdLst>
                <a:gd name="connsiteX0" fmla="*/ 419480 w 516282"/>
                <a:gd name="connsiteY0" fmla="*/ 277502 h 258141"/>
                <a:gd name="connsiteX1" fmla="*/ 96803 w 516282"/>
                <a:gd name="connsiteY1" fmla="*/ 200060 h 258141"/>
                <a:gd name="connsiteX2" fmla="*/ 212967 w 516282"/>
                <a:gd name="connsiteY2" fmla="*/ 96803 h 258141"/>
                <a:gd name="connsiteX3" fmla="*/ 419480 w 516282"/>
                <a:gd name="connsiteY3" fmla="*/ 277502 h 258141"/>
                <a:gd name="connsiteX4" fmla="*/ 109710 w 516282"/>
                <a:gd name="connsiteY4" fmla="*/ 200060 h 258141"/>
                <a:gd name="connsiteX5" fmla="*/ 406573 w 516282"/>
                <a:gd name="connsiteY5" fmla="*/ 277502 h 258141"/>
                <a:gd name="connsiteX6" fmla="*/ 212967 w 516282"/>
                <a:gd name="connsiteY6" fmla="*/ 109710 h 258141"/>
                <a:gd name="connsiteX7" fmla="*/ 109710 w 516282"/>
                <a:gd name="connsiteY7" fmla="*/ 20006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419480" y="277502"/>
                  </a:moveTo>
                  <a:lnTo>
                    <a:pt x="96803" y="200060"/>
                  </a:lnTo>
                  <a:lnTo>
                    <a:pt x="212967" y="96803"/>
                  </a:lnTo>
                  <a:lnTo>
                    <a:pt x="419480" y="277502"/>
                  </a:lnTo>
                  <a:close/>
                  <a:moveTo>
                    <a:pt x="109710" y="200060"/>
                  </a:moveTo>
                  <a:lnTo>
                    <a:pt x="406573" y="277502"/>
                  </a:lnTo>
                  <a:lnTo>
                    <a:pt x="212967" y="109710"/>
                  </a:lnTo>
                  <a:lnTo>
                    <a:pt x="109710" y="2000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2" name="Freeform: Shape 2661">
              <a:extLst>
                <a:ext uri="{FF2B5EF4-FFF2-40B4-BE49-F238E27FC236}">
                  <a16:creationId xmlns:a16="http://schemas.microsoft.com/office/drawing/2014/main" id="{B1BF5A1A-DCFF-4A74-AA26-334D656E8315}"/>
                </a:ext>
              </a:extLst>
            </p:cNvPr>
            <p:cNvSpPr/>
            <p:nvPr/>
          </p:nvSpPr>
          <p:spPr>
            <a:xfrm>
              <a:off x="4662150" y="2014682"/>
              <a:ext cx="387212" cy="516283"/>
            </a:xfrm>
            <a:custGeom>
              <a:avLst/>
              <a:gdLst>
                <a:gd name="connsiteX0" fmla="*/ 316223 w 387211"/>
                <a:gd name="connsiteY0" fmla="*/ 445294 h 516282"/>
                <a:gd name="connsiteX1" fmla="*/ 96803 w 387211"/>
                <a:gd name="connsiteY1" fmla="*/ 354944 h 516282"/>
                <a:gd name="connsiteX2" fmla="*/ 212966 w 387211"/>
                <a:gd name="connsiteY2" fmla="*/ 96803 h 516282"/>
                <a:gd name="connsiteX3" fmla="*/ 316223 w 387211"/>
                <a:gd name="connsiteY3" fmla="*/ 445294 h 516282"/>
                <a:gd name="connsiteX4" fmla="*/ 109710 w 387211"/>
                <a:gd name="connsiteY4" fmla="*/ 354944 h 516282"/>
                <a:gd name="connsiteX5" fmla="*/ 316223 w 387211"/>
                <a:gd name="connsiteY5" fmla="*/ 445294 h 516282"/>
                <a:gd name="connsiteX6" fmla="*/ 212966 w 387211"/>
                <a:gd name="connsiteY6" fmla="*/ 122617 h 516282"/>
                <a:gd name="connsiteX7" fmla="*/ 109710 w 387211"/>
                <a:gd name="connsiteY7" fmla="*/ 35494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16223" y="445294"/>
                  </a:moveTo>
                  <a:lnTo>
                    <a:pt x="96803" y="354944"/>
                  </a:lnTo>
                  <a:lnTo>
                    <a:pt x="212966" y="96803"/>
                  </a:lnTo>
                  <a:lnTo>
                    <a:pt x="316223" y="445294"/>
                  </a:lnTo>
                  <a:close/>
                  <a:moveTo>
                    <a:pt x="109710" y="354944"/>
                  </a:moveTo>
                  <a:lnTo>
                    <a:pt x="316223" y="445294"/>
                  </a:lnTo>
                  <a:lnTo>
                    <a:pt x="212966" y="122617"/>
                  </a:lnTo>
                  <a:lnTo>
                    <a:pt x="109710" y="3549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3" name="Freeform: Shape 2662">
              <a:extLst>
                <a:ext uri="{FF2B5EF4-FFF2-40B4-BE49-F238E27FC236}">
                  <a16:creationId xmlns:a16="http://schemas.microsoft.com/office/drawing/2014/main" id="{5563C9E3-BF10-4AD2-A326-94C83A502D96}"/>
                </a:ext>
              </a:extLst>
            </p:cNvPr>
            <p:cNvSpPr/>
            <p:nvPr/>
          </p:nvSpPr>
          <p:spPr>
            <a:xfrm>
              <a:off x="4649243" y="2259916"/>
              <a:ext cx="387212" cy="387212"/>
            </a:xfrm>
            <a:custGeom>
              <a:avLst/>
              <a:gdLst>
                <a:gd name="connsiteX0" fmla="*/ 316223 w 387211"/>
                <a:gd name="connsiteY0" fmla="*/ 290409 h 387211"/>
                <a:gd name="connsiteX1" fmla="*/ 96803 w 387211"/>
                <a:gd name="connsiteY1" fmla="*/ 96803 h 387211"/>
                <a:gd name="connsiteX2" fmla="*/ 329130 w 387211"/>
                <a:gd name="connsiteY2" fmla="*/ 187152 h 387211"/>
                <a:gd name="connsiteX3" fmla="*/ 316223 w 387211"/>
                <a:gd name="connsiteY3" fmla="*/ 290409 h 387211"/>
                <a:gd name="connsiteX4" fmla="*/ 122617 w 387211"/>
                <a:gd name="connsiteY4" fmla="*/ 122617 h 387211"/>
                <a:gd name="connsiteX5" fmla="*/ 303316 w 387211"/>
                <a:gd name="connsiteY5" fmla="*/ 290409 h 387211"/>
                <a:gd name="connsiteX6" fmla="*/ 316223 w 387211"/>
                <a:gd name="connsiteY6" fmla="*/ 200060 h 387211"/>
                <a:gd name="connsiteX7" fmla="*/ 122617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16223" y="290409"/>
                  </a:moveTo>
                  <a:lnTo>
                    <a:pt x="96803" y="96803"/>
                  </a:lnTo>
                  <a:lnTo>
                    <a:pt x="329130" y="187152"/>
                  </a:lnTo>
                  <a:lnTo>
                    <a:pt x="316223" y="290409"/>
                  </a:lnTo>
                  <a:close/>
                  <a:moveTo>
                    <a:pt x="122617" y="122617"/>
                  </a:moveTo>
                  <a:lnTo>
                    <a:pt x="303316" y="290409"/>
                  </a:lnTo>
                  <a:lnTo>
                    <a:pt x="316223" y="200060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4" name="Freeform: Shape 2663">
              <a:extLst>
                <a:ext uri="{FF2B5EF4-FFF2-40B4-BE49-F238E27FC236}">
                  <a16:creationId xmlns:a16="http://schemas.microsoft.com/office/drawing/2014/main" id="{B394E56D-281A-4F73-8D1C-40DEFD2BAE2C}"/>
                </a:ext>
              </a:extLst>
            </p:cNvPr>
            <p:cNvSpPr/>
            <p:nvPr/>
          </p:nvSpPr>
          <p:spPr>
            <a:xfrm>
              <a:off x="4855756" y="2350265"/>
              <a:ext cx="516283" cy="258141"/>
            </a:xfrm>
            <a:custGeom>
              <a:avLst/>
              <a:gdLst>
                <a:gd name="connsiteX0" fmla="*/ 419480 w 516282"/>
                <a:gd name="connsiteY0" fmla="*/ 225874 h 258141"/>
                <a:gd name="connsiteX1" fmla="*/ 96803 w 516282"/>
                <a:gd name="connsiteY1" fmla="*/ 200060 h 258141"/>
                <a:gd name="connsiteX2" fmla="*/ 109710 w 516282"/>
                <a:gd name="connsiteY2" fmla="*/ 96803 h 258141"/>
                <a:gd name="connsiteX3" fmla="*/ 419480 w 516282"/>
                <a:gd name="connsiteY3" fmla="*/ 225874 h 258141"/>
                <a:gd name="connsiteX4" fmla="*/ 109710 w 516282"/>
                <a:gd name="connsiteY4" fmla="*/ 200060 h 258141"/>
                <a:gd name="connsiteX5" fmla="*/ 380758 w 516282"/>
                <a:gd name="connsiteY5" fmla="*/ 225874 h 258141"/>
                <a:gd name="connsiteX6" fmla="*/ 122617 w 516282"/>
                <a:gd name="connsiteY6" fmla="*/ 122617 h 258141"/>
                <a:gd name="connsiteX7" fmla="*/ 109710 w 516282"/>
                <a:gd name="connsiteY7" fmla="*/ 20006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419480" y="225874"/>
                  </a:moveTo>
                  <a:lnTo>
                    <a:pt x="96803" y="200060"/>
                  </a:lnTo>
                  <a:lnTo>
                    <a:pt x="109710" y="96803"/>
                  </a:lnTo>
                  <a:lnTo>
                    <a:pt x="419480" y="225874"/>
                  </a:lnTo>
                  <a:close/>
                  <a:moveTo>
                    <a:pt x="109710" y="200060"/>
                  </a:moveTo>
                  <a:lnTo>
                    <a:pt x="380758" y="225874"/>
                  </a:lnTo>
                  <a:lnTo>
                    <a:pt x="122617" y="122617"/>
                  </a:lnTo>
                  <a:lnTo>
                    <a:pt x="109710" y="2000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5" name="Freeform: Shape 2664">
              <a:extLst>
                <a:ext uri="{FF2B5EF4-FFF2-40B4-BE49-F238E27FC236}">
                  <a16:creationId xmlns:a16="http://schemas.microsoft.com/office/drawing/2014/main" id="{1EC6A375-89C8-4062-A798-C97C63D4DBCD}"/>
                </a:ext>
              </a:extLst>
            </p:cNvPr>
            <p:cNvSpPr/>
            <p:nvPr/>
          </p:nvSpPr>
          <p:spPr>
            <a:xfrm>
              <a:off x="4868663" y="2350265"/>
              <a:ext cx="387212" cy="258141"/>
            </a:xfrm>
            <a:custGeom>
              <a:avLst/>
              <a:gdLst>
                <a:gd name="connsiteX0" fmla="*/ 393665 w 387211"/>
                <a:gd name="connsiteY0" fmla="*/ 225874 h 258141"/>
                <a:gd name="connsiteX1" fmla="*/ 96803 w 387211"/>
                <a:gd name="connsiteY1" fmla="*/ 109710 h 258141"/>
                <a:gd name="connsiteX2" fmla="*/ 406573 w 387211"/>
                <a:gd name="connsiteY2" fmla="*/ 96803 h 258141"/>
                <a:gd name="connsiteX3" fmla="*/ 393665 w 387211"/>
                <a:gd name="connsiteY3" fmla="*/ 225874 h 258141"/>
                <a:gd name="connsiteX4" fmla="*/ 122617 w 387211"/>
                <a:gd name="connsiteY4" fmla="*/ 109710 h 258141"/>
                <a:gd name="connsiteX5" fmla="*/ 393665 w 387211"/>
                <a:gd name="connsiteY5" fmla="*/ 212967 h 258141"/>
                <a:gd name="connsiteX6" fmla="*/ 406573 w 387211"/>
                <a:gd name="connsiteY6" fmla="*/ 96803 h 258141"/>
                <a:gd name="connsiteX7" fmla="*/ 122617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93665" y="225874"/>
                  </a:moveTo>
                  <a:lnTo>
                    <a:pt x="96803" y="109710"/>
                  </a:lnTo>
                  <a:lnTo>
                    <a:pt x="406573" y="96803"/>
                  </a:lnTo>
                  <a:lnTo>
                    <a:pt x="393665" y="225874"/>
                  </a:lnTo>
                  <a:close/>
                  <a:moveTo>
                    <a:pt x="122617" y="109710"/>
                  </a:moveTo>
                  <a:lnTo>
                    <a:pt x="393665" y="212967"/>
                  </a:lnTo>
                  <a:lnTo>
                    <a:pt x="406573" y="96803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6" name="Freeform: Shape 2665">
              <a:extLst>
                <a:ext uri="{FF2B5EF4-FFF2-40B4-BE49-F238E27FC236}">
                  <a16:creationId xmlns:a16="http://schemas.microsoft.com/office/drawing/2014/main" id="{395B960B-60F6-4D0B-A0E4-9461A131F077}"/>
                </a:ext>
              </a:extLst>
            </p:cNvPr>
            <p:cNvSpPr/>
            <p:nvPr/>
          </p:nvSpPr>
          <p:spPr>
            <a:xfrm>
              <a:off x="5152619" y="2324451"/>
              <a:ext cx="258141" cy="387212"/>
            </a:xfrm>
            <a:custGeom>
              <a:avLst/>
              <a:gdLst>
                <a:gd name="connsiteX0" fmla="*/ 174245 w 258141"/>
                <a:gd name="connsiteY0" fmla="*/ 329130 h 387211"/>
                <a:gd name="connsiteX1" fmla="*/ 96803 w 258141"/>
                <a:gd name="connsiteY1" fmla="*/ 238781 h 387211"/>
                <a:gd name="connsiteX2" fmla="*/ 96803 w 258141"/>
                <a:gd name="connsiteY2" fmla="*/ 238781 h 387211"/>
                <a:gd name="connsiteX3" fmla="*/ 109710 w 258141"/>
                <a:gd name="connsiteY3" fmla="*/ 96803 h 387211"/>
                <a:gd name="connsiteX4" fmla="*/ 174245 w 258141"/>
                <a:gd name="connsiteY4" fmla="*/ 329130 h 387211"/>
                <a:gd name="connsiteX5" fmla="*/ 109710 w 258141"/>
                <a:gd name="connsiteY5" fmla="*/ 238781 h 387211"/>
                <a:gd name="connsiteX6" fmla="*/ 161338 w 258141"/>
                <a:gd name="connsiteY6" fmla="*/ 303316 h 387211"/>
                <a:gd name="connsiteX7" fmla="*/ 109710 w 258141"/>
                <a:gd name="connsiteY7" fmla="*/ 135524 h 387211"/>
                <a:gd name="connsiteX8" fmla="*/ 109710 w 258141"/>
                <a:gd name="connsiteY8" fmla="*/ 23878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387211">
                  <a:moveTo>
                    <a:pt x="174245" y="329130"/>
                  </a:moveTo>
                  <a:lnTo>
                    <a:pt x="96803" y="238781"/>
                  </a:lnTo>
                  <a:lnTo>
                    <a:pt x="96803" y="238781"/>
                  </a:lnTo>
                  <a:lnTo>
                    <a:pt x="109710" y="96803"/>
                  </a:lnTo>
                  <a:lnTo>
                    <a:pt x="174245" y="329130"/>
                  </a:lnTo>
                  <a:close/>
                  <a:moveTo>
                    <a:pt x="109710" y="238781"/>
                  </a:moveTo>
                  <a:lnTo>
                    <a:pt x="161338" y="303316"/>
                  </a:lnTo>
                  <a:lnTo>
                    <a:pt x="109710" y="135524"/>
                  </a:lnTo>
                  <a:lnTo>
                    <a:pt x="109710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7" name="Freeform: Shape 2666">
              <a:extLst>
                <a:ext uri="{FF2B5EF4-FFF2-40B4-BE49-F238E27FC236}">
                  <a16:creationId xmlns:a16="http://schemas.microsoft.com/office/drawing/2014/main" id="{3C630A56-2EE9-4F3D-9CF7-E3C8CC54FF44}"/>
                </a:ext>
              </a:extLst>
            </p:cNvPr>
            <p:cNvSpPr/>
            <p:nvPr/>
          </p:nvSpPr>
          <p:spPr>
            <a:xfrm>
              <a:off x="4778313" y="1975961"/>
              <a:ext cx="387212" cy="516283"/>
            </a:xfrm>
            <a:custGeom>
              <a:avLst/>
              <a:gdLst>
                <a:gd name="connsiteX0" fmla="*/ 200059 w 387211"/>
                <a:gd name="connsiteY0" fmla="*/ 496922 h 516282"/>
                <a:gd name="connsiteX1" fmla="*/ 96803 w 387211"/>
                <a:gd name="connsiteY1" fmla="*/ 148431 h 516282"/>
                <a:gd name="connsiteX2" fmla="*/ 290409 w 387211"/>
                <a:gd name="connsiteY2" fmla="*/ 96803 h 516282"/>
                <a:gd name="connsiteX3" fmla="*/ 200059 w 387211"/>
                <a:gd name="connsiteY3" fmla="*/ 496922 h 516282"/>
                <a:gd name="connsiteX4" fmla="*/ 96803 w 387211"/>
                <a:gd name="connsiteY4" fmla="*/ 148431 h 516282"/>
                <a:gd name="connsiteX5" fmla="*/ 200059 w 387211"/>
                <a:gd name="connsiteY5" fmla="*/ 471108 h 516282"/>
                <a:gd name="connsiteX6" fmla="*/ 290409 w 387211"/>
                <a:gd name="connsiteY6" fmla="*/ 109710 h 516282"/>
                <a:gd name="connsiteX7" fmla="*/ 96803 w 387211"/>
                <a:gd name="connsiteY7" fmla="*/ 14843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00059" y="496922"/>
                  </a:moveTo>
                  <a:lnTo>
                    <a:pt x="96803" y="148431"/>
                  </a:lnTo>
                  <a:lnTo>
                    <a:pt x="290409" y="96803"/>
                  </a:lnTo>
                  <a:lnTo>
                    <a:pt x="200059" y="496922"/>
                  </a:lnTo>
                  <a:close/>
                  <a:moveTo>
                    <a:pt x="96803" y="148431"/>
                  </a:moveTo>
                  <a:lnTo>
                    <a:pt x="200059" y="471108"/>
                  </a:lnTo>
                  <a:lnTo>
                    <a:pt x="290409" y="109710"/>
                  </a:lnTo>
                  <a:lnTo>
                    <a:pt x="96803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8" name="Freeform: Shape 2667">
              <a:extLst>
                <a:ext uri="{FF2B5EF4-FFF2-40B4-BE49-F238E27FC236}">
                  <a16:creationId xmlns:a16="http://schemas.microsoft.com/office/drawing/2014/main" id="{D727FFE5-8A18-4B6B-A031-1A70ED4DA84E}"/>
                </a:ext>
              </a:extLst>
            </p:cNvPr>
            <p:cNvSpPr/>
            <p:nvPr/>
          </p:nvSpPr>
          <p:spPr>
            <a:xfrm>
              <a:off x="4868663" y="1975961"/>
              <a:ext cx="387212" cy="516283"/>
            </a:xfrm>
            <a:custGeom>
              <a:avLst/>
              <a:gdLst>
                <a:gd name="connsiteX0" fmla="*/ 96803 w 387211"/>
                <a:gd name="connsiteY0" fmla="*/ 484015 h 516282"/>
                <a:gd name="connsiteX1" fmla="*/ 187153 w 387211"/>
                <a:gd name="connsiteY1" fmla="*/ 96803 h 516282"/>
                <a:gd name="connsiteX2" fmla="*/ 393665 w 387211"/>
                <a:gd name="connsiteY2" fmla="*/ 471108 h 516282"/>
                <a:gd name="connsiteX3" fmla="*/ 96803 w 387211"/>
                <a:gd name="connsiteY3" fmla="*/ 484015 h 516282"/>
                <a:gd name="connsiteX4" fmla="*/ 200059 w 387211"/>
                <a:gd name="connsiteY4" fmla="*/ 109710 h 516282"/>
                <a:gd name="connsiteX5" fmla="*/ 109710 w 387211"/>
                <a:gd name="connsiteY5" fmla="*/ 471108 h 516282"/>
                <a:gd name="connsiteX6" fmla="*/ 393665 w 387211"/>
                <a:gd name="connsiteY6" fmla="*/ 458201 h 516282"/>
                <a:gd name="connsiteX7" fmla="*/ 200059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96803" y="484015"/>
                  </a:moveTo>
                  <a:lnTo>
                    <a:pt x="187153" y="96803"/>
                  </a:lnTo>
                  <a:lnTo>
                    <a:pt x="393665" y="471108"/>
                  </a:lnTo>
                  <a:lnTo>
                    <a:pt x="96803" y="484015"/>
                  </a:lnTo>
                  <a:close/>
                  <a:moveTo>
                    <a:pt x="200059" y="109710"/>
                  </a:moveTo>
                  <a:lnTo>
                    <a:pt x="109710" y="471108"/>
                  </a:lnTo>
                  <a:lnTo>
                    <a:pt x="393665" y="458201"/>
                  </a:lnTo>
                  <a:lnTo>
                    <a:pt x="200059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9" name="Freeform: Shape 2668">
              <a:extLst>
                <a:ext uri="{FF2B5EF4-FFF2-40B4-BE49-F238E27FC236}">
                  <a16:creationId xmlns:a16="http://schemas.microsoft.com/office/drawing/2014/main" id="{179046E0-C709-4EA9-BC35-3825E6397505}"/>
                </a:ext>
              </a:extLst>
            </p:cNvPr>
            <p:cNvSpPr/>
            <p:nvPr/>
          </p:nvSpPr>
          <p:spPr>
            <a:xfrm>
              <a:off x="4959013" y="1975961"/>
              <a:ext cx="516283" cy="516283"/>
            </a:xfrm>
            <a:custGeom>
              <a:avLst/>
              <a:gdLst>
                <a:gd name="connsiteX0" fmla="*/ 303316 w 516282"/>
                <a:gd name="connsiteY0" fmla="*/ 471108 h 516282"/>
                <a:gd name="connsiteX1" fmla="*/ 96803 w 516282"/>
                <a:gd name="connsiteY1" fmla="*/ 96803 h 516282"/>
                <a:gd name="connsiteX2" fmla="*/ 445294 w 516282"/>
                <a:gd name="connsiteY2" fmla="*/ 225874 h 516282"/>
                <a:gd name="connsiteX3" fmla="*/ 303316 w 516282"/>
                <a:gd name="connsiteY3" fmla="*/ 471108 h 516282"/>
                <a:gd name="connsiteX4" fmla="*/ 109710 w 516282"/>
                <a:gd name="connsiteY4" fmla="*/ 109710 h 516282"/>
                <a:gd name="connsiteX5" fmla="*/ 303316 w 516282"/>
                <a:gd name="connsiteY5" fmla="*/ 458201 h 516282"/>
                <a:gd name="connsiteX6" fmla="*/ 432386 w 516282"/>
                <a:gd name="connsiteY6" fmla="*/ 225874 h 516282"/>
                <a:gd name="connsiteX7" fmla="*/ 109710 w 516282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303316" y="471108"/>
                  </a:moveTo>
                  <a:lnTo>
                    <a:pt x="96803" y="96803"/>
                  </a:lnTo>
                  <a:lnTo>
                    <a:pt x="445294" y="225874"/>
                  </a:lnTo>
                  <a:lnTo>
                    <a:pt x="303316" y="471108"/>
                  </a:lnTo>
                  <a:close/>
                  <a:moveTo>
                    <a:pt x="109710" y="109710"/>
                  </a:moveTo>
                  <a:lnTo>
                    <a:pt x="303316" y="458201"/>
                  </a:lnTo>
                  <a:lnTo>
                    <a:pt x="432386" y="225874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0" name="Freeform: Shape 2669">
              <a:extLst>
                <a:ext uri="{FF2B5EF4-FFF2-40B4-BE49-F238E27FC236}">
                  <a16:creationId xmlns:a16="http://schemas.microsoft.com/office/drawing/2014/main" id="{740B453B-7453-42A8-99B7-C0C4AD8238AF}"/>
                </a:ext>
              </a:extLst>
            </p:cNvPr>
            <p:cNvSpPr/>
            <p:nvPr/>
          </p:nvSpPr>
          <p:spPr>
            <a:xfrm>
              <a:off x="4507265" y="1756540"/>
              <a:ext cx="387212" cy="387212"/>
            </a:xfrm>
            <a:custGeom>
              <a:avLst/>
              <a:gdLst>
                <a:gd name="connsiteX0" fmla="*/ 367851 w 387211"/>
                <a:gd name="connsiteY0" fmla="*/ 367851 h 387211"/>
                <a:gd name="connsiteX1" fmla="*/ 96803 w 387211"/>
                <a:gd name="connsiteY1" fmla="*/ 238781 h 387211"/>
                <a:gd name="connsiteX2" fmla="*/ 238781 w 387211"/>
                <a:gd name="connsiteY2" fmla="*/ 96803 h 387211"/>
                <a:gd name="connsiteX3" fmla="*/ 367851 w 387211"/>
                <a:gd name="connsiteY3" fmla="*/ 367851 h 387211"/>
                <a:gd name="connsiteX4" fmla="*/ 109710 w 387211"/>
                <a:gd name="connsiteY4" fmla="*/ 238781 h 387211"/>
                <a:gd name="connsiteX5" fmla="*/ 354944 w 387211"/>
                <a:gd name="connsiteY5" fmla="*/ 354944 h 387211"/>
                <a:gd name="connsiteX6" fmla="*/ 238781 w 387211"/>
                <a:gd name="connsiteY6" fmla="*/ 109710 h 387211"/>
                <a:gd name="connsiteX7" fmla="*/ 109710 w 387211"/>
                <a:gd name="connsiteY7" fmla="*/ 23878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67851" y="367851"/>
                  </a:moveTo>
                  <a:lnTo>
                    <a:pt x="96803" y="238781"/>
                  </a:lnTo>
                  <a:lnTo>
                    <a:pt x="238781" y="96803"/>
                  </a:lnTo>
                  <a:lnTo>
                    <a:pt x="367851" y="367851"/>
                  </a:lnTo>
                  <a:close/>
                  <a:moveTo>
                    <a:pt x="109710" y="238781"/>
                  </a:moveTo>
                  <a:lnTo>
                    <a:pt x="354944" y="354944"/>
                  </a:lnTo>
                  <a:lnTo>
                    <a:pt x="238781" y="109710"/>
                  </a:lnTo>
                  <a:lnTo>
                    <a:pt x="109710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1" name="Freeform: Shape 2670">
              <a:extLst>
                <a:ext uri="{FF2B5EF4-FFF2-40B4-BE49-F238E27FC236}">
                  <a16:creationId xmlns:a16="http://schemas.microsoft.com/office/drawing/2014/main" id="{E6AC5C9B-7115-4432-9035-C07FE80776E1}"/>
                </a:ext>
              </a:extLst>
            </p:cNvPr>
            <p:cNvSpPr/>
            <p:nvPr/>
          </p:nvSpPr>
          <p:spPr>
            <a:xfrm>
              <a:off x="4636336" y="1756540"/>
              <a:ext cx="516283" cy="387212"/>
            </a:xfrm>
            <a:custGeom>
              <a:avLst/>
              <a:gdLst>
                <a:gd name="connsiteX0" fmla="*/ 225874 w 516282"/>
                <a:gd name="connsiteY0" fmla="*/ 367851 h 387211"/>
                <a:gd name="connsiteX1" fmla="*/ 225874 w 516282"/>
                <a:gd name="connsiteY1" fmla="*/ 367851 h 387211"/>
                <a:gd name="connsiteX2" fmla="*/ 96803 w 516282"/>
                <a:gd name="connsiteY2" fmla="*/ 96803 h 387211"/>
                <a:gd name="connsiteX3" fmla="*/ 432386 w 516282"/>
                <a:gd name="connsiteY3" fmla="*/ 329130 h 387211"/>
                <a:gd name="connsiteX4" fmla="*/ 225874 w 516282"/>
                <a:gd name="connsiteY4" fmla="*/ 367851 h 387211"/>
                <a:gd name="connsiteX5" fmla="*/ 109710 w 516282"/>
                <a:gd name="connsiteY5" fmla="*/ 122617 h 387211"/>
                <a:gd name="connsiteX6" fmla="*/ 225874 w 516282"/>
                <a:gd name="connsiteY6" fmla="*/ 367851 h 387211"/>
                <a:gd name="connsiteX7" fmla="*/ 406572 w 516282"/>
                <a:gd name="connsiteY7" fmla="*/ 329130 h 387211"/>
                <a:gd name="connsiteX8" fmla="*/ 109710 w 516282"/>
                <a:gd name="connsiteY8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225874" y="367851"/>
                  </a:moveTo>
                  <a:lnTo>
                    <a:pt x="225874" y="367851"/>
                  </a:lnTo>
                  <a:lnTo>
                    <a:pt x="96803" y="96803"/>
                  </a:lnTo>
                  <a:lnTo>
                    <a:pt x="432386" y="329130"/>
                  </a:lnTo>
                  <a:lnTo>
                    <a:pt x="225874" y="367851"/>
                  </a:lnTo>
                  <a:close/>
                  <a:moveTo>
                    <a:pt x="109710" y="122617"/>
                  </a:moveTo>
                  <a:lnTo>
                    <a:pt x="225874" y="367851"/>
                  </a:lnTo>
                  <a:lnTo>
                    <a:pt x="406572" y="329130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2" name="Freeform: Shape 2671">
              <a:extLst>
                <a:ext uri="{FF2B5EF4-FFF2-40B4-BE49-F238E27FC236}">
                  <a16:creationId xmlns:a16="http://schemas.microsoft.com/office/drawing/2014/main" id="{6628F4E9-91FD-454E-B094-40872461537E}"/>
                </a:ext>
              </a:extLst>
            </p:cNvPr>
            <p:cNvSpPr/>
            <p:nvPr/>
          </p:nvSpPr>
          <p:spPr>
            <a:xfrm>
              <a:off x="4365288" y="1679098"/>
              <a:ext cx="258141" cy="387212"/>
            </a:xfrm>
            <a:custGeom>
              <a:avLst/>
              <a:gdLst>
                <a:gd name="connsiteX0" fmla="*/ 96803 w 258141"/>
                <a:gd name="connsiteY0" fmla="*/ 380758 h 387211"/>
                <a:gd name="connsiteX1" fmla="*/ 135524 w 258141"/>
                <a:gd name="connsiteY1" fmla="*/ 96803 h 387211"/>
                <a:gd name="connsiteX2" fmla="*/ 251688 w 258141"/>
                <a:gd name="connsiteY2" fmla="*/ 329130 h 387211"/>
                <a:gd name="connsiteX3" fmla="*/ 96803 w 258141"/>
                <a:gd name="connsiteY3" fmla="*/ 380758 h 387211"/>
                <a:gd name="connsiteX4" fmla="*/ 135524 w 258141"/>
                <a:gd name="connsiteY4" fmla="*/ 109710 h 387211"/>
                <a:gd name="connsiteX5" fmla="*/ 109710 w 258141"/>
                <a:gd name="connsiteY5" fmla="*/ 367851 h 387211"/>
                <a:gd name="connsiteX6" fmla="*/ 238781 w 258141"/>
                <a:gd name="connsiteY6" fmla="*/ 316223 h 387211"/>
                <a:gd name="connsiteX7" fmla="*/ 135524 w 25814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80758"/>
                  </a:moveTo>
                  <a:lnTo>
                    <a:pt x="135524" y="96803"/>
                  </a:lnTo>
                  <a:lnTo>
                    <a:pt x="251688" y="329130"/>
                  </a:lnTo>
                  <a:lnTo>
                    <a:pt x="96803" y="380758"/>
                  </a:lnTo>
                  <a:close/>
                  <a:moveTo>
                    <a:pt x="135524" y="109710"/>
                  </a:moveTo>
                  <a:lnTo>
                    <a:pt x="109710" y="367851"/>
                  </a:lnTo>
                  <a:lnTo>
                    <a:pt x="238781" y="316223"/>
                  </a:lnTo>
                  <a:lnTo>
                    <a:pt x="13552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3" name="Freeform: Shape 2672">
              <a:extLst>
                <a:ext uri="{FF2B5EF4-FFF2-40B4-BE49-F238E27FC236}">
                  <a16:creationId xmlns:a16="http://schemas.microsoft.com/office/drawing/2014/main" id="{8A28CF33-91DA-41E6-A5F3-48B6D19DF3FE}"/>
                </a:ext>
              </a:extLst>
            </p:cNvPr>
            <p:cNvSpPr/>
            <p:nvPr/>
          </p:nvSpPr>
          <p:spPr>
            <a:xfrm>
              <a:off x="4391102" y="1679098"/>
              <a:ext cx="387212" cy="387212"/>
            </a:xfrm>
            <a:custGeom>
              <a:avLst/>
              <a:gdLst>
                <a:gd name="connsiteX0" fmla="*/ 212967 w 387211"/>
                <a:gd name="connsiteY0" fmla="*/ 329130 h 387211"/>
                <a:gd name="connsiteX1" fmla="*/ 96803 w 387211"/>
                <a:gd name="connsiteY1" fmla="*/ 96803 h 387211"/>
                <a:gd name="connsiteX2" fmla="*/ 342037 w 387211"/>
                <a:gd name="connsiteY2" fmla="*/ 187152 h 387211"/>
                <a:gd name="connsiteX3" fmla="*/ 212967 w 387211"/>
                <a:gd name="connsiteY3" fmla="*/ 329130 h 387211"/>
                <a:gd name="connsiteX4" fmla="*/ 122617 w 387211"/>
                <a:gd name="connsiteY4" fmla="*/ 109710 h 387211"/>
                <a:gd name="connsiteX5" fmla="*/ 225874 w 387211"/>
                <a:gd name="connsiteY5" fmla="*/ 316223 h 387211"/>
                <a:gd name="connsiteX6" fmla="*/ 354944 w 387211"/>
                <a:gd name="connsiteY6" fmla="*/ 187152 h 387211"/>
                <a:gd name="connsiteX7" fmla="*/ 122617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12967" y="329130"/>
                  </a:moveTo>
                  <a:lnTo>
                    <a:pt x="96803" y="96803"/>
                  </a:lnTo>
                  <a:lnTo>
                    <a:pt x="342037" y="187152"/>
                  </a:lnTo>
                  <a:lnTo>
                    <a:pt x="212967" y="329130"/>
                  </a:lnTo>
                  <a:close/>
                  <a:moveTo>
                    <a:pt x="122617" y="109710"/>
                  </a:moveTo>
                  <a:lnTo>
                    <a:pt x="225874" y="316223"/>
                  </a:lnTo>
                  <a:lnTo>
                    <a:pt x="354944" y="187152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4" name="Freeform: Shape 2673">
              <a:extLst>
                <a:ext uri="{FF2B5EF4-FFF2-40B4-BE49-F238E27FC236}">
                  <a16:creationId xmlns:a16="http://schemas.microsoft.com/office/drawing/2014/main" id="{0741B68C-3810-4C53-9E08-3D881A73D030}"/>
                </a:ext>
              </a:extLst>
            </p:cNvPr>
            <p:cNvSpPr/>
            <p:nvPr/>
          </p:nvSpPr>
          <p:spPr>
            <a:xfrm>
              <a:off x="4520172" y="1162815"/>
              <a:ext cx="387212" cy="387212"/>
            </a:xfrm>
            <a:custGeom>
              <a:avLst/>
              <a:gdLst>
                <a:gd name="connsiteX0" fmla="*/ 96803 w 387211"/>
                <a:gd name="connsiteY0" fmla="*/ 406573 h 387211"/>
                <a:gd name="connsiteX1" fmla="*/ 380759 w 387211"/>
                <a:gd name="connsiteY1" fmla="*/ 96803 h 387211"/>
                <a:gd name="connsiteX2" fmla="*/ 406573 w 387211"/>
                <a:gd name="connsiteY2" fmla="*/ 303316 h 387211"/>
                <a:gd name="connsiteX3" fmla="*/ 96803 w 387211"/>
                <a:gd name="connsiteY3" fmla="*/ 406573 h 387211"/>
                <a:gd name="connsiteX4" fmla="*/ 380759 w 387211"/>
                <a:gd name="connsiteY4" fmla="*/ 109710 h 387211"/>
                <a:gd name="connsiteX5" fmla="*/ 109710 w 387211"/>
                <a:gd name="connsiteY5" fmla="*/ 393665 h 387211"/>
                <a:gd name="connsiteX6" fmla="*/ 406573 w 387211"/>
                <a:gd name="connsiteY6" fmla="*/ 290409 h 387211"/>
                <a:gd name="connsiteX7" fmla="*/ 380759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406573"/>
                  </a:moveTo>
                  <a:lnTo>
                    <a:pt x="380759" y="96803"/>
                  </a:lnTo>
                  <a:lnTo>
                    <a:pt x="406573" y="303316"/>
                  </a:lnTo>
                  <a:lnTo>
                    <a:pt x="96803" y="406573"/>
                  </a:lnTo>
                  <a:close/>
                  <a:moveTo>
                    <a:pt x="380759" y="109710"/>
                  </a:moveTo>
                  <a:lnTo>
                    <a:pt x="109710" y="393665"/>
                  </a:lnTo>
                  <a:lnTo>
                    <a:pt x="406573" y="290409"/>
                  </a:lnTo>
                  <a:lnTo>
                    <a:pt x="380759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5" name="Freeform: Shape 2674">
              <a:extLst>
                <a:ext uri="{FF2B5EF4-FFF2-40B4-BE49-F238E27FC236}">
                  <a16:creationId xmlns:a16="http://schemas.microsoft.com/office/drawing/2014/main" id="{D3C121FC-C025-42C9-91F2-39176F56BAB7}"/>
                </a:ext>
              </a:extLst>
            </p:cNvPr>
            <p:cNvSpPr/>
            <p:nvPr/>
          </p:nvSpPr>
          <p:spPr>
            <a:xfrm>
              <a:off x="4804128" y="1162815"/>
              <a:ext cx="645353" cy="387212"/>
            </a:xfrm>
            <a:custGeom>
              <a:avLst/>
              <a:gdLst>
                <a:gd name="connsiteX0" fmla="*/ 122617 w 645353"/>
                <a:gd name="connsiteY0" fmla="*/ 303316 h 387211"/>
                <a:gd name="connsiteX1" fmla="*/ 96803 w 645353"/>
                <a:gd name="connsiteY1" fmla="*/ 96803 h 387211"/>
                <a:gd name="connsiteX2" fmla="*/ 651807 w 645353"/>
                <a:gd name="connsiteY2" fmla="*/ 135524 h 387211"/>
                <a:gd name="connsiteX3" fmla="*/ 122617 w 645353"/>
                <a:gd name="connsiteY3" fmla="*/ 303316 h 387211"/>
                <a:gd name="connsiteX4" fmla="*/ 109710 w 645353"/>
                <a:gd name="connsiteY4" fmla="*/ 96803 h 387211"/>
                <a:gd name="connsiteX5" fmla="*/ 135524 w 645353"/>
                <a:gd name="connsiteY5" fmla="*/ 290409 h 387211"/>
                <a:gd name="connsiteX6" fmla="*/ 613086 w 645353"/>
                <a:gd name="connsiteY6" fmla="*/ 135524 h 387211"/>
                <a:gd name="connsiteX7" fmla="*/ 109710 w 645353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122617" y="303316"/>
                  </a:moveTo>
                  <a:lnTo>
                    <a:pt x="96803" y="96803"/>
                  </a:lnTo>
                  <a:lnTo>
                    <a:pt x="651807" y="135524"/>
                  </a:lnTo>
                  <a:lnTo>
                    <a:pt x="122617" y="303316"/>
                  </a:lnTo>
                  <a:close/>
                  <a:moveTo>
                    <a:pt x="109710" y="96803"/>
                  </a:moveTo>
                  <a:lnTo>
                    <a:pt x="135524" y="290409"/>
                  </a:lnTo>
                  <a:lnTo>
                    <a:pt x="613086" y="135524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6" name="Freeform: Shape 2675">
              <a:extLst>
                <a:ext uri="{FF2B5EF4-FFF2-40B4-BE49-F238E27FC236}">
                  <a16:creationId xmlns:a16="http://schemas.microsoft.com/office/drawing/2014/main" id="{1398AFD4-23A1-46BB-AB68-9122319A2CDD}"/>
                </a:ext>
              </a:extLst>
            </p:cNvPr>
            <p:cNvSpPr/>
            <p:nvPr/>
          </p:nvSpPr>
          <p:spPr>
            <a:xfrm>
              <a:off x="4287845" y="1149908"/>
              <a:ext cx="645353" cy="387212"/>
            </a:xfrm>
            <a:custGeom>
              <a:avLst/>
              <a:gdLst>
                <a:gd name="connsiteX0" fmla="*/ 342037 w 645353"/>
                <a:gd name="connsiteY0" fmla="*/ 419480 h 387211"/>
                <a:gd name="connsiteX1" fmla="*/ 96803 w 645353"/>
                <a:gd name="connsiteY1" fmla="*/ 135524 h 387211"/>
                <a:gd name="connsiteX2" fmla="*/ 625992 w 645353"/>
                <a:gd name="connsiteY2" fmla="*/ 96803 h 387211"/>
                <a:gd name="connsiteX3" fmla="*/ 342037 w 645353"/>
                <a:gd name="connsiteY3" fmla="*/ 419480 h 387211"/>
                <a:gd name="connsiteX4" fmla="*/ 109710 w 645353"/>
                <a:gd name="connsiteY4" fmla="*/ 148431 h 387211"/>
                <a:gd name="connsiteX5" fmla="*/ 342037 w 645353"/>
                <a:gd name="connsiteY5" fmla="*/ 406573 h 387211"/>
                <a:gd name="connsiteX6" fmla="*/ 613086 w 645353"/>
                <a:gd name="connsiteY6" fmla="*/ 109710 h 387211"/>
                <a:gd name="connsiteX7" fmla="*/ 109710 w 645353"/>
                <a:gd name="connsiteY7" fmla="*/ 14843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342037" y="419480"/>
                  </a:moveTo>
                  <a:lnTo>
                    <a:pt x="96803" y="135524"/>
                  </a:lnTo>
                  <a:lnTo>
                    <a:pt x="625992" y="96803"/>
                  </a:lnTo>
                  <a:lnTo>
                    <a:pt x="342037" y="419480"/>
                  </a:lnTo>
                  <a:close/>
                  <a:moveTo>
                    <a:pt x="109710" y="148431"/>
                  </a:moveTo>
                  <a:lnTo>
                    <a:pt x="342037" y="406573"/>
                  </a:lnTo>
                  <a:lnTo>
                    <a:pt x="613086" y="109710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7" name="Freeform: Shape 2676">
              <a:extLst>
                <a:ext uri="{FF2B5EF4-FFF2-40B4-BE49-F238E27FC236}">
                  <a16:creationId xmlns:a16="http://schemas.microsoft.com/office/drawing/2014/main" id="{342366CC-CD7D-47F0-9001-FDE39405A20C}"/>
                </a:ext>
              </a:extLst>
            </p:cNvPr>
            <p:cNvSpPr/>
            <p:nvPr/>
          </p:nvSpPr>
          <p:spPr>
            <a:xfrm>
              <a:off x="3707027" y="1240258"/>
              <a:ext cx="387212" cy="258141"/>
            </a:xfrm>
            <a:custGeom>
              <a:avLst/>
              <a:gdLst>
                <a:gd name="connsiteX0" fmla="*/ 96803 w 387211"/>
                <a:gd name="connsiteY0" fmla="*/ 200059 h 258141"/>
                <a:gd name="connsiteX1" fmla="*/ 122617 w 387211"/>
                <a:gd name="connsiteY1" fmla="*/ 148431 h 258141"/>
                <a:gd name="connsiteX2" fmla="*/ 290409 w 387211"/>
                <a:gd name="connsiteY2" fmla="*/ 96803 h 258141"/>
                <a:gd name="connsiteX3" fmla="*/ 290409 w 387211"/>
                <a:gd name="connsiteY3" fmla="*/ 96803 h 258141"/>
                <a:gd name="connsiteX4" fmla="*/ 96803 w 387211"/>
                <a:gd name="connsiteY4" fmla="*/ 200059 h 258141"/>
                <a:gd name="connsiteX5" fmla="*/ 122617 w 387211"/>
                <a:gd name="connsiteY5" fmla="*/ 148431 h 258141"/>
                <a:gd name="connsiteX6" fmla="*/ 109710 w 387211"/>
                <a:gd name="connsiteY6" fmla="*/ 187152 h 258141"/>
                <a:gd name="connsiteX7" fmla="*/ 251688 w 387211"/>
                <a:gd name="connsiteY7" fmla="*/ 109710 h 258141"/>
                <a:gd name="connsiteX8" fmla="*/ 122617 w 387211"/>
                <a:gd name="connsiteY8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258141">
                  <a:moveTo>
                    <a:pt x="96803" y="200059"/>
                  </a:moveTo>
                  <a:lnTo>
                    <a:pt x="122617" y="148431"/>
                  </a:lnTo>
                  <a:lnTo>
                    <a:pt x="290409" y="96803"/>
                  </a:lnTo>
                  <a:lnTo>
                    <a:pt x="290409" y="96803"/>
                  </a:lnTo>
                  <a:lnTo>
                    <a:pt x="96803" y="200059"/>
                  </a:lnTo>
                  <a:close/>
                  <a:moveTo>
                    <a:pt x="122617" y="148431"/>
                  </a:moveTo>
                  <a:lnTo>
                    <a:pt x="109710" y="187152"/>
                  </a:lnTo>
                  <a:lnTo>
                    <a:pt x="251688" y="109710"/>
                  </a:lnTo>
                  <a:lnTo>
                    <a:pt x="122617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8" name="Freeform: Shape 2677">
              <a:extLst>
                <a:ext uri="{FF2B5EF4-FFF2-40B4-BE49-F238E27FC236}">
                  <a16:creationId xmlns:a16="http://schemas.microsoft.com/office/drawing/2014/main" id="{BBDB59FF-B037-4CE5-8B74-CA37C63CD72C}"/>
                </a:ext>
              </a:extLst>
            </p:cNvPr>
            <p:cNvSpPr/>
            <p:nvPr/>
          </p:nvSpPr>
          <p:spPr>
            <a:xfrm>
              <a:off x="3319815" y="1975961"/>
              <a:ext cx="645353" cy="516283"/>
            </a:xfrm>
            <a:custGeom>
              <a:avLst/>
              <a:gdLst>
                <a:gd name="connsiteX0" fmla="*/ 561457 w 645353"/>
                <a:gd name="connsiteY0" fmla="*/ 535643 h 516282"/>
                <a:gd name="connsiteX1" fmla="*/ 96803 w 645353"/>
                <a:gd name="connsiteY1" fmla="*/ 161338 h 516282"/>
                <a:gd name="connsiteX2" fmla="*/ 561457 w 645353"/>
                <a:gd name="connsiteY2" fmla="*/ 96803 h 516282"/>
                <a:gd name="connsiteX3" fmla="*/ 561457 w 645353"/>
                <a:gd name="connsiteY3" fmla="*/ 535643 h 516282"/>
                <a:gd name="connsiteX4" fmla="*/ 122617 w 645353"/>
                <a:gd name="connsiteY4" fmla="*/ 174245 h 516282"/>
                <a:gd name="connsiteX5" fmla="*/ 561457 w 645353"/>
                <a:gd name="connsiteY5" fmla="*/ 522736 h 516282"/>
                <a:gd name="connsiteX6" fmla="*/ 548550 w 645353"/>
                <a:gd name="connsiteY6" fmla="*/ 109710 h 516282"/>
                <a:gd name="connsiteX7" fmla="*/ 122617 w 645353"/>
                <a:gd name="connsiteY7" fmla="*/ 17424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561457" y="535643"/>
                  </a:moveTo>
                  <a:lnTo>
                    <a:pt x="96803" y="161338"/>
                  </a:lnTo>
                  <a:lnTo>
                    <a:pt x="561457" y="96803"/>
                  </a:lnTo>
                  <a:lnTo>
                    <a:pt x="561457" y="535643"/>
                  </a:lnTo>
                  <a:close/>
                  <a:moveTo>
                    <a:pt x="122617" y="174245"/>
                  </a:moveTo>
                  <a:lnTo>
                    <a:pt x="561457" y="522736"/>
                  </a:lnTo>
                  <a:lnTo>
                    <a:pt x="548550" y="109710"/>
                  </a:lnTo>
                  <a:lnTo>
                    <a:pt x="122617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9" name="Freeform: Shape 2678">
              <a:extLst>
                <a:ext uri="{FF2B5EF4-FFF2-40B4-BE49-F238E27FC236}">
                  <a16:creationId xmlns:a16="http://schemas.microsoft.com/office/drawing/2014/main" id="{5F50A491-2A35-4322-8157-3E4029864454}"/>
                </a:ext>
              </a:extLst>
            </p:cNvPr>
            <p:cNvSpPr/>
            <p:nvPr/>
          </p:nvSpPr>
          <p:spPr>
            <a:xfrm>
              <a:off x="3771563" y="1975961"/>
              <a:ext cx="387212" cy="516283"/>
            </a:xfrm>
            <a:custGeom>
              <a:avLst/>
              <a:gdLst>
                <a:gd name="connsiteX0" fmla="*/ 109710 w 387211"/>
                <a:gd name="connsiteY0" fmla="*/ 535643 h 516282"/>
                <a:gd name="connsiteX1" fmla="*/ 96803 w 387211"/>
                <a:gd name="connsiteY1" fmla="*/ 96803 h 516282"/>
                <a:gd name="connsiteX2" fmla="*/ 303316 w 387211"/>
                <a:gd name="connsiteY2" fmla="*/ 419480 h 516282"/>
                <a:gd name="connsiteX3" fmla="*/ 109710 w 387211"/>
                <a:gd name="connsiteY3" fmla="*/ 535643 h 516282"/>
                <a:gd name="connsiteX4" fmla="*/ 109710 w 387211"/>
                <a:gd name="connsiteY4" fmla="*/ 109710 h 516282"/>
                <a:gd name="connsiteX5" fmla="*/ 122617 w 387211"/>
                <a:gd name="connsiteY5" fmla="*/ 522736 h 516282"/>
                <a:gd name="connsiteX6" fmla="*/ 303316 w 387211"/>
                <a:gd name="connsiteY6" fmla="*/ 406572 h 516282"/>
                <a:gd name="connsiteX7" fmla="*/ 109710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109710" y="535643"/>
                  </a:moveTo>
                  <a:lnTo>
                    <a:pt x="96803" y="96803"/>
                  </a:lnTo>
                  <a:lnTo>
                    <a:pt x="303316" y="419480"/>
                  </a:lnTo>
                  <a:lnTo>
                    <a:pt x="109710" y="535643"/>
                  </a:lnTo>
                  <a:close/>
                  <a:moveTo>
                    <a:pt x="109710" y="109710"/>
                  </a:moveTo>
                  <a:lnTo>
                    <a:pt x="122617" y="522736"/>
                  </a:lnTo>
                  <a:lnTo>
                    <a:pt x="303316" y="406572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0" name="Freeform: Shape 2679">
              <a:extLst>
                <a:ext uri="{FF2B5EF4-FFF2-40B4-BE49-F238E27FC236}">
                  <a16:creationId xmlns:a16="http://schemas.microsoft.com/office/drawing/2014/main" id="{0A150264-08F5-43DF-8763-7941EB2ADB36}"/>
                </a:ext>
              </a:extLst>
            </p:cNvPr>
            <p:cNvSpPr/>
            <p:nvPr/>
          </p:nvSpPr>
          <p:spPr>
            <a:xfrm>
              <a:off x="2067830" y="1924332"/>
              <a:ext cx="645353" cy="516283"/>
            </a:xfrm>
            <a:custGeom>
              <a:avLst/>
              <a:gdLst>
                <a:gd name="connsiteX0" fmla="*/ 96803 w 645353"/>
                <a:gd name="connsiteY0" fmla="*/ 419480 h 516282"/>
                <a:gd name="connsiteX1" fmla="*/ 212967 w 645353"/>
                <a:gd name="connsiteY1" fmla="*/ 96803 h 516282"/>
                <a:gd name="connsiteX2" fmla="*/ 561457 w 645353"/>
                <a:gd name="connsiteY2" fmla="*/ 148431 h 516282"/>
                <a:gd name="connsiteX3" fmla="*/ 96803 w 645353"/>
                <a:gd name="connsiteY3" fmla="*/ 419480 h 516282"/>
                <a:gd name="connsiteX4" fmla="*/ 225874 w 645353"/>
                <a:gd name="connsiteY4" fmla="*/ 96803 h 516282"/>
                <a:gd name="connsiteX5" fmla="*/ 109710 w 645353"/>
                <a:gd name="connsiteY5" fmla="*/ 406573 h 516282"/>
                <a:gd name="connsiteX6" fmla="*/ 548550 w 645353"/>
                <a:gd name="connsiteY6" fmla="*/ 148431 h 516282"/>
                <a:gd name="connsiteX7" fmla="*/ 225874 w 645353"/>
                <a:gd name="connsiteY7" fmla="*/ 9680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96803" y="419480"/>
                  </a:moveTo>
                  <a:lnTo>
                    <a:pt x="212967" y="96803"/>
                  </a:lnTo>
                  <a:lnTo>
                    <a:pt x="561457" y="148431"/>
                  </a:lnTo>
                  <a:lnTo>
                    <a:pt x="96803" y="419480"/>
                  </a:lnTo>
                  <a:close/>
                  <a:moveTo>
                    <a:pt x="225874" y="96803"/>
                  </a:moveTo>
                  <a:lnTo>
                    <a:pt x="109710" y="406573"/>
                  </a:lnTo>
                  <a:lnTo>
                    <a:pt x="548550" y="148431"/>
                  </a:lnTo>
                  <a:lnTo>
                    <a:pt x="225874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1" name="Freeform: Shape 2680">
              <a:extLst>
                <a:ext uri="{FF2B5EF4-FFF2-40B4-BE49-F238E27FC236}">
                  <a16:creationId xmlns:a16="http://schemas.microsoft.com/office/drawing/2014/main" id="{F06559A6-5992-472F-9D84-359EA82CFC86}"/>
                </a:ext>
              </a:extLst>
            </p:cNvPr>
            <p:cNvSpPr/>
            <p:nvPr/>
          </p:nvSpPr>
          <p:spPr>
            <a:xfrm>
              <a:off x="1745153" y="1988868"/>
              <a:ext cx="516283" cy="774424"/>
            </a:xfrm>
            <a:custGeom>
              <a:avLst/>
              <a:gdLst>
                <a:gd name="connsiteX0" fmla="*/ 200060 w 516282"/>
                <a:gd name="connsiteY0" fmla="*/ 703435 h 774423"/>
                <a:gd name="connsiteX1" fmla="*/ 96803 w 516282"/>
                <a:gd name="connsiteY1" fmla="*/ 96803 h 774423"/>
                <a:gd name="connsiteX2" fmla="*/ 432387 w 516282"/>
                <a:gd name="connsiteY2" fmla="*/ 342037 h 774423"/>
                <a:gd name="connsiteX3" fmla="*/ 432387 w 516282"/>
                <a:gd name="connsiteY3" fmla="*/ 342037 h 774423"/>
                <a:gd name="connsiteX4" fmla="*/ 200060 w 516282"/>
                <a:gd name="connsiteY4" fmla="*/ 703435 h 774423"/>
                <a:gd name="connsiteX5" fmla="*/ 109710 w 516282"/>
                <a:gd name="connsiteY5" fmla="*/ 122617 h 774423"/>
                <a:gd name="connsiteX6" fmla="*/ 200060 w 516282"/>
                <a:gd name="connsiteY6" fmla="*/ 690528 h 774423"/>
                <a:gd name="connsiteX7" fmla="*/ 419480 w 516282"/>
                <a:gd name="connsiteY7" fmla="*/ 342037 h 774423"/>
                <a:gd name="connsiteX8" fmla="*/ 109710 w 516282"/>
                <a:gd name="connsiteY8" fmla="*/ 12261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774423">
                  <a:moveTo>
                    <a:pt x="200060" y="703435"/>
                  </a:moveTo>
                  <a:lnTo>
                    <a:pt x="96803" y="96803"/>
                  </a:lnTo>
                  <a:lnTo>
                    <a:pt x="432387" y="342037"/>
                  </a:lnTo>
                  <a:lnTo>
                    <a:pt x="432387" y="342037"/>
                  </a:lnTo>
                  <a:lnTo>
                    <a:pt x="200060" y="703435"/>
                  </a:lnTo>
                  <a:close/>
                  <a:moveTo>
                    <a:pt x="109710" y="122617"/>
                  </a:moveTo>
                  <a:lnTo>
                    <a:pt x="200060" y="690528"/>
                  </a:lnTo>
                  <a:lnTo>
                    <a:pt x="419480" y="342037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2" name="Freeform: Shape 2681">
              <a:extLst>
                <a:ext uri="{FF2B5EF4-FFF2-40B4-BE49-F238E27FC236}">
                  <a16:creationId xmlns:a16="http://schemas.microsoft.com/office/drawing/2014/main" id="{558BE71C-F9EF-4CEE-B71D-3C120CABF50A}"/>
                </a:ext>
              </a:extLst>
            </p:cNvPr>
            <p:cNvSpPr/>
            <p:nvPr/>
          </p:nvSpPr>
          <p:spPr>
            <a:xfrm>
              <a:off x="1745153" y="1963053"/>
              <a:ext cx="516283" cy="387212"/>
            </a:xfrm>
            <a:custGeom>
              <a:avLst/>
              <a:gdLst>
                <a:gd name="connsiteX0" fmla="*/ 432387 w 516282"/>
                <a:gd name="connsiteY0" fmla="*/ 380758 h 387211"/>
                <a:gd name="connsiteX1" fmla="*/ 96803 w 516282"/>
                <a:gd name="connsiteY1" fmla="*/ 135524 h 387211"/>
                <a:gd name="connsiteX2" fmla="*/ 290409 w 516282"/>
                <a:gd name="connsiteY2" fmla="*/ 96803 h 387211"/>
                <a:gd name="connsiteX3" fmla="*/ 432387 w 516282"/>
                <a:gd name="connsiteY3" fmla="*/ 380758 h 387211"/>
                <a:gd name="connsiteX4" fmla="*/ 109710 w 516282"/>
                <a:gd name="connsiteY4" fmla="*/ 135524 h 387211"/>
                <a:gd name="connsiteX5" fmla="*/ 419480 w 516282"/>
                <a:gd name="connsiteY5" fmla="*/ 367851 h 387211"/>
                <a:gd name="connsiteX6" fmla="*/ 303316 w 516282"/>
                <a:gd name="connsiteY6" fmla="*/ 109710 h 387211"/>
                <a:gd name="connsiteX7" fmla="*/ 109710 w 516282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32387" y="380758"/>
                  </a:moveTo>
                  <a:lnTo>
                    <a:pt x="96803" y="135524"/>
                  </a:lnTo>
                  <a:lnTo>
                    <a:pt x="290409" y="96803"/>
                  </a:lnTo>
                  <a:lnTo>
                    <a:pt x="432387" y="380758"/>
                  </a:lnTo>
                  <a:close/>
                  <a:moveTo>
                    <a:pt x="109710" y="135524"/>
                  </a:moveTo>
                  <a:lnTo>
                    <a:pt x="419480" y="367851"/>
                  </a:lnTo>
                  <a:lnTo>
                    <a:pt x="303316" y="109710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3" name="Freeform: Shape 2682">
              <a:extLst>
                <a:ext uri="{FF2B5EF4-FFF2-40B4-BE49-F238E27FC236}">
                  <a16:creationId xmlns:a16="http://schemas.microsoft.com/office/drawing/2014/main" id="{0EDF3FF2-65A0-44FE-AD94-4C04EE378C8D}"/>
                </a:ext>
              </a:extLst>
            </p:cNvPr>
            <p:cNvSpPr/>
            <p:nvPr/>
          </p:nvSpPr>
          <p:spPr>
            <a:xfrm>
              <a:off x="1951666" y="1911425"/>
              <a:ext cx="387212" cy="516283"/>
            </a:xfrm>
            <a:custGeom>
              <a:avLst/>
              <a:gdLst>
                <a:gd name="connsiteX0" fmla="*/ 225874 w 387211"/>
                <a:gd name="connsiteY0" fmla="*/ 432387 h 516282"/>
                <a:gd name="connsiteX1" fmla="*/ 96803 w 387211"/>
                <a:gd name="connsiteY1" fmla="*/ 148431 h 516282"/>
                <a:gd name="connsiteX2" fmla="*/ 354944 w 387211"/>
                <a:gd name="connsiteY2" fmla="*/ 96803 h 516282"/>
                <a:gd name="connsiteX3" fmla="*/ 225874 w 387211"/>
                <a:gd name="connsiteY3" fmla="*/ 432387 h 516282"/>
                <a:gd name="connsiteX4" fmla="*/ 96803 w 387211"/>
                <a:gd name="connsiteY4" fmla="*/ 161338 h 516282"/>
                <a:gd name="connsiteX5" fmla="*/ 225874 w 387211"/>
                <a:gd name="connsiteY5" fmla="*/ 419480 h 516282"/>
                <a:gd name="connsiteX6" fmla="*/ 342037 w 387211"/>
                <a:gd name="connsiteY6" fmla="*/ 109710 h 516282"/>
                <a:gd name="connsiteX7" fmla="*/ 96803 w 387211"/>
                <a:gd name="connsiteY7" fmla="*/ 16133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25874" y="432387"/>
                  </a:moveTo>
                  <a:lnTo>
                    <a:pt x="96803" y="148431"/>
                  </a:lnTo>
                  <a:lnTo>
                    <a:pt x="354944" y="96803"/>
                  </a:lnTo>
                  <a:lnTo>
                    <a:pt x="225874" y="432387"/>
                  </a:lnTo>
                  <a:close/>
                  <a:moveTo>
                    <a:pt x="96803" y="161338"/>
                  </a:moveTo>
                  <a:lnTo>
                    <a:pt x="225874" y="419480"/>
                  </a:lnTo>
                  <a:lnTo>
                    <a:pt x="342037" y="109710"/>
                  </a:lnTo>
                  <a:lnTo>
                    <a:pt x="96803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4" name="Freeform: Shape 2683">
              <a:extLst>
                <a:ext uri="{FF2B5EF4-FFF2-40B4-BE49-F238E27FC236}">
                  <a16:creationId xmlns:a16="http://schemas.microsoft.com/office/drawing/2014/main" id="{5097CF96-21A9-44A2-8792-4644613F5C36}"/>
                </a:ext>
              </a:extLst>
            </p:cNvPr>
            <p:cNvSpPr/>
            <p:nvPr/>
          </p:nvSpPr>
          <p:spPr>
            <a:xfrm>
              <a:off x="2196901" y="2750384"/>
              <a:ext cx="516283" cy="516283"/>
            </a:xfrm>
            <a:custGeom>
              <a:avLst/>
              <a:gdLst>
                <a:gd name="connsiteX0" fmla="*/ 342037 w 516282"/>
                <a:gd name="connsiteY0" fmla="*/ 522736 h 516282"/>
                <a:gd name="connsiteX1" fmla="*/ 96803 w 516282"/>
                <a:gd name="connsiteY1" fmla="*/ 367851 h 516282"/>
                <a:gd name="connsiteX2" fmla="*/ 509829 w 516282"/>
                <a:gd name="connsiteY2" fmla="*/ 96803 h 516282"/>
                <a:gd name="connsiteX3" fmla="*/ 342037 w 516282"/>
                <a:gd name="connsiteY3" fmla="*/ 522736 h 516282"/>
                <a:gd name="connsiteX4" fmla="*/ 109710 w 516282"/>
                <a:gd name="connsiteY4" fmla="*/ 367851 h 516282"/>
                <a:gd name="connsiteX5" fmla="*/ 342037 w 516282"/>
                <a:gd name="connsiteY5" fmla="*/ 522736 h 516282"/>
                <a:gd name="connsiteX6" fmla="*/ 496922 w 516282"/>
                <a:gd name="connsiteY6" fmla="*/ 122617 h 516282"/>
                <a:gd name="connsiteX7" fmla="*/ 109710 w 516282"/>
                <a:gd name="connsiteY7" fmla="*/ 36785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342037" y="522736"/>
                  </a:moveTo>
                  <a:lnTo>
                    <a:pt x="96803" y="367851"/>
                  </a:lnTo>
                  <a:lnTo>
                    <a:pt x="509829" y="96803"/>
                  </a:lnTo>
                  <a:lnTo>
                    <a:pt x="342037" y="522736"/>
                  </a:lnTo>
                  <a:close/>
                  <a:moveTo>
                    <a:pt x="109710" y="367851"/>
                  </a:moveTo>
                  <a:lnTo>
                    <a:pt x="342037" y="522736"/>
                  </a:lnTo>
                  <a:lnTo>
                    <a:pt x="496922" y="122617"/>
                  </a:lnTo>
                  <a:lnTo>
                    <a:pt x="109710" y="367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5" name="Freeform: Shape 2684">
              <a:extLst>
                <a:ext uri="{FF2B5EF4-FFF2-40B4-BE49-F238E27FC236}">
                  <a16:creationId xmlns:a16="http://schemas.microsoft.com/office/drawing/2014/main" id="{ADD35105-1B24-49C2-84E2-6B7F2C8AB955}"/>
                </a:ext>
              </a:extLst>
            </p:cNvPr>
            <p:cNvSpPr/>
            <p:nvPr/>
          </p:nvSpPr>
          <p:spPr>
            <a:xfrm>
              <a:off x="2054923" y="2750384"/>
              <a:ext cx="645353" cy="387212"/>
            </a:xfrm>
            <a:custGeom>
              <a:avLst/>
              <a:gdLst>
                <a:gd name="connsiteX0" fmla="*/ 238781 w 645353"/>
                <a:gd name="connsiteY0" fmla="*/ 367851 h 387211"/>
                <a:gd name="connsiteX1" fmla="*/ 96803 w 645353"/>
                <a:gd name="connsiteY1" fmla="*/ 161338 h 387211"/>
                <a:gd name="connsiteX2" fmla="*/ 664714 w 645353"/>
                <a:gd name="connsiteY2" fmla="*/ 96803 h 387211"/>
                <a:gd name="connsiteX3" fmla="*/ 238781 w 645353"/>
                <a:gd name="connsiteY3" fmla="*/ 367851 h 387211"/>
                <a:gd name="connsiteX4" fmla="*/ 109710 w 645353"/>
                <a:gd name="connsiteY4" fmla="*/ 174245 h 387211"/>
                <a:gd name="connsiteX5" fmla="*/ 251688 w 645353"/>
                <a:gd name="connsiteY5" fmla="*/ 367851 h 387211"/>
                <a:gd name="connsiteX6" fmla="*/ 638900 w 645353"/>
                <a:gd name="connsiteY6" fmla="*/ 109710 h 387211"/>
                <a:gd name="connsiteX7" fmla="*/ 109710 w 645353"/>
                <a:gd name="connsiteY7" fmla="*/ 17424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238781" y="367851"/>
                  </a:moveTo>
                  <a:lnTo>
                    <a:pt x="96803" y="161338"/>
                  </a:lnTo>
                  <a:lnTo>
                    <a:pt x="664714" y="96803"/>
                  </a:lnTo>
                  <a:lnTo>
                    <a:pt x="238781" y="367851"/>
                  </a:lnTo>
                  <a:close/>
                  <a:moveTo>
                    <a:pt x="109710" y="174245"/>
                  </a:moveTo>
                  <a:lnTo>
                    <a:pt x="251688" y="367851"/>
                  </a:lnTo>
                  <a:lnTo>
                    <a:pt x="638900" y="109710"/>
                  </a:lnTo>
                  <a:lnTo>
                    <a:pt x="109710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6" name="Freeform: Shape 2685">
              <a:extLst>
                <a:ext uri="{FF2B5EF4-FFF2-40B4-BE49-F238E27FC236}">
                  <a16:creationId xmlns:a16="http://schemas.microsoft.com/office/drawing/2014/main" id="{187E1D96-F2C0-4DEB-BAA6-A7D24EFEB809}"/>
                </a:ext>
              </a:extLst>
            </p:cNvPr>
            <p:cNvSpPr/>
            <p:nvPr/>
          </p:nvSpPr>
          <p:spPr>
            <a:xfrm>
              <a:off x="2597020" y="2324451"/>
              <a:ext cx="903495" cy="516283"/>
            </a:xfrm>
            <a:custGeom>
              <a:avLst/>
              <a:gdLst>
                <a:gd name="connsiteX0" fmla="*/ 96803 w 903494"/>
                <a:gd name="connsiteY0" fmla="*/ 522736 h 516282"/>
                <a:gd name="connsiteX1" fmla="*/ 96803 w 903494"/>
                <a:gd name="connsiteY1" fmla="*/ 522736 h 516282"/>
                <a:gd name="connsiteX2" fmla="*/ 264595 w 903494"/>
                <a:gd name="connsiteY2" fmla="*/ 96803 h 516282"/>
                <a:gd name="connsiteX3" fmla="*/ 264595 w 903494"/>
                <a:gd name="connsiteY3" fmla="*/ 96803 h 516282"/>
                <a:gd name="connsiteX4" fmla="*/ 819599 w 903494"/>
                <a:gd name="connsiteY4" fmla="*/ 484015 h 516282"/>
                <a:gd name="connsiteX5" fmla="*/ 806692 w 903494"/>
                <a:gd name="connsiteY5" fmla="*/ 484015 h 516282"/>
                <a:gd name="connsiteX6" fmla="*/ 96803 w 903494"/>
                <a:gd name="connsiteY6" fmla="*/ 522736 h 516282"/>
                <a:gd name="connsiteX7" fmla="*/ 277502 w 903494"/>
                <a:gd name="connsiteY7" fmla="*/ 109710 h 516282"/>
                <a:gd name="connsiteX8" fmla="*/ 109710 w 903494"/>
                <a:gd name="connsiteY8" fmla="*/ 522736 h 516282"/>
                <a:gd name="connsiteX9" fmla="*/ 819599 w 903494"/>
                <a:gd name="connsiteY9" fmla="*/ 484015 h 516282"/>
                <a:gd name="connsiteX10" fmla="*/ 277502 w 903494"/>
                <a:gd name="connsiteY10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03494" h="516282">
                  <a:moveTo>
                    <a:pt x="96803" y="522736"/>
                  </a:moveTo>
                  <a:lnTo>
                    <a:pt x="96803" y="522736"/>
                  </a:lnTo>
                  <a:lnTo>
                    <a:pt x="264595" y="96803"/>
                  </a:lnTo>
                  <a:lnTo>
                    <a:pt x="264595" y="96803"/>
                  </a:lnTo>
                  <a:lnTo>
                    <a:pt x="819599" y="484015"/>
                  </a:lnTo>
                  <a:lnTo>
                    <a:pt x="806692" y="484015"/>
                  </a:lnTo>
                  <a:lnTo>
                    <a:pt x="96803" y="522736"/>
                  </a:lnTo>
                  <a:close/>
                  <a:moveTo>
                    <a:pt x="277502" y="109710"/>
                  </a:moveTo>
                  <a:lnTo>
                    <a:pt x="109710" y="522736"/>
                  </a:lnTo>
                  <a:lnTo>
                    <a:pt x="819599" y="484015"/>
                  </a:lnTo>
                  <a:lnTo>
                    <a:pt x="277502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7" name="Freeform: Shape 2686">
              <a:extLst>
                <a:ext uri="{FF2B5EF4-FFF2-40B4-BE49-F238E27FC236}">
                  <a16:creationId xmlns:a16="http://schemas.microsoft.com/office/drawing/2014/main" id="{F48BDDAB-E2F6-4F0D-9DB1-C08BFF8EF5B3}"/>
                </a:ext>
              </a:extLst>
            </p:cNvPr>
            <p:cNvSpPr/>
            <p:nvPr/>
          </p:nvSpPr>
          <p:spPr>
            <a:xfrm>
              <a:off x="3306908" y="2414801"/>
              <a:ext cx="645353" cy="387212"/>
            </a:xfrm>
            <a:custGeom>
              <a:avLst/>
              <a:gdLst>
                <a:gd name="connsiteX0" fmla="*/ 96803 w 645353"/>
                <a:gd name="connsiteY0" fmla="*/ 406573 h 387211"/>
                <a:gd name="connsiteX1" fmla="*/ 574365 w 645353"/>
                <a:gd name="connsiteY1" fmla="*/ 96803 h 387211"/>
                <a:gd name="connsiteX2" fmla="*/ 651807 w 645353"/>
                <a:gd name="connsiteY2" fmla="*/ 406573 h 387211"/>
                <a:gd name="connsiteX3" fmla="*/ 96803 w 645353"/>
                <a:gd name="connsiteY3" fmla="*/ 406573 h 387211"/>
                <a:gd name="connsiteX4" fmla="*/ 574365 w 645353"/>
                <a:gd name="connsiteY4" fmla="*/ 96803 h 387211"/>
                <a:gd name="connsiteX5" fmla="*/ 122617 w 645353"/>
                <a:gd name="connsiteY5" fmla="*/ 393665 h 387211"/>
                <a:gd name="connsiteX6" fmla="*/ 638900 w 645353"/>
                <a:gd name="connsiteY6" fmla="*/ 380759 h 387211"/>
                <a:gd name="connsiteX7" fmla="*/ 574365 w 645353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96803" y="406573"/>
                  </a:moveTo>
                  <a:lnTo>
                    <a:pt x="574365" y="96803"/>
                  </a:lnTo>
                  <a:lnTo>
                    <a:pt x="651807" y="406573"/>
                  </a:lnTo>
                  <a:lnTo>
                    <a:pt x="96803" y="406573"/>
                  </a:lnTo>
                  <a:close/>
                  <a:moveTo>
                    <a:pt x="574365" y="96803"/>
                  </a:moveTo>
                  <a:lnTo>
                    <a:pt x="122617" y="393665"/>
                  </a:lnTo>
                  <a:lnTo>
                    <a:pt x="638900" y="380759"/>
                  </a:lnTo>
                  <a:lnTo>
                    <a:pt x="574365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8" name="Freeform: Shape 2687">
              <a:extLst>
                <a:ext uri="{FF2B5EF4-FFF2-40B4-BE49-F238E27FC236}">
                  <a16:creationId xmlns:a16="http://schemas.microsoft.com/office/drawing/2014/main" id="{7390EF25-8536-414E-A68F-6ECDCCA43CAF}"/>
                </a:ext>
              </a:extLst>
            </p:cNvPr>
            <p:cNvSpPr/>
            <p:nvPr/>
          </p:nvSpPr>
          <p:spPr>
            <a:xfrm>
              <a:off x="2442135" y="2750384"/>
              <a:ext cx="645353" cy="645353"/>
            </a:xfrm>
            <a:custGeom>
              <a:avLst/>
              <a:gdLst>
                <a:gd name="connsiteX0" fmla="*/ 561457 w 645353"/>
                <a:gd name="connsiteY0" fmla="*/ 651807 h 645353"/>
                <a:gd name="connsiteX1" fmla="*/ 96803 w 645353"/>
                <a:gd name="connsiteY1" fmla="*/ 522736 h 645353"/>
                <a:gd name="connsiteX2" fmla="*/ 96803 w 645353"/>
                <a:gd name="connsiteY2" fmla="*/ 522736 h 645353"/>
                <a:gd name="connsiteX3" fmla="*/ 264595 w 645353"/>
                <a:gd name="connsiteY3" fmla="*/ 96803 h 645353"/>
                <a:gd name="connsiteX4" fmla="*/ 561457 w 645353"/>
                <a:gd name="connsiteY4" fmla="*/ 651807 h 645353"/>
                <a:gd name="connsiteX5" fmla="*/ 96803 w 645353"/>
                <a:gd name="connsiteY5" fmla="*/ 509829 h 645353"/>
                <a:gd name="connsiteX6" fmla="*/ 535643 w 645353"/>
                <a:gd name="connsiteY6" fmla="*/ 625993 h 645353"/>
                <a:gd name="connsiteX7" fmla="*/ 264595 w 645353"/>
                <a:gd name="connsiteY7" fmla="*/ 109710 h 645353"/>
                <a:gd name="connsiteX8" fmla="*/ 96803 w 645353"/>
                <a:gd name="connsiteY8" fmla="*/ 509829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645353">
                  <a:moveTo>
                    <a:pt x="561457" y="651807"/>
                  </a:moveTo>
                  <a:lnTo>
                    <a:pt x="96803" y="522736"/>
                  </a:lnTo>
                  <a:lnTo>
                    <a:pt x="96803" y="522736"/>
                  </a:lnTo>
                  <a:lnTo>
                    <a:pt x="264595" y="96803"/>
                  </a:lnTo>
                  <a:lnTo>
                    <a:pt x="561457" y="651807"/>
                  </a:lnTo>
                  <a:close/>
                  <a:moveTo>
                    <a:pt x="96803" y="509829"/>
                  </a:moveTo>
                  <a:lnTo>
                    <a:pt x="535643" y="625993"/>
                  </a:lnTo>
                  <a:lnTo>
                    <a:pt x="264595" y="109710"/>
                  </a:lnTo>
                  <a:lnTo>
                    <a:pt x="96803" y="5098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9" name="Freeform: Shape 2688">
              <a:extLst>
                <a:ext uri="{FF2B5EF4-FFF2-40B4-BE49-F238E27FC236}">
                  <a16:creationId xmlns:a16="http://schemas.microsoft.com/office/drawing/2014/main" id="{F8C0AA42-C65C-4D8D-BADE-D876793C73B7}"/>
                </a:ext>
              </a:extLst>
            </p:cNvPr>
            <p:cNvSpPr/>
            <p:nvPr/>
          </p:nvSpPr>
          <p:spPr>
            <a:xfrm>
              <a:off x="2597020" y="2711663"/>
              <a:ext cx="903495" cy="774424"/>
            </a:xfrm>
            <a:custGeom>
              <a:avLst/>
              <a:gdLst>
                <a:gd name="connsiteX0" fmla="*/ 393666 w 903494"/>
                <a:gd name="connsiteY0" fmla="*/ 690528 h 774423"/>
                <a:gd name="connsiteX1" fmla="*/ 393666 w 903494"/>
                <a:gd name="connsiteY1" fmla="*/ 690528 h 774423"/>
                <a:gd name="connsiteX2" fmla="*/ 96803 w 903494"/>
                <a:gd name="connsiteY2" fmla="*/ 135524 h 774423"/>
                <a:gd name="connsiteX3" fmla="*/ 96803 w 903494"/>
                <a:gd name="connsiteY3" fmla="*/ 135524 h 774423"/>
                <a:gd name="connsiteX4" fmla="*/ 819599 w 903494"/>
                <a:gd name="connsiteY4" fmla="*/ 96803 h 774423"/>
                <a:gd name="connsiteX5" fmla="*/ 393666 w 903494"/>
                <a:gd name="connsiteY5" fmla="*/ 690528 h 774423"/>
                <a:gd name="connsiteX6" fmla="*/ 109710 w 903494"/>
                <a:gd name="connsiteY6" fmla="*/ 135524 h 774423"/>
                <a:gd name="connsiteX7" fmla="*/ 393666 w 903494"/>
                <a:gd name="connsiteY7" fmla="*/ 664714 h 774423"/>
                <a:gd name="connsiteX8" fmla="*/ 819599 w 903494"/>
                <a:gd name="connsiteY8" fmla="*/ 96803 h 774423"/>
                <a:gd name="connsiteX9" fmla="*/ 109710 w 903494"/>
                <a:gd name="connsiteY9" fmla="*/ 135524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3494" h="774423">
                  <a:moveTo>
                    <a:pt x="393666" y="690528"/>
                  </a:moveTo>
                  <a:lnTo>
                    <a:pt x="393666" y="690528"/>
                  </a:lnTo>
                  <a:lnTo>
                    <a:pt x="96803" y="135524"/>
                  </a:lnTo>
                  <a:lnTo>
                    <a:pt x="96803" y="135524"/>
                  </a:lnTo>
                  <a:lnTo>
                    <a:pt x="819599" y="96803"/>
                  </a:lnTo>
                  <a:lnTo>
                    <a:pt x="393666" y="690528"/>
                  </a:lnTo>
                  <a:close/>
                  <a:moveTo>
                    <a:pt x="109710" y="135524"/>
                  </a:moveTo>
                  <a:lnTo>
                    <a:pt x="393666" y="664714"/>
                  </a:lnTo>
                  <a:lnTo>
                    <a:pt x="819599" y="96803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0" name="Freeform: Shape 2689">
              <a:extLst>
                <a:ext uri="{FF2B5EF4-FFF2-40B4-BE49-F238E27FC236}">
                  <a16:creationId xmlns:a16="http://schemas.microsoft.com/office/drawing/2014/main" id="{EBB16009-64EF-480C-9960-F86AE06ABD8C}"/>
                </a:ext>
              </a:extLst>
            </p:cNvPr>
            <p:cNvSpPr/>
            <p:nvPr/>
          </p:nvSpPr>
          <p:spPr>
            <a:xfrm>
              <a:off x="2558298" y="3834578"/>
              <a:ext cx="645353" cy="387212"/>
            </a:xfrm>
            <a:custGeom>
              <a:avLst/>
              <a:gdLst>
                <a:gd name="connsiteX0" fmla="*/ 342037 w 645353"/>
                <a:gd name="connsiteY0" fmla="*/ 406572 h 387211"/>
                <a:gd name="connsiteX1" fmla="*/ 342037 w 645353"/>
                <a:gd name="connsiteY1" fmla="*/ 406572 h 387211"/>
                <a:gd name="connsiteX2" fmla="*/ 96803 w 645353"/>
                <a:gd name="connsiteY2" fmla="*/ 264595 h 387211"/>
                <a:gd name="connsiteX3" fmla="*/ 664714 w 645353"/>
                <a:gd name="connsiteY3" fmla="*/ 96803 h 387211"/>
                <a:gd name="connsiteX4" fmla="*/ 342037 w 645353"/>
                <a:gd name="connsiteY4" fmla="*/ 406572 h 387211"/>
                <a:gd name="connsiteX5" fmla="*/ 122617 w 645353"/>
                <a:gd name="connsiteY5" fmla="*/ 264595 h 387211"/>
                <a:gd name="connsiteX6" fmla="*/ 342037 w 645353"/>
                <a:gd name="connsiteY6" fmla="*/ 393666 h 387211"/>
                <a:gd name="connsiteX7" fmla="*/ 638900 w 645353"/>
                <a:gd name="connsiteY7" fmla="*/ 96803 h 387211"/>
                <a:gd name="connsiteX8" fmla="*/ 122617 w 645353"/>
                <a:gd name="connsiteY8" fmla="*/ 26459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342037" y="406572"/>
                  </a:moveTo>
                  <a:lnTo>
                    <a:pt x="342037" y="406572"/>
                  </a:lnTo>
                  <a:lnTo>
                    <a:pt x="96803" y="264595"/>
                  </a:lnTo>
                  <a:lnTo>
                    <a:pt x="664714" y="96803"/>
                  </a:lnTo>
                  <a:lnTo>
                    <a:pt x="342037" y="406572"/>
                  </a:lnTo>
                  <a:close/>
                  <a:moveTo>
                    <a:pt x="122617" y="264595"/>
                  </a:moveTo>
                  <a:lnTo>
                    <a:pt x="342037" y="393666"/>
                  </a:lnTo>
                  <a:lnTo>
                    <a:pt x="638900" y="96803"/>
                  </a:lnTo>
                  <a:lnTo>
                    <a:pt x="122617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1" name="Freeform: Shape 2690">
              <a:extLst>
                <a:ext uri="{FF2B5EF4-FFF2-40B4-BE49-F238E27FC236}">
                  <a16:creationId xmlns:a16="http://schemas.microsoft.com/office/drawing/2014/main" id="{2F1A3063-8DF6-4CB8-8E30-74092321639A}"/>
                </a:ext>
              </a:extLst>
            </p:cNvPr>
            <p:cNvSpPr/>
            <p:nvPr/>
          </p:nvSpPr>
          <p:spPr>
            <a:xfrm>
              <a:off x="2803533" y="3834578"/>
              <a:ext cx="516283" cy="645353"/>
            </a:xfrm>
            <a:custGeom>
              <a:avLst/>
              <a:gdLst>
                <a:gd name="connsiteX0" fmla="*/ 264595 w 516282"/>
                <a:gd name="connsiteY0" fmla="*/ 600178 h 645353"/>
                <a:gd name="connsiteX1" fmla="*/ 96803 w 516282"/>
                <a:gd name="connsiteY1" fmla="*/ 406572 h 645353"/>
                <a:gd name="connsiteX2" fmla="*/ 419480 w 516282"/>
                <a:gd name="connsiteY2" fmla="*/ 96803 h 645353"/>
                <a:gd name="connsiteX3" fmla="*/ 264595 w 516282"/>
                <a:gd name="connsiteY3" fmla="*/ 600178 h 645353"/>
                <a:gd name="connsiteX4" fmla="*/ 109710 w 516282"/>
                <a:gd name="connsiteY4" fmla="*/ 406572 h 645353"/>
                <a:gd name="connsiteX5" fmla="*/ 264595 w 516282"/>
                <a:gd name="connsiteY5" fmla="*/ 587272 h 645353"/>
                <a:gd name="connsiteX6" fmla="*/ 406573 w 516282"/>
                <a:gd name="connsiteY6" fmla="*/ 109710 h 645353"/>
                <a:gd name="connsiteX7" fmla="*/ 109710 w 516282"/>
                <a:gd name="connsiteY7" fmla="*/ 406572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264595" y="600178"/>
                  </a:moveTo>
                  <a:lnTo>
                    <a:pt x="96803" y="406572"/>
                  </a:lnTo>
                  <a:lnTo>
                    <a:pt x="419480" y="96803"/>
                  </a:lnTo>
                  <a:lnTo>
                    <a:pt x="264595" y="600178"/>
                  </a:lnTo>
                  <a:close/>
                  <a:moveTo>
                    <a:pt x="109710" y="406572"/>
                  </a:moveTo>
                  <a:lnTo>
                    <a:pt x="264595" y="587272"/>
                  </a:lnTo>
                  <a:lnTo>
                    <a:pt x="406573" y="109710"/>
                  </a:lnTo>
                  <a:lnTo>
                    <a:pt x="109710" y="406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2" name="Freeform: Shape 2691">
              <a:extLst>
                <a:ext uri="{FF2B5EF4-FFF2-40B4-BE49-F238E27FC236}">
                  <a16:creationId xmlns:a16="http://schemas.microsoft.com/office/drawing/2014/main" id="{DDD7969C-DE99-4DF6-AF8C-4CDB16FE74D3}"/>
                </a:ext>
              </a:extLst>
            </p:cNvPr>
            <p:cNvSpPr/>
            <p:nvPr/>
          </p:nvSpPr>
          <p:spPr>
            <a:xfrm>
              <a:off x="2971324" y="3834578"/>
              <a:ext cx="516283" cy="774424"/>
            </a:xfrm>
            <a:custGeom>
              <a:avLst/>
              <a:gdLst>
                <a:gd name="connsiteX0" fmla="*/ 509829 w 516282"/>
                <a:gd name="connsiteY0" fmla="*/ 690528 h 774423"/>
                <a:gd name="connsiteX1" fmla="*/ 96803 w 516282"/>
                <a:gd name="connsiteY1" fmla="*/ 600178 h 774423"/>
                <a:gd name="connsiteX2" fmla="*/ 251688 w 516282"/>
                <a:gd name="connsiteY2" fmla="*/ 96803 h 774423"/>
                <a:gd name="connsiteX3" fmla="*/ 509829 w 516282"/>
                <a:gd name="connsiteY3" fmla="*/ 690528 h 774423"/>
                <a:gd name="connsiteX4" fmla="*/ 96803 w 516282"/>
                <a:gd name="connsiteY4" fmla="*/ 600178 h 774423"/>
                <a:gd name="connsiteX5" fmla="*/ 496922 w 516282"/>
                <a:gd name="connsiteY5" fmla="*/ 690528 h 774423"/>
                <a:gd name="connsiteX6" fmla="*/ 251688 w 516282"/>
                <a:gd name="connsiteY6" fmla="*/ 109710 h 774423"/>
                <a:gd name="connsiteX7" fmla="*/ 96803 w 516282"/>
                <a:gd name="connsiteY7" fmla="*/ 600178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774423">
                  <a:moveTo>
                    <a:pt x="509829" y="690528"/>
                  </a:moveTo>
                  <a:lnTo>
                    <a:pt x="96803" y="600178"/>
                  </a:lnTo>
                  <a:lnTo>
                    <a:pt x="251688" y="96803"/>
                  </a:lnTo>
                  <a:lnTo>
                    <a:pt x="509829" y="690528"/>
                  </a:lnTo>
                  <a:close/>
                  <a:moveTo>
                    <a:pt x="96803" y="600178"/>
                  </a:moveTo>
                  <a:lnTo>
                    <a:pt x="496922" y="690528"/>
                  </a:lnTo>
                  <a:lnTo>
                    <a:pt x="251688" y="109710"/>
                  </a:lnTo>
                  <a:lnTo>
                    <a:pt x="96803" y="6001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3" name="Freeform: Shape 2692">
              <a:extLst>
                <a:ext uri="{FF2B5EF4-FFF2-40B4-BE49-F238E27FC236}">
                  <a16:creationId xmlns:a16="http://schemas.microsoft.com/office/drawing/2014/main" id="{CE81E50B-7572-43BB-99B5-D25ED8AA5D9E}"/>
                </a:ext>
              </a:extLst>
            </p:cNvPr>
            <p:cNvSpPr/>
            <p:nvPr/>
          </p:nvSpPr>
          <p:spPr>
            <a:xfrm>
              <a:off x="2958418" y="4325046"/>
              <a:ext cx="516283" cy="387212"/>
            </a:xfrm>
            <a:custGeom>
              <a:avLst/>
              <a:gdLst>
                <a:gd name="connsiteX0" fmla="*/ 277502 w 516282"/>
                <a:gd name="connsiteY0" fmla="*/ 354944 h 387211"/>
                <a:gd name="connsiteX1" fmla="*/ 96803 w 516282"/>
                <a:gd name="connsiteY1" fmla="*/ 96803 h 387211"/>
                <a:gd name="connsiteX2" fmla="*/ 522736 w 516282"/>
                <a:gd name="connsiteY2" fmla="*/ 187152 h 387211"/>
                <a:gd name="connsiteX3" fmla="*/ 277502 w 516282"/>
                <a:gd name="connsiteY3" fmla="*/ 354944 h 387211"/>
                <a:gd name="connsiteX4" fmla="*/ 109710 w 516282"/>
                <a:gd name="connsiteY4" fmla="*/ 109710 h 387211"/>
                <a:gd name="connsiteX5" fmla="*/ 277502 w 516282"/>
                <a:gd name="connsiteY5" fmla="*/ 342037 h 387211"/>
                <a:gd name="connsiteX6" fmla="*/ 509829 w 516282"/>
                <a:gd name="connsiteY6" fmla="*/ 187152 h 387211"/>
                <a:gd name="connsiteX7" fmla="*/ 109710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277502" y="354944"/>
                  </a:moveTo>
                  <a:lnTo>
                    <a:pt x="96803" y="96803"/>
                  </a:lnTo>
                  <a:lnTo>
                    <a:pt x="522736" y="187152"/>
                  </a:lnTo>
                  <a:lnTo>
                    <a:pt x="277502" y="354944"/>
                  </a:lnTo>
                  <a:close/>
                  <a:moveTo>
                    <a:pt x="109710" y="109710"/>
                  </a:moveTo>
                  <a:lnTo>
                    <a:pt x="277502" y="342037"/>
                  </a:lnTo>
                  <a:lnTo>
                    <a:pt x="509829" y="187152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4" name="Freeform: Shape 2693">
              <a:extLst>
                <a:ext uri="{FF2B5EF4-FFF2-40B4-BE49-F238E27FC236}">
                  <a16:creationId xmlns:a16="http://schemas.microsoft.com/office/drawing/2014/main" id="{B7A70665-D76E-4A4A-B3F8-FE46409A6EB4}"/>
                </a:ext>
              </a:extLst>
            </p:cNvPr>
            <p:cNvSpPr/>
            <p:nvPr/>
          </p:nvSpPr>
          <p:spPr>
            <a:xfrm>
              <a:off x="3139116" y="4402488"/>
              <a:ext cx="387212" cy="516283"/>
            </a:xfrm>
            <a:custGeom>
              <a:avLst/>
              <a:gdLst>
                <a:gd name="connsiteX0" fmla="*/ 238781 w 387211"/>
                <a:gd name="connsiteY0" fmla="*/ 419480 h 516282"/>
                <a:gd name="connsiteX1" fmla="*/ 96803 w 387211"/>
                <a:gd name="connsiteY1" fmla="*/ 264595 h 516282"/>
                <a:gd name="connsiteX2" fmla="*/ 342037 w 387211"/>
                <a:gd name="connsiteY2" fmla="*/ 96803 h 516282"/>
                <a:gd name="connsiteX3" fmla="*/ 238781 w 387211"/>
                <a:gd name="connsiteY3" fmla="*/ 419480 h 516282"/>
                <a:gd name="connsiteX4" fmla="*/ 109710 w 387211"/>
                <a:gd name="connsiteY4" fmla="*/ 277502 h 516282"/>
                <a:gd name="connsiteX5" fmla="*/ 238781 w 387211"/>
                <a:gd name="connsiteY5" fmla="*/ 419480 h 516282"/>
                <a:gd name="connsiteX6" fmla="*/ 342037 w 387211"/>
                <a:gd name="connsiteY6" fmla="*/ 135524 h 516282"/>
                <a:gd name="connsiteX7" fmla="*/ 109710 w 387211"/>
                <a:gd name="connsiteY7" fmla="*/ 277502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38781" y="419480"/>
                  </a:moveTo>
                  <a:lnTo>
                    <a:pt x="96803" y="264595"/>
                  </a:lnTo>
                  <a:lnTo>
                    <a:pt x="342037" y="96803"/>
                  </a:lnTo>
                  <a:lnTo>
                    <a:pt x="238781" y="419480"/>
                  </a:lnTo>
                  <a:close/>
                  <a:moveTo>
                    <a:pt x="109710" y="277502"/>
                  </a:moveTo>
                  <a:lnTo>
                    <a:pt x="238781" y="419480"/>
                  </a:lnTo>
                  <a:lnTo>
                    <a:pt x="342037" y="135524"/>
                  </a:lnTo>
                  <a:lnTo>
                    <a:pt x="109710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5" name="Freeform: Shape 2694">
              <a:extLst>
                <a:ext uri="{FF2B5EF4-FFF2-40B4-BE49-F238E27FC236}">
                  <a16:creationId xmlns:a16="http://schemas.microsoft.com/office/drawing/2014/main" id="{E36FCCF8-CAF1-4725-AAC3-51D22F3D96FD}"/>
                </a:ext>
              </a:extLst>
            </p:cNvPr>
            <p:cNvSpPr/>
            <p:nvPr/>
          </p:nvSpPr>
          <p:spPr>
            <a:xfrm>
              <a:off x="3268187" y="4415396"/>
              <a:ext cx="387212" cy="387212"/>
            </a:xfrm>
            <a:custGeom>
              <a:avLst/>
              <a:gdLst>
                <a:gd name="connsiteX0" fmla="*/ 96803 w 387211"/>
                <a:gd name="connsiteY0" fmla="*/ 406572 h 387211"/>
                <a:gd name="connsiteX1" fmla="*/ 200059 w 387211"/>
                <a:gd name="connsiteY1" fmla="*/ 96803 h 387211"/>
                <a:gd name="connsiteX2" fmla="*/ 406573 w 387211"/>
                <a:gd name="connsiteY2" fmla="*/ 316223 h 387211"/>
                <a:gd name="connsiteX3" fmla="*/ 96803 w 387211"/>
                <a:gd name="connsiteY3" fmla="*/ 406572 h 387211"/>
                <a:gd name="connsiteX4" fmla="*/ 212967 w 387211"/>
                <a:gd name="connsiteY4" fmla="*/ 109710 h 387211"/>
                <a:gd name="connsiteX5" fmla="*/ 109710 w 387211"/>
                <a:gd name="connsiteY5" fmla="*/ 406572 h 387211"/>
                <a:gd name="connsiteX6" fmla="*/ 406573 w 387211"/>
                <a:gd name="connsiteY6" fmla="*/ 316223 h 387211"/>
                <a:gd name="connsiteX7" fmla="*/ 212967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406572"/>
                  </a:moveTo>
                  <a:lnTo>
                    <a:pt x="200059" y="96803"/>
                  </a:lnTo>
                  <a:lnTo>
                    <a:pt x="406573" y="316223"/>
                  </a:lnTo>
                  <a:lnTo>
                    <a:pt x="96803" y="406572"/>
                  </a:lnTo>
                  <a:close/>
                  <a:moveTo>
                    <a:pt x="212967" y="109710"/>
                  </a:moveTo>
                  <a:lnTo>
                    <a:pt x="109710" y="406572"/>
                  </a:lnTo>
                  <a:lnTo>
                    <a:pt x="406573" y="316223"/>
                  </a:lnTo>
                  <a:lnTo>
                    <a:pt x="21296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6" name="Freeform: Shape 2695">
              <a:extLst>
                <a:ext uri="{FF2B5EF4-FFF2-40B4-BE49-F238E27FC236}">
                  <a16:creationId xmlns:a16="http://schemas.microsoft.com/office/drawing/2014/main" id="{47C8C221-9551-4780-B154-1729FA476DC7}"/>
                </a:ext>
              </a:extLst>
            </p:cNvPr>
            <p:cNvSpPr/>
            <p:nvPr/>
          </p:nvSpPr>
          <p:spPr>
            <a:xfrm>
              <a:off x="3371443" y="4350860"/>
              <a:ext cx="387212" cy="387212"/>
            </a:xfrm>
            <a:custGeom>
              <a:avLst/>
              <a:gdLst>
                <a:gd name="connsiteX0" fmla="*/ 303316 w 387211"/>
                <a:gd name="connsiteY0" fmla="*/ 380759 h 387211"/>
                <a:gd name="connsiteX1" fmla="*/ 96803 w 387211"/>
                <a:gd name="connsiteY1" fmla="*/ 161338 h 387211"/>
                <a:gd name="connsiteX2" fmla="*/ 380759 w 387211"/>
                <a:gd name="connsiteY2" fmla="*/ 96803 h 387211"/>
                <a:gd name="connsiteX3" fmla="*/ 303316 w 387211"/>
                <a:gd name="connsiteY3" fmla="*/ 380759 h 387211"/>
                <a:gd name="connsiteX4" fmla="*/ 109710 w 387211"/>
                <a:gd name="connsiteY4" fmla="*/ 174245 h 387211"/>
                <a:gd name="connsiteX5" fmla="*/ 303316 w 387211"/>
                <a:gd name="connsiteY5" fmla="*/ 380759 h 387211"/>
                <a:gd name="connsiteX6" fmla="*/ 380759 w 387211"/>
                <a:gd name="connsiteY6" fmla="*/ 122617 h 387211"/>
                <a:gd name="connsiteX7" fmla="*/ 109710 w 387211"/>
                <a:gd name="connsiteY7" fmla="*/ 17424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03316" y="380759"/>
                  </a:moveTo>
                  <a:lnTo>
                    <a:pt x="96803" y="161338"/>
                  </a:lnTo>
                  <a:lnTo>
                    <a:pt x="380759" y="96803"/>
                  </a:lnTo>
                  <a:lnTo>
                    <a:pt x="303316" y="380759"/>
                  </a:lnTo>
                  <a:close/>
                  <a:moveTo>
                    <a:pt x="109710" y="174245"/>
                  </a:moveTo>
                  <a:lnTo>
                    <a:pt x="303316" y="380759"/>
                  </a:lnTo>
                  <a:lnTo>
                    <a:pt x="380759" y="122617"/>
                  </a:lnTo>
                  <a:lnTo>
                    <a:pt x="109710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7" name="Freeform: Shape 2696">
              <a:extLst>
                <a:ext uri="{FF2B5EF4-FFF2-40B4-BE49-F238E27FC236}">
                  <a16:creationId xmlns:a16="http://schemas.microsoft.com/office/drawing/2014/main" id="{222BCC1C-8CA1-4C00-AC33-A1525BCA51BE}"/>
                </a:ext>
              </a:extLst>
            </p:cNvPr>
            <p:cNvSpPr/>
            <p:nvPr/>
          </p:nvSpPr>
          <p:spPr>
            <a:xfrm>
              <a:off x="3113302" y="3834578"/>
              <a:ext cx="774424" cy="774424"/>
            </a:xfrm>
            <a:custGeom>
              <a:avLst/>
              <a:gdLst>
                <a:gd name="connsiteX0" fmla="*/ 354944 w 774423"/>
                <a:gd name="connsiteY0" fmla="*/ 690528 h 774423"/>
                <a:gd name="connsiteX1" fmla="*/ 96803 w 774423"/>
                <a:gd name="connsiteY1" fmla="*/ 96803 h 774423"/>
                <a:gd name="connsiteX2" fmla="*/ 96803 w 774423"/>
                <a:gd name="connsiteY2" fmla="*/ 96803 h 774423"/>
                <a:gd name="connsiteX3" fmla="*/ 729249 w 774423"/>
                <a:gd name="connsiteY3" fmla="*/ 187153 h 774423"/>
                <a:gd name="connsiteX4" fmla="*/ 354944 w 774423"/>
                <a:gd name="connsiteY4" fmla="*/ 690528 h 774423"/>
                <a:gd name="connsiteX5" fmla="*/ 109710 w 774423"/>
                <a:gd name="connsiteY5" fmla="*/ 109710 h 774423"/>
                <a:gd name="connsiteX6" fmla="*/ 367851 w 774423"/>
                <a:gd name="connsiteY6" fmla="*/ 677621 h 774423"/>
                <a:gd name="connsiteX7" fmla="*/ 729249 w 774423"/>
                <a:gd name="connsiteY7" fmla="*/ 200060 h 774423"/>
                <a:gd name="connsiteX8" fmla="*/ 109710 w 774423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774423">
                  <a:moveTo>
                    <a:pt x="354944" y="690528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729249" y="187153"/>
                  </a:lnTo>
                  <a:lnTo>
                    <a:pt x="354944" y="690528"/>
                  </a:lnTo>
                  <a:close/>
                  <a:moveTo>
                    <a:pt x="109710" y="109710"/>
                  </a:moveTo>
                  <a:lnTo>
                    <a:pt x="367851" y="677621"/>
                  </a:lnTo>
                  <a:lnTo>
                    <a:pt x="729249" y="20006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8" name="Freeform: Shape 2697">
              <a:extLst>
                <a:ext uri="{FF2B5EF4-FFF2-40B4-BE49-F238E27FC236}">
                  <a16:creationId xmlns:a16="http://schemas.microsoft.com/office/drawing/2014/main" id="{D6F1E186-9CEA-4C97-A059-523445A635CA}"/>
                </a:ext>
              </a:extLst>
            </p:cNvPr>
            <p:cNvSpPr/>
            <p:nvPr/>
          </p:nvSpPr>
          <p:spPr>
            <a:xfrm>
              <a:off x="3371443" y="3924927"/>
              <a:ext cx="516283" cy="645353"/>
            </a:xfrm>
            <a:custGeom>
              <a:avLst/>
              <a:gdLst>
                <a:gd name="connsiteX0" fmla="*/ 96803 w 516282"/>
                <a:gd name="connsiteY0" fmla="*/ 600178 h 645353"/>
                <a:gd name="connsiteX1" fmla="*/ 471108 w 516282"/>
                <a:gd name="connsiteY1" fmla="*/ 96803 h 645353"/>
                <a:gd name="connsiteX2" fmla="*/ 380759 w 516282"/>
                <a:gd name="connsiteY2" fmla="*/ 548550 h 645353"/>
                <a:gd name="connsiteX3" fmla="*/ 380759 w 516282"/>
                <a:gd name="connsiteY3" fmla="*/ 548550 h 645353"/>
                <a:gd name="connsiteX4" fmla="*/ 96803 w 516282"/>
                <a:gd name="connsiteY4" fmla="*/ 600178 h 645353"/>
                <a:gd name="connsiteX5" fmla="*/ 458201 w 516282"/>
                <a:gd name="connsiteY5" fmla="*/ 122617 h 645353"/>
                <a:gd name="connsiteX6" fmla="*/ 109710 w 516282"/>
                <a:gd name="connsiteY6" fmla="*/ 587271 h 645353"/>
                <a:gd name="connsiteX7" fmla="*/ 367851 w 516282"/>
                <a:gd name="connsiteY7" fmla="*/ 535643 h 645353"/>
                <a:gd name="connsiteX8" fmla="*/ 458201 w 516282"/>
                <a:gd name="connsiteY8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96803" y="600178"/>
                  </a:moveTo>
                  <a:lnTo>
                    <a:pt x="471108" y="96803"/>
                  </a:lnTo>
                  <a:lnTo>
                    <a:pt x="380759" y="548550"/>
                  </a:lnTo>
                  <a:lnTo>
                    <a:pt x="380759" y="548550"/>
                  </a:lnTo>
                  <a:lnTo>
                    <a:pt x="96803" y="600178"/>
                  </a:lnTo>
                  <a:close/>
                  <a:moveTo>
                    <a:pt x="458201" y="122617"/>
                  </a:moveTo>
                  <a:lnTo>
                    <a:pt x="109710" y="587271"/>
                  </a:lnTo>
                  <a:lnTo>
                    <a:pt x="367851" y="535643"/>
                  </a:lnTo>
                  <a:lnTo>
                    <a:pt x="458201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99" name="Freeform: Shape 2698">
              <a:extLst>
                <a:ext uri="{FF2B5EF4-FFF2-40B4-BE49-F238E27FC236}">
                  <a16:creationId xmlns:a16="http://schemas.microsoft.com/office/drawing/2014/main" id="{EA89473F-19C9-435A-8CA2-E04D2293BB1F}"/>
                </a:ext>
              </a:extLst>
            </p:cNvPr>
            <p:cNvSpPr/>
            <p:nvPr/>
          </p:nvSpPr>
          <p:spPr>
            <a:xfrm>
              <a:off x="3642492" y="3924927"/>
              <a:ext cx="387212" cy="516283"/>
            </a:xfrm>
            <a:custGeom>
              <a:avLst/>
              <a:gdLst>
                <a:gd name="connsiteX0" fmla="*/ 96803 w 387211"/>
                <a:gd name="connsiteY0" fmla="*/ 535643 h 516282"/>
                <a:gd name="connsiteX1" fmla="*/ 187153 w 387211"/>
                <a:gd name="connsiteY1" fmla="*/ 96803 h 516282"/>
                <a:gd name="connsiteX2" fmla="*/ 393665 w 387211"/>
                <a:gd name="connsiteY2" fmla="*/ 445294 h 516282"/>
                <a:gd name="connsiteX3" fmla="*/ 96803 w 387211"/>
                <a:gd name="connsiteY3" fmla="*/ 535643 h 516282"/>
                <a:gd name="connsiteX4" fmla="*/ 200059 w 387211"/>
                <a:gd name="connsiteY4" fmla="*/ 109710 h 516282"/>
                <a:gd name="connsiteX5" fmla="*/ 109710 w 387211"/>
                <a:gd name="connsiteY5" fmla="*/ 522736 h 516282"/>
                <a:gd name="connsiteX6" fmla="*/ 393665 w 387211"/>
                <a:gd name="connsiteY6" fmla="*/ 432387 h 516282"/>
                <a:gd name="connsiteX7" fmla="*/ 200059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96803" y="535643"/>
                  </a:moveTo>
                  <a:lnTo>
                    <a:pt x="187153" y="96803"/>
                  </a:lnTo>
                  <a:lnTo>
                    <a:pt x="393665" y="445294"/>
                  </a:lnTo>
                  <a:lnTo>
                    <a:pt x="96803" y="535643"/>
                  </a:lnTo>
                  <a:close/>
                  <a:moveTo>
                    <a:pt x="200059" y="109710"/>
                  </a:moveTo>
                  <a:lnTo>
                    <a:pt x="109710" y="522736"/>
                  </a:lnTo>
                  <a:lnTo>
                    <a:pt x="393665" y="432387"/>
                  </a:lnTo>
                  <a:lnTo>
                    <a:pt x="200059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0" name="Freeform: Shape 2699">
              <a:extLst>
                <a:ext uri="{FF2B5EF4-FFF2-40B4-BE49-F238E27FC236}">
                  <a16:creationId xmlns:a16="http://schemas.microsoft.com/office/drawing/2014/main" id="{E9306867-1118-4FCB-A7BA-2B6CA739FA14}"/>
                </a:ext>
              </a:extLst>
            </p:cNvPr>
            <p:cNvSpPr/>
            <p:nvPr/>
          </p:nvSpPr>
          <p:spPr>
            <a:xfrm>
              <a:off x="3732841" y="3924927"/>
              <a:ext cx="645353" cy="516283"/>
            </a:xfrm>
            <a:custGeom>
              <a:avLst/>
              <a:gdLst>
                <a:gd name="connsiteX0" fmla="*/ 303316 w 645353"/>
                <a:gd name="connsiteY0" fmla="*/ 445294 h 516282"/>
                <a:gd name="connsiteX1" fmla="*/ 303316 w 645353"/>
                <a:gd name="connsiteY1" fmla="*/ 445294 h 516282"/>
                <a:gd name="connsiteX2" fmla="*/ 96803 w 645353"/>
                <a:gd name="connsiteY2" fmla="*/ 96803 h 516282"/>
                <a:gd name="connsiteX3" fmla="*/ 600178 w 645353"/>
                <a:gd name="connsiteY3" fmla="*/ 148431 h 516282"/>
                <a:gd name="connsiteX4" fmla="*/ 303316 w 645353"/>
                <a:gd name="connsiteY4" fmla="*/ 445294 h 516282"/>
                <a:gd name="connsiteX5" fmla="*/ 109710 w 645353"/>
                <a:gd name="connsiteY5" fmla="*/ 109710 h 516282"/>
                <a:gd name="connsiteX6" fmla="*/ 303316 w 645353"/>
                <a:gd name="connsiteY6" fmla="*/ 445294 h 516282"/>
                <a:gd name="connsiteX7" fmla="*/ 574364 w 645353"/>
                <a:gd name="connsiteY7" fmla="*/ 161338 h 516282"/>
                <a:gd name="connsiteX8" fmla="*/ 109710 w 645353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516282">
                  <a:moveTo>
                    <a:pt x="303316" y="445294"/>
                  </a:moveTo>
                  <a:lnTo>
                    <a:pt x="303316" y="445294"/>
                  </a:lnTo>
                  <a:lnTo>
                    <a:pt x="96803" y="96803"/>
                  </a:lnTo>
                  <a:lnTo>
                    <a:pt x="600178" y="148431"/>
                  </a:lnTo>
                  <a:lnTo>
                    <a:pt x="303316" y="445294"/>
                  </a:lnTo>
                  <a:close/>
                  <a:moveTo>
                    <a:pt x="109710" y="109710"/>
                  </a:moveTo>
                  <a:lnTo>
                    <a:pt x="303316" y="445294"/>
                  </a:lnTo>
                  <a:lnTo>
                    <a:pt x="574364" y="161338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1" name="Freeform: Shape 2700">
              <a:extLst>
                <a:ext uri="{FF2B5EF4-FFF2-40B4-BE49-F238E27FC236}">
                  <a16:creationId xmlns:a16="http://schemas.microsoft.com/office/drawing/2014/main" id="{CA6AF351-76DF-4B9B-99DC-DCBC48B6571C}"/>
                </a:ext>
              </a:extLst>
            </p:cNvPr>
            <p:cNvSpPr/>
            <p:nvPr/>
          </p:nvSpPr>
          <p:spPr>
            <a:xfrm>
              <a:off x="3939354" y="3963648"/>
              <a:ext cx="387212" cy="387212"/>
            </a:xfrm>
            <a:custGeom>
              <a:avLst/>
              <a:gdLst>
                <a:gd name="connsiteX0" fmla="*/ 96803 w 387211"/>
                <a:gd name="connsiteY0" fmla="*/ 406572 h 387211"/>
                <a:gd name="connsiteX1" fmla="*/ 393666 w 387211"/>
                <a:gd name="connsiteY1" fmla="*/ 96803 h 387211"/>
                <a:gd name="connsiteX2" fmla="*/ 342037 w 387211"/>
                <a:gd name="connsiteY2" fmla="*/ 393666 h 387211"/>
                <a:gd name="connsiteX3" fmla="*/ 96803 w 387211"/>
                <a:gd name="connsiteY3" fmla="*/ 406572 h 387211"/>
                <a:gd name="connsiteX4" fmla="*/ 380759 w 387211"/>
                <a:gd name="connsiteY4" fmla="*/ 122617 h 387211"/>
                <a:gd name="connsiteX5" fmla="*/ 109710 w 387211"/>
                <a:gd name="connsiteY5" fmla="*/ 406572 h 387211"/>
                <a:gd name="connsiteX6" fmla="*/ 329130 w 387211"/>
                <a:gd name="connsiteY6" fmla="*/ 393666 h 387211"/>
                <a:gd name="connsiteX7" fmla="*/ 380759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406572"/>
                  </a:moveTo>
                  <a:lnTo>
                    <a:pt x="393666" y="96803"/>
                  </a:lnTo>
                  <a:lnTo>
                    <a:pt x="342037" y="393666"/>
                  </a:lnTo>
                  <a:lnTo>
                    <a:pt x="96803" y="406572"/>
                  </a:lnTo>
                  <a:close/>
                  <a:moveTo>
                    <a:pt x="380759" y="122617"/>
                  </a:moveTo>
                  <a:lnTo>
                    <a:pt x="109710" y="406572"/>
                  </a:lnTo>
                  <a:lnTo>
                    <a:pt x="329130" y="393666"/>
                  </a:lnTo>
                  <a:lnTo>
                    <a:pt x="380759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2" name="Freeform: Shape 2701">
              <a:extLst>
                <a:ext uri="{FF2B5EF4-FFF2-40B4-BE49-F238E27FC236}">
                  <a16:creationId xmlns:a16="http://schemas.microsoft.com/office/drawing/2014/main" id="{CAD4AE9D-B900-470E-8101-8887E00D9533}"/>
                </a:ext>
              </a:extLst>
            </p:cNvPr>
            <p:cNvSpPr/>
            <p:nvPr/>
          </p:nvSpPr>
          <p:spPr>
            <a:xfrm>
              <a:off x="4171682" y="3963648"/>
              <a:ext cx="387212" cy="387212"/>
            </a:xfrm>
            <a:custGeom>
              <a:avLst/>
              <a:gdLst>
                <a:gd name="connsiteX0" fmla="*/ 96803 w 387211"/>
                <a:gd name="connsiteY0" fmla="*/ 393666 h 387211"/>
                <a:gd name="connsiteX1" fmla="*/ 148431 w 387211"/>
                <a:gd name="connsiteY1" fmla="*/ 96803 h 387211"/>
                <a:gd name="connsiteX2" fmla="*/ 303316 w 387211"/>
                <a:gd name="connsiteY2" fmla="*/ 329130 h 387211"/>
                <a:gd name="connsiteX3" fmla="*/ 96803 w 387211"/>
                <a:gd name="connsiteY3" fmla="*/ 393666 h 387211"/>
                <a:gd name="connsiteX4" fmla="*/ 148431 w 387211"/>
                <a:gd name="connsiteY4" fmla="*/ 122617 h 387211"/>
                <a:gd name="connsiteX5" fmla="*/ 96803 w 387211"/>
                <a:gd name="connsiteY5" fmla="*/ 393666 h 387211"/>
                <a:gd name="connsiteX6" fmla="*/ 290409 w 387211"/>
                <a:gd name="connsiteY6" fmla="*/ 342037 h 387211"/>
                <a:gd name="connsiteX7" fmla="*/ 148431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93666"/>
                  </a:moveTo>
                  <a:lnTo>
                    <a:pt x="148431" y="96803"/>
                  </a:lnTo>
                  <a:lnTo>
                    <a:pt x="303316" y="329130"/>
                  </a:lnTo>
                  <a:lnTo>
                    <a:pt x="96803" y="393666"/>
                  </a:lnTo>
                  <a:close/>
                  <a:moveTo>
                    <a:pt x="148431" y="122617"/>
                  </a:moveTo>
                  <a:lnTo>
                    <a:pt x="96803" y="393666"/>
                  </a:lnTo>
                  <a:lnTo>
                    <a:pt x="290409" y="342037"/>
                  </a:lnTo>
                  <a:lnTo>
                    <a:pt x="148431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3" name="Freeform: Shape 2702">
              <a:extLst>
                <a:ext uri="{FF2B5EF4-FFF2-40B4-BE49-F238E27FC236}">
                  <a16:creationId xmlns:a16="http://schemas.microsoft.com/office/drawing/2014/main" id="{80202F80-3C4A-40B9-99C5-51741118E413}"/>
                </a:ext>
              </a:extLst>
            </p:cNvPr>
            <p:cNvSpPr/>
            <p:nvPr/>
          </p:nvSpPr>
          <p:spPr>
            <a:xfrm>
              <a:off x="4223310" y="3976555"/>
              <a:ext cx="387212" cy="387212"/>
            </a:xfrm>
            <a:custGeom>
              <a:avLst/>
              <a:gdLst>
                <a:gd name="connsiteX0" fmla="*/ 251688 w 387211"/>
                <a:gd name="connsiteY0" fmla="*/ 329130 h 387211"/>
                <a:gd name="connsiteX1" fmla="*/ 96803 w 387211"/>
                <a:gd name="connsiteY1" fmla="*/ 96803 h 387211"/>
                <a:gd name="connsiteX2" fmla="*/ 393665 w 387211"/>
                <a:gd name="connsiteY2" fmla="*/ 174245 h 387211"/>
                <a:gd name="connsiteX3" fmla="*/ 251688 w 387211"/>
                <a:gd name="connsiteY3" fmla="*/ 329130 h 387211"/>
                <a:gd name="connsiteX4" fmla="*/ 109710 w 387211"/>
                <a:gd name="connsiteY4" fmla="*/ 96803 h 387211"/>
                <a:gd name="connsiteX5" fmla="*/ 251688 w 387211"/>
                <a:gd name="connsiteY5" fmla="*/ 316223 h 387211"/>
                <a:gd name="connsiteX6" fmla="*/ 380759 w 387211"/>
                <a:gd name="connsiteY6" fmla="*/ 174245 h 387211"/>
                <a:gd name="connsiteX7" fmla="*/ 109710 w 38721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51688" y="329130"/>
                  </a:moveTo>
                  <a:lnTo>
                    <a:pt x="96803" y="96803"/>
                  </a:lnTo>
                  <a:lnTo>
                    <a:pt x="393665" y="174245"/>
                  </a:lnTo>
                  <a:lnTo>
                    <a:pt x="251688" y="329130"/>
                  </a:lnTo>
                  <a:close/>
                  <a:moveTo>
                    <a:pt x="109710" y="96803"/>
                  </a:moveTo>
                  <a:lnTo>
                    <a:pt x="251688" y="316223"/>
                  </a:lnTo>
                  <a:lnTo>
                    <a:pt x="380759" y="174245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4" name="Freeform: Shape 2703">
              <a:extLst>
                <a:ext uri="{FF2B5EF4-FFF2-40B4-BE49-F238E27FC236}">
                  <a16:creationId xmlns:a16="http://schemas.microsoft.com/office/drawing/2014/main" id="{15A602FE-D749-4797-BA2A-87A33A653BD1}"/>
                </a:ext>
              </a:extLst>
            </p:cNvPr>
            <p:cNvSpPr/>
            <p:nvPr/>
          </p:nvSpPr>
          <p:spPr>
            <a:xfrm>
              <a:off x="4223310" y="3757135"/>
              <a:ext cx="516283" cy="387212"/>
            </a:xfrm>
            <a:custGeom>
              <a:avLst/>
              <a:gdLst>
                <a:gd name="connsiteX0" fmla="*/ 393665 w 516282"/>
                <a:gd name="connsiteY0" fmla="*/ 393666 h 387211"/>
                <a:gd name="connsiteX1" fmla="*/ 96803 w 516282"/>
                <a:gd name="connsiteY1" fmla="*/ 316223 h 387211"/>
                <a:gd name="connsiteX2" fmla="*/ 496922 w 516282"/>
                <a:gd name="connsiteY2" fmla="*/ 96803 h 387211"/>
                <a:gd name="connsiteX3" fmla="*/ 393665 w 516282"/>
                <a:gd name="connsiteY3" fmla="*/ 393666 h 387211"/>
                <a:gd name="connsiteX4" fmla="*/ 109710 w 516282"/>
                <a:gd name="connsiteY4" fmla="*/ 316223 h 387211"/>
                <a:gd name="connsiteX5" fmla="*/ 380759 w 516282"/>
                <a:gd name="connsiteY5" fmla="*/ 393666 h 387211"/>
                <a:gd name="connsiteX6" fmla="*/ 484015 w 516282"/>
                <a:gd name="connsiteY6" fmla="*/ 109710 h 387211"/>
                <a:gd name="connsiteX7" fmla="*/ 109710 w 516282"/>
                <a:gd name="connsiteY7" fmla="*/ 31622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393665" y="393666"/>
                  </a:moveTo>
                  <a:lnTo>
                    <a:pt x="96803" y="316223"/>
                  </a:lnTo>
                  <a:lnTo>
                    <a:pt x="496922" y="96803"/>
                  </a:lnTo>
                  <a:lnTo>
                    <a:pt x="393665" y="393666"/>
                  </a:lnTo>
                  <a:close/>
                  <a:moveTo>
                    <a:pt x="109710" y="316223"/>
                  </a:moveTo>
                  <a:lnTo>
                    <a:pt x="380759" y="393666"/>
                  </a:lnTo>
                  <a:lnTo>
                    <a:pt x="484015" y="109710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5" name="Freeform: Shape 2704">
              <a:extLst>
                <a:ext uri="{FF2B5EF4-FFF2-40B4-BE49-F238E27FC236}">
                  <a16:creationId xmlns:a16="http://schemas.microsoft.com/office/drawing/2014/main" id="{A1267CDD-705F-4EC5-BB91-25C4DB433FC2}"/>
                </a:ext>
              </a:extLst>
            </p:cNvPr>
            <p:cNvSpPr/>
            <p:nvPr/>
          </p:nvSpPr>
          <p:spPr>
            <a:xfrm>
              <a:off x="3745748" y="3408645"/>
              <a:ext cx="645353" cy="645353"/>
            </a:xfrm>
            <a:custGeom>
              <a:avLst/>
              <a:gdLst>
                <a:gd name="connsiteX0" fmla="*/ 587272 w 645353"/>
                <a:gd name="connsiteY0" fmla="*/ 664714 h 645353"/>
                <a:gd name="connsiteX1" fmla="*/ 96803 w 645353"/>
                <a:gd name="connsiteY1" fmla="*/ 613086 h 645353"/>
                <a:gd name="connsiteX2" fmla="*/ 96803 w 645353"/>
                <a:gd name="connsiteY2" fmla="*/ 613086 h 645353"/>
                <a:gd name="connsiteX3" fmla="*/ 496922 w 645353"/>
                <a:gd name="connsiteY3" fmla="*/ 96803 h 645353"/>
                <a:gd name="connsiteX4" fmla="*/ 587272 w 645353"/>
                <a:gd name="connsiteY4" fmla="*/ 664714 h 645353"/>
                <a:gd name="connsiteX5" fmla="*/ 96803 w 645353"/>
                <a:gd name="connsiteY5" fmla="*/ 613086 h 645353"/>
                <a:gd name="connsiteX6" fmla="*/ 574365 w 645353"/>
                <a:gd name="connsiteY6" fmla="*/ 651807 h 645353"/>
                <a:gd name="connsiteX7" fmla="*/ 484015 w 645353"/>
                <a:gd name="connsiteY7" fmla="*/ 109710 h 645353"/>
                <a:gd name="connsiteX8" fmla="*/ 96803 w 645353"/>
                <a:gd name="connsiteY8" fmla="*/ 613086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645353">
                  <a:moveTo>
                    <a:pt x="587272" y="664714"/>
                  </a:moveTo>
                  <a:lnTo>
                    <a:pt x="96803" y="613086"/>
                  </a:lnTo>
                  <a:lnTo>
                    <a:pt x="96803" y="613086"/>
                  </a:lnTo>
                  <a:lnTo>
                    <a:pt x="496922" y="96803"/>
                  </a:lnTo>
                  <a:lnTo>
                    <a:pt x="587272" y="664714"/>
                  </a:lnTo>
                  <a:close/>
                  <a:moveTo>
                    <a:pt x="96803" y="613086"/>
                  </a:moveTo>
                  <a:lnTo>
                    <a:pt x="574365" y="651807"/>
                  </a:lnTo>
                  <a:lnTo>
                    <a:pt x="484015" y="109710"/>
                  </a:lnTo>
                  <a:lnTo>
                    <a:pt x="96803" y="6130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6" name="Freeform: Shape 2705">
              <a:extLst>
                <a:ext uri="{FF2B5EF4-FFF2-40B4-BE49-F238E27FC236}">
                  <a16:creationId xmlns:a16="http://schemas.microsoft.com/office/drawing/2014/main" id="{A7592825-D902-4EEE-A843-0583232448AE}"/>
                </a:ext>
              </a:extLst>
            </p:cNvPr>
            <p:cNvSpPr/>
            <p:nvPr/>
          </p:nvSpPr>
          <p:spPr>
            <a:xfrm>
              <a:off x="4132960" y="3408645"/>
              <a:ext cx="645353" cy="645353"/>
            </a:xfrm>
            <a:custGeom>
              <a:avLst/>
              <a:gdLst>
                <a:gd name="connsiteX0" fmla="*/ 187153 w 645353"/>
                <a:gd name="connsiteY0" fmla="*/ 664714 h 645353"/>
                <a:gd name="connsiteX1" fmla="*/ 96803 w 645353"/>
                <a:gd name="connsiteY1" fmla="*/ 96803 h 645353"/>
                <a:gd name="connsiteX2" fmla="*/ 587271 w 645353"/>
                <a:gd name="connsiteY2" fmla="*/ 445294 h 645353"/>
                <a:gd name="connsiteX3" fmla="*/ 187153 w 645353"/>
                <a:gd name="connsiteY3" fmla="*/ 664714 h 645353"/>
                <a:gd name="connsiteX4" fmla="*/ 109710 w 645353"/>
                <a:gd name="connsiteY4" fmla="*/ 122617 h 645353"/>
                <a:gd name="connsiteX5" fmla="*/ 200060 w 645353"/>
                <a:gd name="connsiteY5" fmla="*/ 664714 h 645353"/>
                <a:gd name="connsiteX6" fmla="*/ 587271 w 645353"/>
                <a:gd name="connsiteY6" fmla="*/ 458201 h 645353"/>
                <a:gd name="connsiteX7" fmla="*/ 109710 w 645353"/>
                <a:gd name="connsiteY7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187153" y="664714"/>
                  </a:moveTo>
                  <a:lnTo>
                    <a:pt x="96803" y="96803"/>
                  </a:lnTo>
                  <a:lnTo>
                    <a:pt x="587271" y="445294"/>
                  </a:lnTo>
                  <a:lnTo>
                    <a:pt x="187153" y="664714"/>
                  </a:lnTo>
                  <a:close/>
                  <a:moveTo>
                    <a:pt x="109710" y="122617"/>
                  </a:moveTo>
                  <a:lnTo>
                    <a:pt x="200060" y="664714"/>
                  </a:lnTo>
                  <a:lnTo>
                    <a:pt x="587271" y="458201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7" name="Freeform: Shape 2706">
              <a:extLst>
                <a:ext uri="{FF2B5EF4-FFF2-40B4-BE49-F238E27FC236}">
                  <a16:creationId xmlns:a16="http://schemas.microsoft.com/office/drawing/2014/main" id="{C192A152-4C46-4712-81B7-C13ECC4D145D}"/>
                </a:ext>
              </a:extLst>
            </p:cNvPr>
            <p:cNvSpPr/>
            <p:nvPr/>
          </p:nvSpPr>
          <p:spPr>
            <a:xfrm>
              <a:off x="4132960" y="2827827"/>
              <a:ext cx="645353" cy="774424"/>
            </a:xfrm>
            <a:custGeom>
              <a:avLst/>
              <a:gdLst>
                <a:gd name="connsiteX0" fmla="*/ 96803 w 645353"/>
                <a:gd name="connsiteY0" fmla="*/ 703435 h 774423"/>
                <a:gd name="connsiteX1" fmla="*/ 316223 w 645353"/>
                <a:gd name="connsiteY1" fmla="*/ 96803 h 774423"/>
                <a:gd name="connsiteX2" fmla="*/ 548550 w 645353"/>
                <a:gd name="connsiteY2" fmla="*/ 535643 h 774423"/>
                <a:gd name="connsiteX3" fmla="*/ 96803 w 645353"/>
                <a:gd name="connsiteY3" fmla="*/ 703435 h 774423"/>
                <a:gd name="connsiteX4" fmla="*/ 316223 w 645353"/>
                <a:gd name="connsiteY4" fmla="*/ 109710 h 774423"/>
                <a:gd name="connsiteX5" fmla="*/ 109710 w 645353"/>
                <a:gd name="connsiteY5" fmla="*/ 690528 h 774423"/>
                <a:gd name="connsiteX6" fmla="*/ 535643 w 645353"/>
                <a:gd name="connsiteY6" fmla="*/ 522736 h 774423"/>
                <a:gd name="connsiteX7" fmla="*/ 316223 w 645353"/>
                <a:gd name="connsiteY7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774423">
                  <a:moveTo>
                    <a:pt x="96803" y="703435"/>
                  </a:moveTo>
                  <a:lnTo>
                    <a:pt x="316223" y="96803"/>
                  </a:lnTo>
                  <a:lnTo>
                    <a:pt x="548550" y="535643"/>
                  </a:lnTo>
                  <a:lnTo>
                    <a:pt x="96803" y="703435"/>
                  </a:lnTo>
                  <a:close/>
                  <a:moveTo>
                    <a:pt x="316223" y="109710"/>
                  </a:moveTo>
                  <a:lnTo>
                    <a:pt x="109710" y="690528"/>
                  </a:lnTo>
                  <a:lnTo>
                    <a:pt x="535643" y="522736"/>
                  </a:lnTo>
                  <a:lnTo>
                    <a:pt x="31622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8" name="Freeform: Shape 2707">
              <a:extLst>
                <a:ext uri="{FF2B5EF4-FFF2-40B4-BE49-F238E27FC236}">
                  <a16:creationId xmlns:a16="http://schemas.microsoft.com/office/drawing/2014/main" id="{6D915B38-683D-42EC-A9E2-4AC10345858E}"/>
                </a:ext>
              </a:extLst>
            </p:cNvPr>
            <p:cNvSpPr/>
            <p:nvPr/>
          </p:nvSpPr>
          <p:spPr>
            <a:xfrm>
              <a:off x="4132960" y="3253760"/>
              <a:ext cx="645353" cy="645353"/>
            </a:xfrm>
            <a:custGeom>
              <a:avLst/>
              <a:gdLst>
                <a:gd name="connsiteX0" fmla="*/ 587271 w 645353"/>
                <a:gd name="connsiteY0" fmla="*/ 613086 h 645353"/>
                <a:gd name="connsiteX1" fmla="*/ 96803 w 645353"/>
                <a:gd name="connsiteY1" fmla="*/ 264595 h 645353"/>
                <a:gd name="connsiteX2" fmla="*/ 548550 w 645353"/>
                <a:gd name="connsiteY2" fmla="*/ 96803 h 645353"/>
                <a:gd name="connsiteX3" fmla="*/ 587271 w 645353"/>
                <a:gd name="connsiteY3" fmla="*/ 613086 h 645353"/>
                <a:gd name="connsiteX4" fmla="*/ 109710 w 645353"/>
                <a:gd name="connsiteY4" fmla="*/ 264595 h 645353"/>
                <a:gd name="connsiteX5" fmla="*/ 574365 w 645353"/>
                <a:gd name="connsiteY5" fmla="*/ 600178 h 645353"/>
                <a:gd name="connsiteX6" fmla="*/ 535643 w 645353"/>
                <a:gd name="connsiteY6" fmla="*/ 96803 h 645353"/>
                <a:gd name="connsiteX7" fmla="*/ 109710 w 645353"/>
                <a:gd name="connsiteY7" fmla="*/ 264595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587271" y="613086"/>
                  </a:moveTo>
                  <a:lnTo>
                    <a:pt x="96803" y="264595"/>
                  </a:lnTo>
                  <a:lnTo>
                    <a:pt x="548550" y="96803"/>
                  </a:lnTo>
                  <a:lnTo>
                    <a:pt x="587271" y="613086"/>
                  </a:lnTo>
                  <a:close/>
                  <a:moveTo>
                    <a:pt x="109710" y="264595"/>
                  </a:moveTo>
                  <a:lnTo>
                    <a:pt x="574365" y="600178"/>
                  </a:lnTo>
                  <a:lnTo>
                    <a:pt x="535643" y="96803"/>
                  </a:lnTo>
                  <a:lnTo>
                    <a:pt x="109710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09" name="Freeform: Shape 2708">
              <a:extLst>
                <a:ext uri="{FF2B5EF4-FFF2-40B4-BE49-F238E27FC236}">
                  <a16:creationId xmlns:a16="http://schemas.microsoft.com/office/drawing/2014/main" id="{E98DC8BE-F237-4467-9D07-4B2B503A5372}"/>
                </a:ext>
              </a:extLst>
            </p:cNvPr>
            <p:cNvSpPr/>
            <p:nvPr/>
          </p:nvSpPr>
          <p:spPr>
            <a:xfrm>
              <a:off x="4571801" y="3240853"/>
              <a:ext cx="387212" cy="645353"/>
            </a:xfrm>
            <a:custGeom>
              <a:avLst/>
              <a:gdLst>
                <a:gd name="connsiteX0" fmla="*/ 135524 w 387211"/>
                <a:gd name="connsiteY0" fmla="*/ 625993 h 645353"/>
                <a:gd name="connsiteX1" fmla="*/ 96803 w 387211"/>
                <a:gd name="connsiteY1" fmla="*/ 96803 h 645353"/>
                <a:gd name="connsiteX2" fmla="*/ 367851 w 387211"/>
                <a:gd name="connsiteY2" fmla="*/ 471108 h 645353"/>
                <a:gd name="connsiteX3" fmla="*/ 135524 w 387211"/>
                <a:gd name="connsiteY3" fmla="*/ 625993 h 645353"/>
                <a:gd name="connsiteX4" fmla="*/ 109710 w 387211"/>
                <a:gd name="connsiteY4" fmla="*/ 122617 h 645353"/>
                <a:gd name="connsiteX5" fmla="*/ 148431 w 387211"/>
                <a:gd name="connsiteY5" fmla="*/ 613086 h 645353"/>
                <a:gd name="connsiteX6" fmla="*/ 367851 w 387211"/>
                <a:gd name="connsiteY6" fmla="*/ 471108 h 645353"/>
                <a:gd name="connsiteX7" fmla="*/ 109710 w 387211"/>
                <a:gd name="connsiteY7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135524" y="625993"/>
                  </a:moveTo>
                  <a:lnTo>
                    <a:pt x="96803" y="96803"/>
                  </a:lnTo>
                  <a:lnTo>
                    <a:pt x="367851" y="471108"/>
                  </a:lnTo>
                  <a:lnTo>
                    <a:pt x="135524" y="625993"/>
                  </a:lnTo>
                  <a:close/>
                  <a:moveTo>
                    <a:pt x="109710" y="122617"/>
                  </a:moveTo>
                  <a:lnTo>
                    <a:pt x="148431" y="613086"/>
                  </a:lnTo>
                  <a:lnTo>
                    <a:pt x="367851" y="471108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0" name="Freeform: Shape 2709">
              <a:extLst>
                <a:ext uri="{FF2B5EF4-FFF2-40B4-BE49-F238E27FC236}">
                  <a16:creationId xmlns:a16="http://schemas.microsoft.com/office/drawing/2014/main" id="{D11B98F7-6B1C-400F-BD17-E4E2AFBD1B4D}"/>
                </a:ext>
              </a:extLst>
            </p:cNvPr>
            <p:cNvSpPr/>
            <p:nvPr/>
          </p:nvSpPr>
          <p:spPr>
            <a:xfrm>
              <a:off x="4558893" y="3240853"/>
              <a:ext cx="516283" cy="516283"/>
            </a:xfrm>
            <a:custGeom>
              <a:avLst/>
              <a:gdLst>
                <a:gd name="connsiteX0" fmla="*/ 380759 w 516282"/>
                <a:gd name="connsiteY0" fmla="*/ 484015 h 516282"/>
                <a:gd name="connsiteX1" fmla="*/ 96803 w 516282"/>
                <a:gd name="connsiteY1" fmla="*/ 96803 h 516282"/>
                <a:gd name="connsiteX2" fmla="*/ 445294 w 516282"/>
                <a:gd name="connsiteY2" fmla="*/ 354944 h 516282"/>
                <a:gd name="connsiteX3" fmla="*/ 380759 w 516282"/>
                <a:gd name="connsiteY3" fmla="*/ 484015 h 516282"/>
                <a:gd name="connsiteX4" fmla="*/ 122617 w 516282"/>
                <a:gd name="connsiteY4" fmla="*/ 122617 h 516282"/>
                <a:gd name="connsiteX5" fmla="*/ 367852 w 516282"/>
                <a:gd name="connsiteY5" fmla="*/ 471108 h 516282"/>
                <a:gd name="connsiteX6" fmla="*/ 432387 w 516282"/>
                <a:gd name="connsiteY6" fmla="*/ 354944 h 516282"/>
                <a:gd name="connsiteX7" fmla="*/ 122617 w 516282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380759" y="484015"/>
                  </a:moveTo>
                  <a:lnTo>
                    <a:pt x="96803" y="96803"/>
                  </a:lnTo>
                  <a:lnTo>
                    <a:pt x="445294" y="354944"/>
                  </a:lnTo>
                  <a:lnTo>
                    <a:pt x="380759" y="484015"/>
                  </a:lnTo>
                  <a:close/>
                  <a:moveTo>
                    <a:pt x="122617" y="122617"/>
                  </a:moveTo>
                  <a:lnTo>
                    <a:pt x="367852" y="471108"/>
                  </a:lnTo>
                  <a:lnTo>
                    <a:pt x="432387" y="354944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1" name="Freeform: Shape 2710">
              <a:extLst>
                <a:ext uri="{FF2B5EF4-FFF2-40B4-BE49-F238E27FC236}">
                  <a16:creationId xmlns:a16="http://schemas.microsoft.com/office/drawing/2014/main" id="{B363D97B-CB8E-40B9-80EC-A10CDB85E723}"/>
                </a:ext>
              </a:extLst>
            </p:cNvPr>
            <p:cNvSpPr/>
            <p:nvPr/>
          </p:nvSpPr>
          <p:spPr>
            <a:xfrm>
              <a:off x="4571801" y="3202132"/>
              <a:ext cx="516283" cy="387212"/>
            </a:xfrm>
            <a:custGeom>
              <a:avLst/>
              <a:gdLst>
                <a:gd name="connsiteX0" fmla="*/ 432386 w 516282"/>
                <a:gd name="connsiteY0" fmla="*/ 393665 h 387211"/>
                <a:gd name="connsiteX1" fmla="*/ 96803 w 516282"/>
                <a:gd name="connsiteY1" fmla="*/ 148431 h 387211"/>
                <a:gd name="connsiteX2" fmla="*/ 458201 w 516282"/>
                <a:gd name="connsiteY2" fmla="*/ 96803 h 387211"/>
                <a:gd name="connsiteX3" fmla="*/ 432386 w 516282"/>
                <a:gd name="connsiteY3" fmla="*/ 393665 h 387211"/>
                <a:gd name="connsiteX4" fmla="*/ 109710 w 516282"/>
                <a:gd name="connsiteY4" fmla="*/ 148431 h 387211"/>
                <a:gd name="connsiteX5" fmla="*/ 432386 w 516282"/>
                <a:gd name="connsiteY5" fmla="*/ 380759 h 387211"/>
                <a:gd name="connsiteX6" fmla="*/ 445294 w 516282"/>
                <a:gd name="connsiteY6" fmla="*/ 96803 h 387211"/>
                <a:gd name="connsiteX7" fmla="*/ 109710 w 516282"/>
                <a:gd name="connsiteY7" fmla="*/ 14843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32386" y="393665"/>
                  </a:moveTo>
                  <a:lnTo>
                    <a:pt x="96803" y="148431"/>
                  </a:lnTo>
                  <a:lnTo>
                    <a:pt x="458201" y="96803"/>
                  </a:lnTo>
                  <a:lnTo>
                    <a:pt x="432386" y="393665"/>
                  </a:lnTo>
                  <a:close/>
                  <a:moveTo>
                    <a:pt x="109710" y="148431"/>
                  </a:moveTo>
                  <a:lnTo>
                    <a:pt x="432386" y="380759"/>
                  </a:lnTo>
                  <a:lnTo>
                    <a:pt x="445294" y="96803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2" name="Freeform: Shape 2711">
              <a:extLst>
                <a:ext uri="{FF2B5EF4-FFF2-40B4-BE49-F238E27FC236}">
                  <a16:creationId xmlns:a16="http://schemas.microsoft.com/office/drawing/2014/main" id="{72F3D190-835B-41A9-9A54-9AA295C9833D}"/>
                </a:ext>
              </a:extLst>
            </p:cNvPr>
            <p:cNvSpPr/>
            <p:nvPr/>
          </p:nvSpPr>
          <p:spPr>
            <a:xfrm>
              <a:off x="4352380" y="2608407"/>
              <a:ext cx="645353" cy="387212"/>
            </a:xfrm>
            <a:custGeom>
              <a:avLst/>
              <a:gdLst>
                <a:gd name="connsiteX0" fmla="*/ 96803 w 645353"/>
                <a:gd name="connsiteY0" fmla="*/ 316223 h 387211"/>
                <a:gd name="connsiteX1" fmla="*/ 238781 w 645353"/>
                <a:gd name="connsiteY1" fmla="*/ 96803 h 387211"/>
                <a:gd name="connsiteX2" fmla="*/ 638900 w 645353"/>
                <a:gd name="connsiteY2" fmla="*/ 303316 h 387211"/>
                <a:gd name="connsiteX3" fmla="*/ 96803 w 645353"/>
                <a:gd name="connsiteY3" fmla="*/ 316223 h 387211"/>
                <a:gd name="connsiteX4" fmla="*/ 238781 w 645353"/>
                <a:gd name="connsiteY4" fmla="*/ 109710 h 387211"/>
                <a:gd name="connsiteX5" fmla="*/ 109710 w 645353"/>
                <a:gd name="connsiteY5" fmla="*/ 316223 h 387211"/>
                <a:gd name="connsiteX6" fmla="*/ 613086 w 645353"/>
                <a:gd name="connsiteY6" fmla="*/ 303316 h 387211"/>
                <a:gd name="connsiteX7" fmla="*/ 238781 w 645353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96803" y="316223"/>
                  </a:moveTo>
                  <a:lnTo>
                    <a:pt x="238781" y="96803"/>
                  </a:lnTo>
                  <a:lnTo>
                    <a:pt x="638900" y="303316"/>
                  </a:lnTo>
                  <a:lnTo>
                    <a:pt x="96803" y="316223"/>
                  </a:lnTo>
                  <a:close/>
                  <a:moveTo>
                    <a:pt x="238781" y="109710"/>
                  </a:moveTo>
                  <a:lnTo>
                    <a:pt x="109710" y="316223"/>
                  </a:lnTo>
                  <a:lnTo>
                    <a:pt x="613086" y="303316"/>
                  </a:lnTo>
                  <a:lnTo>
                    <a:pt x="23878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3" name="Freeform: Shape 2712">
              <a:extLst>
                <a:ext uri="{FF2B5EF4-FFF2-40B4-BE49-F238E27FC236}">
                  <a16:creationId xmlns:a16="http://schemas.microsoft.com/office/drawing/2014/main" id="{E9F3C6AD-B4E9-498A-B09F-680E5341E9FE}"/>
                </a:ext>
              </a:extLst>
            </p:cNvPr>
            <p:cNvSpPr/>
            <p:nvPr/>
          </p:nvSpPr>
          <p:spPr>
            <a:xfrm>
              <a:off x="4339473" y="2802013"/>
              <a:ext cx="645353" cy="645353"/>
            </a:xfrm>
            <a:custGeom>
              <a:avLst/>
              <a:gdLst>
                <a:gd name="connsiteX0" fmla="*/ 329130 w 645353"/>
                <a:gd name="connsiteY0" fmla="*/ 548550 h 645353"/>
                <a:gd name="connsiteX1" fmla="*/ 96803 w 645353"/>
                <a:gd name="connsiteY1" fmla="*/ 109710 h 645353"/>
                <a:gd name="connsiteX2" fmla="*/ 625993 w 645353"/>
                <a:gd name="connsiteY2" fmla="*/ 96803 h 645353"/>
                <a:gd name="connsiteX3" fmla="*/ 329130 w 645353"/>
                <a:gd name="connsiteY3" fmla="*/ 548550 h 645353"/>
                <a:gd name="connsiteX4" fmla="*/ 122617 w 645353"/>
                <a:gd name="connsiteY4" fmla="*/ 122617 h 645353"/>
                <a:gd name="connsiteX5" fmla="*/ 342037 w 645353"/>
                <a:gd name="connsiteY5" fmla="*/ 535643 h 645353"/>
                <a:gd name="connsiteX6" fmla="*/ 625993 w 645353"/>
                <a:gd name="connsiteY6" fmla="*/ 109710 h 645353"/>
                <a:gd name="connsiteX7" fmla="*/ 122617 w 645353"/>
                <a:gd name="connsiteY7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329130" y="548550"/>
                  </a:moveTo>
                  <a:lnTo>
                    <a:pt x="96803" y="109710"/>
                  </a:lnTo>
                  <a:lnTo>
                    <a:pt x="625993" y="96803"/>
                  </a:lnTo>
                  <a:lnTo>
                    <a:pt x="329130" y="548550"/>
                  </a:lnTo>
                  <a:close/>
                  <a:moveTo>
                    <a:pt x="122617" y="122617"/>
                  </a:moveTo>
                  <a:lnTo>
                    <a:pt x="342037" y="535643"/>
                  </a:lnTo>
                  <a:lnTo>
                    <a:pt x="625993" y="109710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4" name="Freeform: Shape 2713">
              <a:extLst>
                <a:ext uri="{FF2B5EF4-FFF2-40B4-BE49-F238E27FC236}">
                  <a16:creationId xmlns:a16="http://schemas.microsoft.com/office/drawing/2014/main" id="{EA13B52C-A4C8-4C69-8C12-557E8BB7980E}"/>
                </a:ext>
              </a:extLst>
            </p:cNvPr>
            <p:cNvSpPr/>
            <p:nvPr/>
          </p:nvSpPr>
          <p:spPr>
            <a:xfrm>
              <a:off x="4481451" y="2440615"/>
              <a:ext cx="516283" cy="516283"/>
            </a:xfrm>
            <a:custGeom>
              <a:avLst/>
              <a:gdLst>
                <a:gd name="connsiteX0" fmla="*/ 484015 w 516282"/>
                <a:gd name="connsiteY0" fmla="*/ 471108 h 516282"/>
                <a:gd name="connsiteX1" fmla="*/ 96803 w 516282"/>
                <a:gd name="connsiteY1" fmla="*/ 264595 h 516282"/>
                <a:gd name="connsiteX2" fmla="*/ 484015 w 516282"/>
                <a:gd name="connsiteY2" fmla="*/ 96803 h 516282"/>
                <a:gd name="connsiteX3" fmla="*/ 484015 w 516282"/>
                <a:gd name="connsiteY3" fmla="*/ 471108 h 516282"/>
                <a:gd name="connsiteX4" fmla="*/ 109710 w 516282"/>
                <a:gd name="connsiteY4" fmla="*/ 277502 h 516282"/>
                <a:gd name="connsiteX5" fmla="*/ 484015 w 516282"/>
                <a:gd name="connsiteY5" fmla="*/ 471108 h 516282"/>
                <a:gd name="connsiteX6" fmla="*/ 471108 w 516282"/>
                <a:gd name="connsiteY6" fmla="*/ 122617 h 516282"/>
                <a:gd name="connsiteX7" fmla="*/ 109710 w 516282"/>
                <a:gd name="connsiteY7" fmla="*/ 277502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484015" y="471108"/>
                  </a:moveTo>
                  <a:lnTo>
                    <a:pt x="96803" y="264595"/>
                  </a:lnTo>
                  <a:lnTo>
                    <a:pt x="484015" y="96803"/>
                  </a:lnTo>
                  <a:lnTo>
                    <a:pt x="484015" y="471108"/>
                  </a:lnTo>
                  <a:close/>
                  <a:moveTo>
                    <a:pt x="109710" y="277502"/>
                  </a:moveTo>
                  <a:lnTo>
                    <a:pt x="484015" y="471108"/>
                  </a:lnTo>
                  <a:lnTo>
                    <a:pt x="471108" y="122617"/>
                  </a:lnTo>
                  <a:lnTo>
                    <a:pt x="109710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5" name="Freeform: Shape 2714">
              <a:extLst>
                <a:ext uri="{FF2B5EF4-FFF2-40B4-BE49-F238E27FC236}">
                  <a16:creationId xmlns:a16="http://schemas.microsoft.com/office/drawing/2014/main" id="{3CD13345-92F3-4A6A-8C7E-881C5FA827B3}"/>
                </a:ext>
              </a:extLst>
            </p:cNvPr>
            <p:cNvSpPr/>
            <p:nvPr/>
          </p:nvSpPr>
          <p:spPr>
            <a:xfrm>
              <a:off x="4571801" y="2802013"/>
              <a:ext cx="516283" cy="645353"/>
            </a:xfrm>
            <a:custGeom>
              <a:avLst/>
              <a:gdLst>
                <a:gd name="connsiteX0" fmla="*/ 96803 w 516282"/>
                <a:gd name="connsiteY0" fmla="*/ 548550 h 645353"/>
                <a:gd name="connsiteX1" fmla="*/ 393665 w 516282"/>
                <a:gd name="connsiteY1" fmla="*/ 96803 h 645353"/>
                <a:gd name="connsiteX2" fmla="*/ 445294 w 516282"/>
                <a:gd name="connsiteY2" fmla="*/ 496922 h 645353"/>
                <a:gd name="connsiteX3" fmla="*/ 96803 w 516282"/>
                <a:gd name="connsiteY3" fmla="*/ 548550 h 645353"/>
                <a:gd name="connsiteX4" fmla="*/ 393665 w 516282"/>
                <a:gd name="connsiteY4" fmla="*/ 122617 h 645353"/>
                <a:gd name="connsiteX5" fmla="*/ 109710 w 516282"/>
                <a:gd name="connsiteY5" fmla="*/ 548550 h 645353"/>
                <a:gd name="connsiteX6" fmla="*/ 445294 w 516282"/>
                <a:gd name="connsiteY6" fmla="*/ 496922 h 645353"/>
                <a:gd name="connsiteX7" fmla="*/ 393665 w 516282"/>
                <a:gd name="connsiteY7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96803" y="548550"/>
                  </a:moveTo>
                  <a:lnTo>
                    <a:pt x="393665" y="96803"/>
                  </a:lnTo>
                  <a:lnTo>
                    <a:pt x="445294" y="496922"/>
                  </a:lnTo>
                  <a:lnTo>
                    <a:pt x="96803" y="548550"/>
                  </a:lnTo>
                  <a:close/>
                  <a:moveTo>
                    <a:pt x="393665" y="122617"/>
                  </a:moveTo>
                  <a:lnTo>
                    <a:pt x="109710" y="548550"/>
                  </a:lnTo>
                  <a:lnTo>
                    <a:pt x="445294" y="496922"/>
                  </a:lnTo>
                  <a:lnTo>
                    <a:pt x="393665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6" name="Freeform: Shape 2715">
              <a:extLst>
                <a:ext uri="{FF2B5EF4-FFF2-40B4-BE49-F238E27FC236}">
                  <a16:creationId xmlns:a16="http://schemas.microsoft.com/office/drawing/2014/main" id="{E3F88EFE-B9BD-4AFC-B616-814126371BCB}"/>
                </a:ext>
              </a:extLst>
            </p:cNvPr>
            <p:cNvSpPr/>
            <p:nvPr/>
          </p:nvSpPr>
          <p:spPr>
            <a:xfrm>
              <a:off x="4855756" y="2453522"/>
              <a:ext cx="258141" cy="516283"/>
            </a:xfrm>
            <a:custGeom>
              <a:avLst/>
              <a:gdLst>
                <a:gd name="connsiteX0" fmla="*/ 109710 w 258141"/>
                <a:gd name="connsiteY0" fmla="*/ 471108 h 516282"/>
                <a:gd name="connsiteX1" fmla="*/ 96803 w 258141"/>
                <a:gd name="connsiteY1" fmla="*/ 96803 h 516282"/>
                <a:gd name="connsiteX2" fmla="*/ 264595 w 258141"/>
                <a:gd name="connsiteY2" fmla="*/ 251688 h 516282"/>
                <a:gd name="connsiteX3" fmla="*/ 264595 w 258141"/>
                <a:gd name="connsiteY3" fmla="*/ 251688 h 516282"/>
                <a:gd name="connsiteX4" fmla="*/ 109710 w 258141"/>
                <a:gd name="connsiteY4" fmla="*/ 471108 h 516282"/>
                <a:gd name="connsiteX5" fmla="*/ 109710 w 258141"/>
                <a:gd name="connsiteY5" fmla="*/ 96803 h 516282"/>
                <a:gd name="connsiteX6" fmla="*/ 122617 w 258141"/>
                <a:gd name="connsiteY6" fmla="*/ 445294 h 516282"/>
                <a:gd name="connsiteX7" fmla="*/ 277502 w 258141"/>
                <a:gd name="connsiteY7" fmla="*/ 238781 h 516282"/>
                <a:gd name="connsiteX8" fmla="*/ 109710 w 258141"/>
                <a:gd name="connsiteY8" fmla="*/ 9680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516282">
                  <a:moveTo>
                    <a:pt x="109710" y="471108"/>
                  </a:moveTo>
                  <a:lnTo>
                    <a:pt x="96803" y="96803"/>
                  </a:lnTo>
                  <a:lnTo>
                    <a:pt x="264595" y="251688"/>
                  </a:lnTo>
                  <a:lnTo>
                    <a:pt x="264595" y="251688"/>
                  </a:lnTo>
                  <a:lnTo>
                    <a:pt x="109710" y="471108"/>
                  </a:lnTo>
                  <a:close/>
                  <a:moveTo>
                    <a:pt x="109710" y="96803"/>
                  </a:moveTo>
                  <a:lnTo>
                    <a:pt x="122617" y="445294"/>
                  </a:lnTo>
                  <a:lnTo>
                    <a:pt x="277502" y="238781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7" name="Freeform: Shape 2716">
              <a:extLst>
                <a:ext uri="{FF2B5EF4-FFF2-40B4-BE49-F238E27FC236}">
                  <a16:creationId xmlns:a16="http://schemas.microsoft.com/office/drawing/2014/main" id="{8B384B15-C1AA-4192-B681-DB37787B1BD7}"/>
                </a:ext>
              </a:extLst>
            </p:cNvPr>
            <p:cNvSpPr/>
            <p:nvPr/>
          </p:nvSpPr>
          <p:spPr>
            <a:xfrm>
              <a:off x="4868663" y="2802013"/>
              <a:ext cx="387212" cy="516283"/>
            </a:xfrm>
            <a:custGeom>
              <a:avLst/>
              <a:gdLst>
                <a:gd name="connsiteX0" fmla="*/ 148431 w 387211"/>
                <a:gd name="connsiteY0" fmla="*/ 509829 h 516282"/>
                <a:gd name="connsiteX1" fmla="*/ 96803 w 387211"/>
                <a:gd name="connsiteY1" fmla="*/ 96803 h 516282"/>
                <a:gd name="connsiteX2" fmla="*/ 354944 w 387211"/>
                <a:gd name="connsiteY2" fmla="*/ 354944 h 516282"/>
                <a:gd name="connsiteX3" fmla="*/ 148431 w 387211"/>
                <a:gd name="connsiteY3" fmla="*/ 509829 h 516282"/>
                <a:gd name="connsiteX4" fmla="*/ 96803 w 387211"/>
                <a:gd name="connsiteY4" fmla="*/ 122617 h 516282"/>
                <a:gd name="connsiteX5" fmla="*/ 148431 w 387211"/>
                <a:gd name="connsiteY5" fmla="*/ 496922 h 516282"/>
                <a:gd name="connsiteX6" fmla="*/ 342037 w 387211"/>
                <a:gd name="connsiteY6" fmla="*/ 354944 h 516282"/>
                <a:gd name="connsiteX7" fmla="*/ 96803 w 387211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148431" y="509829"/>
                  </a:moveTo>
                  <a:lnTo>
                    <a:pt x="96803" y="96803"/>
                  </a:lnTo>
                  <a:lnTo>
                    <a:pt x="354944" y="354944"/>
                  </a:lnTo>
                  <a:lnTo>
                    <a:pt x="148431" y="509829"/>
                  </a:lnTo>
                  <a:close/>
                  <a:moveTo>
                    <a:pt x="96803" y="122617"/>
                  </a:moveTo>
                  <a:lnTo>
                    <a:pt x="148431" y="496922"/>
                  </a:lnTo>
                  <a:lnTo>
                    <a:pt x="342037" y="354944"/>
                  </a:lnTo>
                  <a:lnTo>
                    <a:pt x="96803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8" name="Freeform: Shape 2717">
              <a:extLst>
                <a:ext uri="{FF2B5EF4-FFF2-40B4-BE49-F238E27FC236}">
                  <a16:creationId xmlns:a16="http://schemas.microsoft.com/office/drawing/2014/main" id="{07040A70-13FC-4A8E-952E-FBA3EFDB441A}"/>
                </a:ext>
              </a:extLst>
            </p:cNvPr>
            <p:cNvSpPr/>
            <p:nvPr/>
          </p:nvSpPr>
          <p:spPr>
            <a:xfrm>
              <a:off x="4868663" y="2595500"/>
              <a:ext cx="387212" cy="645353"/>
            </a:xfrm>
            <a:custGeom>
              <a:avLst/>
              <a:gdLst>
                <a:gd name="connsiteX0" fmla="*/ 354944 w 387211"/>
                <a:gd name="connsiteY0" fmla="*/ 574364 h 645353"/>
                <a:gd name="connsiteX1" fmla="*/ 96803 w 387211"/>
                <a:gd name="connsiteY1" fmla="*/ 316223 h 645353"/>
                <a:gd name="connsiteX2" fmla="*/ 96803 w 387211"/>
                <a:gd name="connsiteY2" fmla="*/ 316223 h 645353"/>
                <a:gd name="connsiteX3" fmla="*/ 264595 w 387211"/>
                <a:gd name="connsiteY3" fmla="*/ 96803 h 645353"/>
                <a:gd name="connsiteX4" fmla="*/ 354944 w 387211"/>
                <a:gd name="connsiteY4" fmla="*/ 574364 h 645353"/>
                <a:gd name="connsiteX5" fmla="*/ 96803 w 387211"/>
                <a:gd name="connsiteY5" fmla="*/ 316223 h 645353"/>
                <a:gd name="connsiteX6" fmla="*/ 342037 w 387211"/>
                <a:gd name="connsiteY6" fmla="*/ 548550 h 645353"/>
                <a:gd name="connsiteX7" fmla="*/ 251688 w 387211"/>
                <a:gd name="connsiteY7" fmla="*/ 109710 h 645353"/>
                <a:gd name="connsiteX8" fmla="*/ 96803 w 387211"/>
                <a:gd name="connsiteY8" fmla="*/ 31622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645353">
                  <a:moveTo>
                    <a:pt x="354944" y="574364"/>
                  </a:moveTo>
                  <a:lnTo>
                    <a:pt x="96803" y="316223"/>
                  </a:lnTo>
                  <a:lnTo>
                    <a:pt x="96803" y="316223"/>
                  </a:lnTo>
                  <a:lnTo>
                    <a:pt x="264595" y="96803"/>
                  </a:lnTo>
                  <a:lnTo>
                    <a:pt x="354944" y="574364"/>
                  </a:lnTo>
                  <a:close/>
                  <a:moveTo>
                    <a:pt x="96803" y="316223"/>
                  </a:moveTo>
                  <a:lnTo>
                    <a:pt x="342037" y="548550"/>
                  </a:lnTo>
                  <a:lnTo>
                    <a:pt x="251688" y="109710"/>
                  </a:lnTo>
                  <a:lnTo>
                    <a:pt x="96803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19" name="Freeform: Shape 2718">
              <a:extLst>
                <a:ext uri="{FF2B5EF4-FFF2-40B4-BE49-F238E27FC236}">
                  <a16:creationId xmlns:a16="http://schemas.microsoft.com/office/drawing/2014/main" id="{C18B0804-378C-43EF-8474-BB7A02525139}"/>
                </a:ext>
              </a:extLst>
            </p:cNvPr>
            <p:cNvSpPr/>
            <p:nvPr/>
          </p:nvSpPr>
          <p:spPr>
            <a:xfrm>
              <a:off x="3306908" y="2698756"/>
              <a:ext cx="774424" cy="387212"/>
            </a:xfrm>
            <a:custGeom>
              <a:avLst/>
              <a:gdLst>
                <a:gd name="connsiteX0" fmla="*/ 703435 w 774423"/>
                <a:gd name="connsiteY0" fmla="*/ 367851 h 387211"/>
                <a:gd name="connsiteX1" fmla="*/ 96803 w 774423"/>
                <a:gd name="connsiteY1" fmla="*/ 109710 h 387211"/>
                <a:gd name="connsiteX2" fmla="*/ 651807 w 774423"/>
                <a:gd name="connsiteY2" fmla="*/ 96803 h 387211"/>
                <a:gd name="connsiteX3" fmla="*/ 703435 w 774423"/>
                <a:gd name="connsiteY3" fmla="*/ 367851 h 387211"/>
                <a:gd name="connsiteX4" fmla="*/ 122617 w 774423"/>
                <a:gd name="connsiteY4" fmla="*/ 122617 h 387211"/>
                <a:gd name="connsiteX5" fmla="*/ 690528 w 774423"/>
                <a:gd name="connsiteY5" fmla="*/ 367851 h 387211"/>
                <a:gd name="connsiteX6" fmla="*/ 638900 w 774423"/>
                <a:gd name="connsiteY6" fmla="*/ 122617 h 387211"/>
                <a:gd name="connsiteX7" fmla="*/ 122617 w 774423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387211">
                  <a:moveTo>
                    <a:pt x="703435" y="367851"/>
                  </a:moveTo>
                  <a:lnTo>
                    <a:pt x="96803" y="109710"/>
                  </a:lnTo>
                  <a:lnTo>
                    <a:pt x="651807" y="96803"/>
                  </a:lnTo>
                  <a:lnTo>
                    <a:pt x="703435" y="367851"/>
                  </a:lnTo>
                  <a:close/>
                  <a:moveTo>
                    <a:pt x="122617" y="122617"/>
                  </a:moveTo>
                  <a:lnTo>
                    <a:pt x="690528" y="367851"/>
                  </a:lnTo>
                  <a:lnTo>
                    <a:pt x="638900" y="122617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0" name="Freeform: Shape 2719">
              <a:extLst>
                <a:ext uri="{FF2B5EF4-FFF2-40B4-BE49-F238E27FC236}">
                  <a16:creationId xmlns:a16="http://schemas.microsoft.com/office/drawing/2014/main" id="{03F3ECDC-3C25-4F00-9B80-0F2FE488EB8C}"/>
                </a:ext>
              </a:extLst>
            </p:cNvPr>
            <p:cNvSpPr/>
            <p:nvPr/>
          </p:nvSpPr>
          <p:spPr>
            <a:xfrm>
              <a:off x="3900633" y="2827827"/>
              <a:ext cx="645353" cy="774424"/>
            </a:xfrm>
            <a:custGeom>
              <a:avLst/>
              <a:gdLst>
                <a:gd name="connsiteX0" fmla="*/ 329130 w 645353"/>
                <a:gd name="connsiteY0" fmla="*/ 703435 h 774423"/>
                <a:gd name="connsiteX1" fmla="*/ 96803 w 645353"/>
                <a:gd name="connsiteY1" fmla="*/ 238781 h 774423"/>
                <a:gd name="connsiteX2" fmla="*/ 548550 w 645353"/>
                <a:gd name="connsiteY2" fmla="*/ 96803 h 774423"/>
                <a:gd name="connsiteX3" fmla="*/ 329130 w 645353"/>
                <a:gd name="connsiteY3" fmla="*/ 703435 h 774423"/>
                <a:gd name="connsiteX4" fmla="*/ 109710 w 645353"/>
                <a:gd name="connsiteY4" fmla="*/ 238781 h 774423"/>
                <a:gd name="connsiteX5" fmla="*/ 329130 w 645353"/>
                <a:gd name="connsiteY5" fmla="*/ 690528 h 774423"/>
                <a:gd name="connsiteX6" fmla="*/ 535643 w 645353"/>
                <a:gd name="connsiteY6" fmla="*/ 109710 h 774423"/>
                <a:gd name="connsiteX7" fmla="*/ 109710 w 645353"/>
                <a:gd name="connsiteY7" fmla="*/ 238781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774423">
                  <a:moveTo>
                    <a:pt x="329130" y="703435"/>
                  </a:moveTo>
                  <a:lnTo>
                    <a:pt x="96803" y="238781"/>
                  </a:lnTo>
                  <a:lnTo>
                    <a:pt x="548550" y="96803"/>
                  </a:lnTo>
                  <a:lnTo>
                    <a:pt x="329130" y="703435"/>
                  </a:lnTo>
                  <a:close/>
                  <a:moveTo>
                    <a:pt x="109710" y="238781"/>
                  </a:moveTo>
                  <a:lnTo>
                    <a:pt x="329130" y="690528"/>
                  </a:lnTo>
                  <a:lnTo>
                    <a:pt x="535643" y="109710"/>
                  </a:lnTo>
                  <a:lnTo>
                    <a:pt x="109710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1" name="Freeform: Shape 2720">
              <a:extLst>
                <a:ext uri="{FF2B5EF4-FFF2-40B4-BE49-F238E27FC236}">
                  <a16:creationId xmlns:a16="http://schemas.microsoft.com/office/drawing/2014/main" id="{9A6E0B52-21C4-4A3D-B874-538C5366B21C}"/>
                </a:ext>
              </a:extLst>
            </p:cNvPr>
            <p:cNvSpPr/>
            <p:nvPr/>
          </p:nvSpPr>
          <p:spPr>
            <a:xfrm>
              <a:off x="2777718" y="2040496"/>
              <a:ext cx="645353" cy="516283"/>
            </a:xfrm>
            <a:custGeom>
              <a:avLst/>
              <a:gdLst>
                <a:gd name="connsiteX0" fmla="*/ 651807 w 645353"/>
                <a:gd name="connsiteY0" fmla="*/ 419480 h 516282"/>
                <a:gd name="connsiteX1" fmla="*/ 96803 w 645353"/>
                <a:gd name="connsiteY1" fmla="*/ 380758 h 516282"/>
                <a:gd name="connsiteX2" fmla="*/ 238781 w 645353"/>
                <a:gd name="connsiteY2" fmla="*/ 96803 h 516282"/>
                <a:gd name="connsiteX3" fmla="*/ 651807 w 645353"/>
                <a:gd name="connsiteY3" fmla="*/ 419480 h 516282"/>
                <a:gd name="connsiteX4" fmla="*/ 96803 w 645353"/>
                <a:gd name="connsiteY4" fmla="*/ 380758 h 516282"/>
                <a:gd name="connsiteX5" fmla="*/ 625993 w 645353"/>
                <a:gd name="connsiteY5" fmla="*/ 406572 h 516282"/>
                <a:gd name="connsiteX6" fmla="*/ 225874 w 645353"/>
                <a:gd name="connsiteY6" fmla="*/ 109710 h 516282"/>
                <a:gd name="connsiteX7" fmla="*/ 96803 w 645353"/>
                <a:gd name="connsiteY7" fmla="*/ 38075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651807" y="419480"/>
                  </a:moveTo>
                  <a:lnTo>
                    <a:pt x="96803" y="380758"/>
                  </a:lnTo>
                  <a:lnTo>
                    <a:pt x="238781" y="96803"/>
                  </a:lnTo>
                  <a:lnTo>
                    <a:pt x="651807" y="419480"/>
                  </a:lnTo>
                  <a:close/>
                  <a:moveTo>
                    <a:pt x="96803" y="380758"/>
                  </a:moveTo>
                  <a:lnTo>
                    <a:pt x="625993" y="406572"/>
                  </a:lnTo>
                  <a:lnTo>
                    <a:pt x="225874" y="109710"/>
                  </a:lnTo>
                  <a:lnTo>
                    <a:pt x="96803" y="3807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2" name="Freeform: Shape 2721">
              <a:extLst>
                <a:ext uri="{FF2B5EF4-FFF2-40B4-BE49-F238E27FC236}">
                  <a16:creationId xmlns:a16="http://schemas.microsoft.com/office/drawing/2014/main" id="{8AB70D3C-FE7D-4735-A859-F017D0FE9633}"/>
                </a:ext>
              </a:extLst>
            </p:cNvPr>
            <p:cNvSpPr/>
            <p:nvPr/>
          </p:nvSpPr>
          <p:spPr>
            <a:xfrm>
              <a:off x="2764812" y="2324451"/>
              <a:ext cx="645353" cy="516283"/>
            </a:xfrm>
            <a:custGeom>
              <a:avLst/>
              <a:gdLst>
                <a:gd name="connsiteX0" fmla="*/ 664714 w 645353"/>
                <a:gd name="connsiteY0" fmla="*/ 496922 h 516282"/>
                <a:gd name="connsiteX1" fmla="*/ 96803 w 645353"/>
                <a:gd name="connsiteY1" fmla="*/ 96803 h 516282"/>
                <a:gd name="connsiteX2" fmla="*/ 651807 w 645353"/>
                <a:gd name="connsiteY2" fmla="*/ 135524 h 516282"/>
                <a:gd name="connsiteX3" fmla="*/ 664714 w 645353"/>
                <a:gd name="connsiteY3" fmla="*/ 496922 h 516282"/>
                <a:gd name="connsiteX4" fmla="*/ 109710 w 645353"/>
                <a:gd name="connsiteY4" fmla="*/ 109710 h 516282"/>
                <a:gd name="connsiteX5" fmla="*/ 651807 w 645353"/>
                <a:gd name="connsiteY5" fmla="*/ 484015 h 516282"/>
                <a:gd name="connsiteX6" fmla="*/ 651807 w 645353"/>
                <a:gd name="connsiteY6" fmla="*/ 135524 h 516282"/>
                <a:gd name="connsiteX7" fmla="*/ 109710 w 645353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664714" y="496922"/>
                  </a:moveTo>
                  <a:lnTo>
                    <a:pt x="96803" y="96803"/>
                  </a:lnTo>
                  <a:lnTo>
                    <a:pt x="651807" y="135524"/>
                  </a:lnTo>
                  <a:lnTo>
                    <a:pt x="664714" y="496922"/>
                  </a:lnTo>
                  <a:close/>
                  <a:moveTo>
                    <a:pt x="109710" y="109710"/>
                  </a:moveTo>
                  <a:lnTo>
                    <a:pt x="651807" y="484015"/>
                  </a:lnTo>
                  <a:lnTo>
                    <a:pt x="651807" y="135524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3" name="Freeform: Shape 2722">
              <a:extLst>
                <a:ext uri="{FF2B5EF4-FFF2-40B4-BE49-F238E27FC236}">
                  <a16:creationId xmlns:a16="http://schemas.microsoft.com/office/drawing/2014/main" id="{EB3D9FC4-22F1-4227-9F34-15684391892B}"/>
                </a:ext>
              </a:extLst>
            </p:cNvPr>
            <p:cNvSpPr/>
            <p:nvPr/>
          </p:nvSpPr>
          <p:spPr>
            <a:xfrm>
              <a:off x="3319815" y="2363172"/>
              <a:ext cx="645353" cy="516283"/>
            </a:xfrm>
            <a:custGeom>
              <a:avLst/>
              <a:gdLst>
                <a:gd name="connsiteX0" fmla="*/ 96803 w 645353"/>
                <a:gd name="connsiteY0" fmla="*/ 458201 h 516282"/>
                <a:gd name="connsiteX1" fmla="*/ 96803 w 645353"/>
                <a:gd name="connsiteY1" fmla="*/ 96803 h 516282"/>
                <a:gd name="connsiteX2" fmla="*/ 574365 w 645353"/>
                <a:gd name="connsiteY2" fmla="*/ 148431 h 516282"/>
                <a:gd name="connsiteX3" fmla="*/ 96803 w 645353"/>
                <a:gd name="connsiteY3" fmla="*/ 458201 h 516282"/>
                <a:gd name="connsiteX4" fmla="*/ 96803 w 645353"/>
                <a:gd name="connsiteY4" fmla="*/ 96803 h 516282"/>
                <a:gd name="connsiteX5" fmla="*/ 109710 w 645353"/>
                <a:gd name="connsiteY5" fmla="*/ 445294 h 516282"/>
                <a:gd name="connsiteX6" fmla="*/ 561457 w 645353"/>
                <a:gd name="connsiteY6" fmla="*/ 148431 h 516282"/>
                <a:gd name="connsiteX7" fmla="*/ 96803 w 645353"/>
                <a:gd name="connsiteY7" fmla="*/ 9680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96803" y="458201"/>
                  </a:moveTo>
                  <a:lnTo>
                    <a:pt x="96803" y="96803"/>
                  </a:lnTo>
                  <a:lnTo>
                    <a:pt x="574365" y="148431"/>
                  </a:lnTo>
                  <a:lnTo>
                    <a:pt x="96803" y="458201"/>
                  </a:lnTo>
                  <a:close/>
                  <a:moveTo>
                    <a:pt x="96803" y="96803"/>
                  </a:moveTo>
                  <a:lnTo>
                    <a:pt x="109710" y="445294"/>
                  </a:lnTo>
                  <a:lnTo>
                    <a:pt x="561457" y="148431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4" name="Freeform: Shape 2723">
              <a:extLst>
                <a:ext uri="{FF2B5EF4-FFF2-40B4-BE49-F238E27FC236}">
                  <a16:creationId xmlns:a16="http://schemas.microsoft.com/office/drawing/2014/main" id="{E0ED9828-8CAA-43C3-9474-FEBFF18DD78E}"/>
                </a:ext>
              </a:extLst>
            </p:cNvPr>
            <p:cNvSpPr/>
            <p:nvPr/>
          </p:nvSpPr>
          <p:spPr>
            <a:xfrm>
              <a:off x="3319815" y="2040496"/>
              <a:ext cx="645353" cy="516283"/>
            </a:xfrm>
            <a:custGeom>
              <a:avLst/>
              <a:gdLst>
                <a:gd name="connsiteX0" fmla="*/ 574365 w 645353"/>
                <a:gd name="connsiteY0" fmla="*/ 471108 h 516282"/>
                <a:gd name="connsiteX1" fmla="*/ 96803 w 645353"/>
                <a:gd name="connsiteY1" fmla="*/ 419480 h 516282"/>
                <a:gd name="connsiteX2" fmla="*/ 122617 w 645353"/>
                <a:gd name="connsiteY2" fmla="*/ 96803 h 516282"/>
                <a:gd name="connsiteX3" fmla="*/ 574365 w 645353"/>
                <a:gd name="connsiteY3" fmla="*/ 471108 h 516282"/>
                <a:gd name="connsiteX4" fmla="*/ 96803 w 645353"/>
                <a:gd name="connsiteY4" fmla="*/ 419480 h 516282"/>
                <a:gd name="connsiteX5" fmla="*/ 548550 w 645353"/>
                <a:gd name="connsiteY5" fmla="*/ 471108 h 516282"/>
                <a:gd name="connsiteX6" fmla="*/ 109710 w 645353"/>
                <a:gd name="connsiteY6" fmla="*/ 122617 h 516282"/>
                <a:gd name="connsiteX7" fmla="*/ 96803 w 645353"/>
                <a:gd name="connsiteY7" fmla="*/ 41948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574365" y="471108"/>
                  </a:moveTo>
                  <a:lnTo>
                    <a:pt x="96803" y="419480"/>
                  </a:lnTo>
                  <a:lnTo>
                    <a:pt x="122617" y="96803"/>
                  </a:lnTo>
                  <a:lnTo>
                    <a:pt x="574365" y="471108"/>
                  </a:lnTo>
                  <a:close/>
                  <a:moveTo>
                    <a:pt x="96803" y="419480"/>
                  </a:moveTo>
                  <a:lnTo>
                    <a:pt x="548550" y="471108"/>
                  </a:lnTo>
                  <a:lnTo>
                    <a:pt x="109710" y="122617"/>
                  </a:lnTo>
                  <a:lnTo>
                    <a:pt x="96803" y="419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5" name="Freeform: Shape 2724">
              <a:extLst>
                <a:ext uri="{FF2B5EF4-FFF2-40B4-BE49-F238E27FC236}">
                  <a16:creationId xmlns:a16="http://schemas.microsoft.com/office/drawing/2014/main" id="{24A69161-4172-423A-9033-CCF71433D5F9}"/>
                </a:ext>
              </a:extLst>
            </p:cNvPr>
            <p:cNvSpPr/>
            <p:nvPr/>
          </p:nvSpPr>
          <p:spPr>
            <a:xfrm>
              <a:off x="2893882" y="3163410"/>
              <a:ext cx="645353" cy="774424"/>
            </a:xfrm>
            <a:custGeom>
              <a:avLst/>
              <a:gdLst>
                <a:gd name="connsiteX0" fmla="*/ 329130 w 645353"/>
                <a:gd name="connsiteY0" fmla="*/ 780877 h 774423"/>
                <a:gd name="connsiteX1" fmla="*/ 96803 w 645353"/>
                <a:gd name="connsiteY1" fmla="*/ 225874 h 774423"/>
                <a:gd name="connsiteX2" fmla="*/ 600178 w 645353"/>
                <a:gd name="connsiteY2" fmla="*/ 96803 h 774423"/>
                <a:gd name="connsiteX3" fmla="*/ 329130 w 645353"/>
                <a:gd name="connsiteY3" fmla="*/ 780877 h 774423"/>
                <a:gd name="connsiteX4" fmla="*/ 109710 w 645353"/>
                <a:gd name="connsiteY4" fmla="*/ 225874 h 774423"/>
                <a:gd name="connsiteX5" fmla="*/ 329130 w 645353"/>
                <a:gd name="connsiteY5" fmla="*/ 767970 h 774423"/>
                <a:gd name="connsiteX6" fmla="*/ 587271 w 645353"/>
                <a:gd name="connsiteY6" fmla="*/ 109710 h 774423"/>
                <a:gd name="connsiteX7" fmla="*/ 109710 w 645353"/>
                <a:gd name="connsiteY7" fmla="*/ 225874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774423">
                  <a:moveTo>
                    <a:pt x="329130" y="780877"/>
                  </a:moveTo>
                  <a:lnTo>
                    <a:pt x="96803" y="225874"/>
                  </a:lnTo>
                  <a:lnTo>
                    <a:pt x="600178" y="96803"/>
                  </a:lnTo>
                  <a:lnTo>
                    <a:pt x="329130" y="780877"/>
                  </a:lnTo>
                  <a:close/>
                  <a:moveTo>
                    <a:pt x="109710" y="225874"/>
                  </a:moveTo>
                  <a:lnTo>
                    <a:pt x="329130" y="767970"/>
                  </a:lnTo>
                  <a:lnTo>
                    <a:pt x="587271" y="109710"/>
                  </a:lnTo>
                  <a:lnTo>
                    <a:pt x="109710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6" name="Freeform: Shape 2725">
              <a:extLst>
                <a:ext uri="{FF2B5EF4-FFF2-40B4-BE49-F238E27FC236}">
                  <a16:creationId xmlns:a16="http://schemas.microsoft.com/office/drawing/2014/main" id="{29658AA2-4635-4836-BF1C-AC639441ABF8}"/>
                </a:ext>
              </a:extLst>
            </p:cNvPr>
            <p:cNvSpPr/>
            <p:nvPr/>
          </p:nvSpPr>
          <p:spPr>
            <a:xfrm>
              <a:off x="2893882" y="2711663"/>
              <a:ext cx="645353" cy="774424"/>
            </a:xfrm>
            <a:custGeom>
              <a:avLst/>
              <a:gdLst>
                <a:gd name="connsiteX0" fmla="*/ 96803 w 645353"/>
                <a:gd name="connsiteY0" fmla="*/ 690528 h 774423"/>
                <a:gd name="connsiteX1" fmla="*/ 96803 w 645353"/>
                <a:gd name="connsiteY1" fmla="*/ 690528 h 774423"/>
                <a:gd name="connsiteX2" fmla="*/ 535643 w 645353"/>
                <a:gd name="connsiteY2" fmla="*/ 96803 h 774423"/>
                <a:gd name="connsiteX3" fmla="*/ 600178 w 645353"/>
                <a:gd name="connsiteY3" fmla="*/ 561457 h 774423"/>
                <a:gd name="connsiteX4" fmla="*/ 96803 w 645353"/>
                <a:gd name="connsiteY4" fmla="*/ 690528 h 774423"/>
                <a:gd name="connsiteX5" fmla="*/ 522736 w 645353"/>
                <a:gd name="connsiteY5" fmla="*/ 109710 h 774423"/>
                <a:gd name="connsiteX6" fmla="*/ 109710 w 645353"/>
                <a:gd name="connsiteY6" fmla="*/ 677621 h 774423"/>
                <a:gd name="connsiteX7" fmla="*/ 587271 w 645353"/>
                <a:gd name="connsiteY7" fmla="*/ 561457 h 774423"/>
                <a:gd name="connsiteX8" fmla="*/ 522736 w 645353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774423">
                  <a:moveTo>
                    <a:pt x="96803" y="690528"/>
                  </a:moveTo>
                  <a:lnTo>
                    <a:pt x="96803" y="690528"/>
                  </a:lnTo>
                  <a:lnTo>
                    <a:pt x="535643" y="96803"/>
                  </a:lnTo>
                  <a:lnTo>
                    <a:pt x="600178" y="561457"/>
                  </a:lnTo>
                  <a:lnTo>
                    <a:pt x="96803" y="690528"/>
                  </a:lnTo>
                  <a:close/>
                  <a:moveTo>
                    <a:pt x="522736" y="109710"/>
                  </a:moveTo>
                  <a:lnTo>
                    <a:pt x="109710" y="677621"/>
                  </a:lnTo>
                  <a:lnTo>
                    <a:pt x="587271" y="561457"/>
                  </a:lnTo>
                  <a:lnTo>
                    <a:pt x="522736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7" name="Freeform: Shape 2726">
              <a:extLst>
                <a:ext uri="{FF2B5EF4-FFF2-40B4-BE49-F238E27FC236}">
                  <a16:creationId xmlns:a16="http://schemas.microsoft.com/office/drawing/2014/main" id="{8E1BF205-A865-4E0E-9C57-38DCCDEDDEE6}"/>
                </a:ext>
              </a:extLst>
            </p:cNvPr>
            <p:cNvSpPr/>
            <p:nvPr/>
          </p:nvSpPr>
          <p:spPr>
            <a:xfrm>
              <a:off x="3113302" y="3163410"/>
              <a:ext cx="774424" cy="903494"/>
            </a:xfrm>
            <a:custGeom>
              <a:avLst/>
              <a:gdLst>
                <a:gd name="connsiteX0" fmla="*/ 729249 w 774423"/>
                <a:gd name="connsiteY0" fmla="*/ 871227 h 903494"/>
                <a:gd name="connsiteX1" fmla="*/ 96803 w 774423"/>
                <a:gd name="connsiteY1" fmla="*/ 780877 h 903494"/>
                <a:gd name="connsiteX2" fmla="*/ 367851 w 774423"/>
                <a:gd name="connsiteY2" fmla="*/ 96803 h 903494"/>
                <a:gd name="connsiteX3" fmla="*/ 729249 w 774423"/>
                <a:gd name="connsiteY3" fmla="*/ 871227 h 903494"/>
                <a:gd name="connsiteX4" fmla="*/ 109710 w 774423"/>
                <a:gd name="connsiteY4" fmla="*/ 767970 h 903494"/>
                <a:gd name="connsiteX5" fmla="*/ 716342 w 774423"/>
                <a:gd name="connsiteY5" fmla="*/ 858320 h 903494"/>
                <a:gd name="connsiteX6" fmla="*/ 367851 w 774423"/>
                <a:gd name="connsiteY6" fmla="*/ 109710 h 903494"/>
                <a:gd name="connsiteX7" fmla="*/ 109710 w 774423"/>
                <a:gd name="connsiteY7" fmla="*/ 76797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903494">
                  <a:moveTo>
                    <a:pt x="729249" y="871227"/>
                  </a:moveTo>
                  <a:lnTo>
                    <a:pt x="96803" y="780877"/>
                  </a:lnTo>
                  <a:lnTo>
                    <a:pt x="367851" y="96803"/>
                  </a:lnTo>
                  <a:lnTo>
                    <a:pt x="729249" y="871227"/>
                  </a:lnTo>
                  <a:close/>
                  <a:moveTo>
                    <a:pt x="109710" y="767970"/>
                  </a:moveTo>
                  <a:lnTo>
                    <a:pt x="716342" y="858320"/>
                  </a:lnTo>
                  <a:lnTo>
                    <a:pt x="367851" y="109710"/>
                  </a:lnTo>
                  <a:lnTo>
                    <a:pt x="109710" y="7679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8" name="Freeform: Shape 2727">
              <a:extLst>
                <a:ext uri="{FF2B5EF4-FFF2-40B4-BE49-F238E27FC236}">
                  <a16:creationId xmlns:a16="http://schemas.microsoft.com/office/drawing/2014/main" id="{CA2F06D1-F2D0-4C8F-B8F2-80E3816F833B}"/>
                </a:ext>
              </a:extLst>
            </p:cNvPr>
            <p:cNvSpPr/>
            <p:nvPr/>
          </p:nvSpPr>
          <p:spPr>
            <a:xfrm>
              <a:off x="3319815" y="2711663"/>
              <a:ext cx="774424" cy="645353"/>
            </a:xfrm>
            <a:custGeom>
              <a:avLst/>
              <a:gdLst>
                <a:gd name="connsiteX0" fmla="*/ 161338 w 774423"/>
                <a:gd name="connsiteY0" fmla="*/ 561457 h 645353"/>
                <a:gd name="connsiteX1" fmla="*/ 96803 w 774423"/>
                <a:gd name="connsiteY1" fmla="*/ 96803 h 645353"/>
                <a:gd name="connsiteX2" fmla="*/ 703435 w 774423"/>
                <a:gd name="connsiteY2" fmla="*/ 354944 h 645353"/>
                <a:gd name="connsiteX3" fmla="*/ 161338 w 774423"/>
                <a:gd name="connsiteY3" fmla="*/ 561457 h 645353"/>
                <a:gd name="connsiteX4" fmla="*/ 109710 w 774423"/>
                <a:gd name="connsiteY4" fmla="*/ 109710 h 645353"/>
                <a:gd name="connsiteX5" fmla="*/ 174245 w 774423"/>
                <a:gd name="connsiteY5" fmla="*/ 548550 h 645353"/>
                <a:gd name="connsiteX6" fmla="*/ 690528 w 774423"/>
                <a:gd name="connsiteY6" fmla="*/ 354944 h 645353"/>
                <a:gd name="connsiteX7" fmla="*/ 109710 w 774423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645353">
                  <a:moveTo>
                    <a:pt x="161338" y="561457"/>
                  </a:moveTo>
                  <a:lnTo>
                    <a:pt x="96803" y="96803"/>
                  </a:lnTo>
                  <a:lnTo>
                    <a:pt x="703435" y="354944"/>
                  </a:lnTo>
                  <a:lnTo>
                    <a:pt x="161338" y="561457"/>
                  </a:lnTo>
                  <a:close/>
                  <a:moveTo>
                    <a:pt x="109710" y="109710"/>
                  </a:moveTo>
                  <a:lnTo>
                    <a:pt x="174245" y="548550"/>
                  </a:lnTo>
                  <a:lnTo>
                    <a:pt x="690528" y="354944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29" name="Freeform: Shape 2728">
              <a:extLst>
                <a:ext uri="{FF2B5EF4-FFF2-40B4-BE49-F238E27FC236}">
                  <a16:creationId xmlns:a16="http://schemas.microsoft.com/office/drawing/2014/main" id="{FD0F0FEC-28B6-45F3-BE4F-FD8FD86BEEFA}"/>
                </a:ext>
              </a:extLst>
            </p:cNvPr>
            <p:cNvSpPr/>
            <p:nvPr/>
          </p:nvSpPr>
          <p:spPr>
            <a:xfrm>
              <a:off x="3384351" y="3163410"/>
              <a:ext cx="903495" cy="903494"/>
            </a:xfrm>
            <a:custGeom>
              <a:avLst/>
              <a:gdLst>
                <a:gd name="connsiteX0" fmla="*/ 458201 w 903494"/>
                <a:gd name="connsiteY0" fmla="*/ 871227 h 903494"/>
                <a:gd name="connsiteX1" fmla="*/ 96803 w 903494"/>
                <a:gd name="connsiteY1" fmla="*/ 96803 h 903494"/>
                <a:gd name="connsiteX2" fmla="*/ 858320 w 903494"/>
                <a:gd name="connsiteY2" fmla="*/ 354944 h 903494"/>
                <a:gd name="connsiteX3" fmla="*/ 858320 w 903494"/>
                <a:gd name="connsiteY3" fmla="*/ 354944 h 903494"/>
                <a:gd name="connsiteX4" fmla="*/ 458201 w 903494"/>
                <a:gd name="connsiteY4" fmla="*/ 871227 h 903494"/>
                <a:gd name="connsiteX5" fmla="*/ 96803 w 903494"/>
                <a:gd name="connsiteY5" fmla="*/ 109710 h 903494"/>
                <a:gd name="connsiteX6" fmla="*/ 445294 w 903494"/>
                <a:gd name="connsiteY6" fmla="*/ 858320 h 903494"/>
                <a:gd name="connsiteX7" fmla="*/ 832506 w 903494"/>
                <a:gd name="connsiteY7" fmla="*/ 354944 h 903494"/>
                <a:gd name="connsiteX8" fmla="*/ 96803 w 903494"/>
                <a:gd name="connsiteY8" fmla="*/ 10971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903494">
                  <a:moveTo>
                    <a:pt x="458201" y="871227"/>
                  </a:moveTo>
                  <a:lnTo>
                    <a:pt x="96803" y="96803"/>
                  </a:lnTo>
                  <a:lnTo>
                    <a:pt x="858320" y="354944"/>
                  </a:lnTo>
                  <a:lnTo>
                    <a:pt x="858320" y="354944"/>
                  </a:lnTo>
                  <a:lnTo>
                    <a:pt x="458201" y="871227"/>
                  </a:lnTo>
                  <a:close/>
                  <a:moveTo>
                    <a:pt x="96803" y="109710"/>
                  </a:moveTo>
                  <a:lnTo>
                    <a:pt x="445294" y="858320"/>
                  </a:lnTo>
                  <a:lnTo>
                    <a:pt x="832506" y="354944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0" name="Freeform: Shape 2729">
              <a:extLst>
                <a:ext uri="{FF2B5EF4-FFF2-40B4-BE49-F238E27FC236}">
                  <a16:creationId xmlns:a16="http://schemas.microsoft.com/office/drawing/2014/main" id="{AFE47441-D982-4BCF-ADFB-CA13E6A0052D}"/>
                </a:ext>
              </a:extLst>
            </p:cNvPr>
            <p:cNvSpPr/>
            <p:nvPr/>
          </p:nvSpPr>
          <p:spPr>
            <a:xfrm>
              <a:off x="3384351" y="2969804"/>
              <a:ext cx="903495" cy="645353"/>
            </a:xfrm>
            <a:custGeom>
              <a:avLst/>
              <a:gdLst>
                <a:gd name="connsiteX0" fmla="*/ 858320 w 903494"/>
                <a:gd name="connsiteY0" fmla="*/ 561457 h 645353"/>
                <a:gd name="connsiteX1" fmla="*/ 96803 w 903494"/>
                <a:gd name="connsiteY1" fmla="*/ 303316 h 645353"/>
                <a:gd name="connsiteX2" fmla="*/ 638900 w 903494"/>
                <a:gd name="connsiteY2" fmla="*/ 96803 h 645353"/>
                <a:gd name="connsiteX3" fmla="*/ 638900 w 903494"/>
                <a:gd name="connsiteY3" fmla="*/ 96803 h 645353"/>
                <a:gd name="connsiteX4" fmla="*/ 858320 w 903494"/>
                <a:gd name="connsiteY4" fmla="*/ 561457 h 645353"/>
                <a:gd name="connsiteX5" fmla="*/ 109710 w 903494"/>
                <a:gd name="connsiteY5" fmla="*/ 303316 h 645353"/>
                <a:gd name="connsiteX6" fmla="*/ 845413 w 903494"/>
                <a:gd name="connsiteY6" fmla="*/ 548550 h 645353"/>
                <a:gd name="connsiteX7" fmla="*/ 625993 w 903494"/>
                <a:gd name="connsiteY7" fmla="*/ 96803 h 645353"/>
                <a:gd name="connsiteX8" fmla="*/ 109710 w 903494"/>
                <a:gd name="connsiteY8" fmla="*/ 303316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645353">
                  <a:moveTo>
                    <a:pt x="858320" y="561457"/>
                  </a:moveTo>
                  <a:lnTo>
                    <a:pt x="96803" y="303316"/>
                  </a:lnTo>
                  <a:lnTo>
                    <a:pt x="638900" y="96803"/>
                  </a:lnTo>
                  <a:lnTo>
                    <a:pt x="638900" y="96803"/>
                  </a:lnTo>
                  <a:lnTo>
                    <a:pt x="858320" y="561457"/>
                  </a:lnTo>
                  <a:close/>
                  <a:moveTo>
                    <a:pt x="109710" y="303316"/>
                  </a:moveTo>
                  <a:lnTo>
                    <a:pt x="845413" y="548550"/>
                  </a:lnTo>
                  <a:lnTo>
                    <a:pt x="625993" y="96803"/>
                  </a:lnTo>
                  <a:lnTo>
                    <a:pt x="109710" y="3033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1" name="Freeform: Shape 2730">
              <a:extLst>
                <a:ext uri="{FF2B5EF4-FFF2-40B4-BE49-F238E27FC236}">
                  <a16:creationId xmlns:a16="http://schemas.microsoft.com/office/drawing/2014/main" id="{3A5A3EFB-2F5C-4E8C-95FC-7A19A5224482}"/>
                </a:ext>
              </a:extLst>
            </p:cNvPr>
            <p:cNvSpPr/>
            <p:nvPr/>
          </p:nvSpPr>
          <p:spPr>
            <a:xfrm>
              <a:off x="2390506" y="3460273"/>
              <a:ext cx="387212" cy="387212"/>
            </a:xfrm>
            <a:custGeom>
              <a:avLst/>
              <a:gdLst>
                <a:gd name="connsiteX0" fmla="*/ 122617 w 387211"/>
                <a:gd name="connsiteY0" fmla="*/ 406572 h 387211"/>
                <a:gd name="connsiteX1" fmla="*/ 96803 w 387211"/>
                <a:gd name="connsiteY1" fmla="*/ 96803 h 387211"/>
                <a:gd name="connsiteX2" fmla="*/ 367851 w 387211"/>
                <a:gd name="connsiteY2" fmla="*/ 225874 h 387211"/>
                <a:gd name="connsiteX3" fmla="*/ 122617 w 387211"/>
                <a:gd name="connsiteY3" fmla="*/ 406572 h 387211"/>
                <a:gd name="connsiteX4" fmla="*/ 96803 w 387211"/>
                <a:gd name="connsiteY4" fmla="*/ 109710 h 387211"/>
                <a:gd name="connsiteX5" fmla="*/ 122617 w 387211"/>
                <a:gd name="connsiteY5" fmla="*/ 393665 h 387211"/>
                <a:gd name="connsiteX6" fmla="*/ 354944 w 387211"/>
                <a:gd name="connsiteY6" fmla="*/ 225874 h 387211"/>
                <a:gd name="connsiteX7" fmla="*/ 96803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22617" y="406572"/>
                  </a:moveTo>
                  <a:lnTo>
                    <a:pt x="96803" y="96803"/>
                  </a:lnTo>
                  <a:lnTo>
                    <a:pt x="367851" y="225874"/>
                  </a:lnTo>
                  <a:lnTo>
                    <a:pt x="122617" y="406572"/>
                  </a:lnTo>
                  <a:close/>
                  <a:moveTo>
                    <a:pt x="96803" y="109710"/>
                  </a:moveTo>
                  <a:lnTo>
                    <a:pt x="122617" y="393665"/>
                  </a:lnTo>
                  <a:lnTo>
                    <a:pt x="354944" y="225874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2" name="Freeform: Shape 2731">
              <a:extLst>
                <a:ext uri="{FF2B5EF4-FFF2-40B4-BE49-F238E27FC236}">
                  <a16:creationId xmlns:a16="http://schemas.microsoft.com/office/drawing/2014/main" id="{4F407992-3442-4F4A-8EF3-EA13600B29C0}"/>
                </a:ext>
              </a:extLst>
            </p:cNvPr>
            <p:cNvSpPr/>
            <p:nvPr/>
          </p:nvSpPr>
          <p:spPr>
            <a:xfrm>
              <a:off x="2390506" y="3163410"/>
              <a:ext cx="387212" cy="516283"/>
            </a:xfrm>
            <a:custGeom>
              <a:avLst/>
              <a:gdLst>
                <a:gd name="connsiteX0" fmla="*/ 367851 w 387211"/>
                <a:gd name="connsiteY0" fmla="*/ 535643 h 516282"/>
                <a:gd name="connsiteX1" fmla="*/ 96803 w 387211"/>
                <a:gd name="connsiteY1" fmla="*/ 406572 h 516282"/>
                <a:gd name="connsiteX2" fmla="*/ 161338 w 387211"/>
                <a:gd name="connsiteY2" fmla="*/ 96803 h 516282"/>
                <a:gd name="connsiteX3" fmla="*/ 367851 w 387211"/>
                <a:gd name="connsiteY3" fmla="*/ 535643 h 516282"/>
                <a:gd name="connsiteX4" fmla="*/ 96803 w 387211"/>
                <a:gd name="connsiteY4" fmla="*/ 393665 h 516282"/>
                <a:gd name="connsiteX5" fmla="*/ 354944 w 387211"/>
                <a:gd name="connsiteY5" fmla="*/ 509829 h 516282"/>
                <a:gd name="connsiteX6" fmla="*/ 148431 w 387211"/>
                <a:gd name="connsiteY6" fmla="*/ 109710 h 516282"/>
                <a:gd name="connsiteX7" fmla="*/ 96803 w 387211"/>
                <a:gd name="connsiteY7" fmla="*/ 39366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67851" y="535643"/>
                  </a:moveTo>
                  <a:lnTo>
                    <a:pt x="96803" y="406572"/>
                  </a:lnTo>
                  <a:lnTo>
                    <a:pt x="161338" y="96803"/>
                  </a:lnTo>
                  <a:lnTo>
                    <a:pt x="367851" y="535643"/>
                  </a:lnTo>
                  <a:close/>
                  <a:moveTo>
                    <a:pt x="96803" y="393665"/>
                  </a:moveTo>
                  <a:lnTo>
                    <a:pt x="354944" y="509829"/>
                  </a:lnTo>
                  <a:lnTo>
                    <a:pt x="148431" y="109710"/>
                  </a:lnTo>
                  <a:lnTo>
                    <a:pt x="96803" y="3936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3" name="Freeform: Shape 2732">
              <a:extLst>
                <a:ext uri="{FF2B5EF4-FFF2-40B4-BE49-F238E27FC236}">
                  <a16:creationId xmlns:a16="http://schemas.microsoft.com/office/drawing/2014/main" id="{BC74DE13-C372-47D8-9688-D17596E42A7D}"/>
                </a:ext>
              </a:extLst>
            </p:cNvPr>
            <p:cNvSpPr/>
            <p:nvPr/>
          </p:nvSpPr>
          <p:spPr>
            <a:xfrm>
              <a:off x="2403414" y="3589344"/>
              <a:ext cx="387212" cy="516283"/>
            </a:xfrm>
            <a:custGeom>
              <a:avLst/>
              <a:gdLst>
                <a:gd name="connsiteX0" fmla="*/ 264595 w 387211"/>
                <a:gd name="connsiteY0" fmla="*/ 522736 h 516282"/>
                <a:gd name="connsiteX1" fmla="*/ 96803 w 387211"/>
                <a:gd name="connsiteY1" fmla="*/ 277502 h 516282"/>
                <a:gd name="connsiteX2" fmla="*/ 96803 w 387211"/>
                <a:gd name="connsiteY2" fmla="*/ 277502 h 516282"/>
                <a:gd name="connsiteX3" fmla="*/ 342037 w 387211"/>
                <a:gd name="connsiteY3" fmla="*/ 96803 h 516282"/>
                <a:gd name="connsiteX4" fmla="*/ 264595 w 387211"/>
                <a:gd name="connsiteY4" fmla="*/ 522736 h 516282"/>
                <a:gd name="connsiteX5" fmla="*/ 109710 w 387211"/>
                <a:gd name="connsiteY5" fmla="*/ 277502 h 516282"/>
                <a:gd name="connsiteX6" fmla="*/ 264595 w 387211"/>
                <a:gd name="connsiteY6" fmla="*/ 509829 h 516282"/>
                <a:gd name="connsiteX7" fmla="*/ 342037 w 387211"/>
                <a:gd name="connsiteY7" fmla="*/ 109710 h 516282"/>
                <a:gd name="connsiteX8" fmla="*/ 109710 w 387211"/>
                <a:gd name="connsiteY8" fmla="*/ 277502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516282">
                  <a:moveTo>
                    <a:pt x="264595" y="522736"/>
                  </a:moveTo>
                  <a:lnTo>
                    <a:pt x="96803" y="277502"/>
                  </a:lnTo>
                  <a:lnTo>
                    <a:pt x="96803" y="277502"/>
                  </a:lnTo>
                  <a:lnTo>
                    <a:pt x="342037" y="96803"/>
                  </a:lnTo>
                  <a:lnTo>
                    <a:pt x="264595" y="522736"/>
                  </a:lnTo>
                  <a:close/>
                  <a:moveTo>
                    <a:pt x="109710" y="277502"/>
                  </a:moveTo>
                  <a:lnTo>
                    <a:pt x="264595" y="509829"/>
                  </a:lnTo>
                  <a:lnTo>
                    <a:pt x="342037" y="109710"/>
                  </a:lnTo>
                  <a:lnTo>
                    <a:pt x="109710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4" name="Freeform: Shape 2733">
              <a:extLst>
                <a:ext uri="{FF2B5EF4-FFF2-40B4-BE49-F238E27FC236}">
                  <a16:creationId xmlns:a16="http://schemas.microsoft.com/office/drawing/2014/main" id="{ACB5C71F-6020-4F31-A8CA-58562621FAD1}"/>
                </a:ext>
              </a:extLst>
            </p:cNvPr>
            <p:cNvSpPr/>
            <p:nvPr/>
          </p:nvSpPr>
          <p:spPr>
            <a:xfrm>
              <a:off x="2429228" y="3176317"/>
              <a:ext cx="645353" cy="516283"/>
            </a:xfrm>
            <a:custGeom>
              <a:avLst/>
              <a:gdLst>
                <a:gd name="connsiteX0" fmla="*/ 316223 w 645353"/>
                <a:gd name="connsiteY0" fmla="*/ 522736 h 516282"/>
                <a:gd name="connsiteX1" fmla="*/ 96803 w 645353"/>
                <a:gd name="connsiteY1" fmla="*/ 96803 h 516282"/>
                <a:gd name="connsiteX2" fmla="*/ 561457 w 645353"/>
                <a:gd name="connsiteY2" fmla="*/ 225874 h 516282"/>
                <a:gd name="connsiteX3" fmla="*/ 316223 w 645353"/>
                <a:gd name="connsiteY3" fmla="*/ 522736 h 516282"/>
                <a:gd name="connsiteX4" fmla="*/ 109710 w 645353"/>
                <a:gd name="connsiteY4" fmla="*/ 96803 h 516282"/>
                <a:gd name="connsiteX5" fmla="*/ 316223 w 645353"/>
                <a:gd name="connsiteY5" fmla="*/ 509829 h 516282"/>
                <a:gd name="connsiteX6" fmla="*/ 561457 w 645353"/>
                <a:gd name="connsiteY6" fmla="*/ 225874 h 516282"/>
                <a:gd name="connsiteX7" fmla="*/ 109710 w 645353"/>
                <a:gd name="connsiteY7" fmla="*/ 9680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316223" y="522736"/>
                  </a:moveTo>
                  <a:lnTo>
                    <a:pt x="96803" y="96803"/>
                  </a:lnTo>
                  <a:lnTo>
                    <a:pt x="561457" y="225874"/>
                  </a:lnTo>
                  <a:lnTo>
                    <a:pt x="316223" y="522736"/>
                  </a:lnTo>
                  <a:close/>
                  <a:moveTo>
                    <a:pt x="109710" y="96803"/>
                  </a:moveTo>
                  <a:lnTo>
                    <a:pt x="316223" y="509829"/>
                  </a:lnTo>
                  <a:lnTo>
                    <a:pt x="561457" y="225874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5" name="Freeform: Shape 2734">
              <a:extLst>
                <a:ext uri="{FF2B5EF4-FFF2-40B4-BE49-F238E27FC236}">
                  <a16:creationId xmlns:a16="http://schemas.microsoft.com/office/drawing/2014/main" id="{CF0DAA00-CC63-4429-81DC-D3A63EDF927D}"/>
                </a:ext>
              </a:extLst>
            </p:cNvPr>
            <p:cNvSpPr/>
            <p:nvPr/>
          </p:nvSpPr>
          <p:spPr>
            <a:xfrm>
              <a:off x="2571206" y="3589344"/>
              <a:ext cx="645353" cy="516283"/>
            </a:xfrm>
            <a:custGeom>
              <a:avLst/>
              <a:gdLst>
                <a:gd name="connsiteX0" fmla="*/ 96803 w 645353"/>
                <a:gd name="connsiteY0" fmla="*/ 522736 h 516282"/>
                <a:gd name="connsiteX1" fmla="*/ 174245 w 645353"/>
                <a:gd name="connsiteY1" fmla="*/ 96803 h 516282"/>
                <a:gd name="connsiteX2" fmla="*/ 651807 w 645353"/>
                <a:gd name="connsiteY2" fmla="*/ 354944 h 516282"/>
                <a:gd name="connsiteX3" fmla="*/ 638900 w 645353"/>
                <a:gd name="connsiteY3" fmla="*/ 354944 h 516282"/>
                <a:gd name="connsiteX4" fmla="*/ 96803 w 645353"/>
                <a:gd name="connsiteY4" fmla="*/ 522736 h 516282"/>
                <a:gd name="connsiteX5" fmla="*/ 174245 w 645353"/>
                <a:gd name="connsiteY5" fmla="*/ 109710 h 516282"/>
                <a:gd name="connsiteX6" fmla="*/ 96803 w 645353"/>
                <a:gd name="connsiteY6" fmla="*/ 509829 h 516282"/>
                <a:gd name="connsiteX7" fmla="*/ 625992 w 645353"/>
                <a:gd name="connsiteY7" fmla="*/ 354944 h 516282"/>
                <a:gd name="connsiteX8" fmla="*/ 174245 w 645353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516282">
                  <a:moveTo>
                    <a:pt x="96803" y="522736"/>
                  </a:moveTo>
                  <a:lnTo>
                    <a:pt x="174245" y="96803"/>
                  </a:lnTo>
                  <a:lnTo>
                    <a:pt x="651807" y="354944"/>
                  </a:lnTo>
                  <a:lnTo>
                    <a:pt x="638900" y="354944"/>
                  </a:lnTo>
                  <a:lnTo>
                    <a:pt x="96803" y="522736"/>
                  </a:lnTo>
                  <a:close/>
                  <a:moveTo>
                    <a:pt x="174245" y="109710"/>
                  </a:moveTo>
                  <a:lnTo>
                    <a:pt x="96803" y="509829"/>
                  </a:lnTo>
                  <a:lnTo>
                    <a:pt x="625992" y="354944"/>
                  </a:lnTo>
                  <a:lnTo>
                    <a:pt x="17424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6" name="Freeform: Shape 2735">
              <a:extLst>
                <a:ext uri="{FF2B5EF4-FFF2-40B4-BE49-F238E27FC236}">
                  <a16:creationId xmlns:a16="http://schemas.microsoft.com/office/drawing/2014/main" id="{1FB6A56A-133D-48A0-ABA8-708A76913E7C}"/>
                </a:ext>
              </a:extLst>
            </p:cNvPr>
            <p:cNvSpPr/>
            <p:nvPr/>
          </p:nvSpPr>
          <p:spPr>
            <a:xfrm>
              <a:off x="2648648" y="3279574"/>
              <a:ext cx="645353" cy="645353"/>
            </a:xfrm>
            <a:custGeom>
              <a:avLst/>
              <a:gdLst>
                <a:gd name="connsiteX0" fmla="*/ 574365 w 645353"/>
                <a:gd name="connsiteY0" fmla="*/ 664714 h 645353"/>
                <a:gd name="connsiteX1" fmla="*/ 96803 w 645353"/>
                <a:gd name="connsiteY1" fmla="*/ 406572 h 645353"/>
                <a:gd name="connsiteX2" fmla="*/ 342037 w 645353"/>
                <a:gd name="connsiteY2" fmla="*/ 96803 h 645353"/>
                <a:gd name="connsiteX3" fmla="*/ 574365 w 645353"/>
                <a:gd name="connsiteY3" fmla="*/ 664714 h 645353"/>
                <a:gd name="connsiteX4" fmla="*/ 109710 w 645353"/>
                <a:gd name="connsiteY4" fmla="*/ 406572 h 645353"/>
                <a:gd name="connsiteX5" fmla="*/ 574365 w 645353"/>
                <a:gd name="connsiteY5" fmla="*/ 651807 h 645353"/>
                <a:gd name="connsiteX6" fmla="*/ 354944 w 645353"/>
                <a:gd name="connsiteY6" fmla="*/ 122617 h 645353"/>
                <a:gd name="connsiteX7" fmla="*/ 109710 w 645353"/>
                <a:gd name="connsiteY7" fmla="*/ 406572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574365" y="664714"/>
                  </a:moveTo>
                  <a:lnTo>
                    <a:pt x="96803" y="406572"/>
                  </a:lnTo>
                  <a:lnTo>
                    <a:pt x="342037" y="96803"/>
                  </a:lnTo>
                  <a:lnTo>
                    <a:pt x="574365" y="664714"/>
                  </a:lnTo>
                  <a:close/>
                  <a:moveTo>
                    <a:pt x="109710" y="406572"/>
                  </a:moveTo>
                  <a:lnTo>
                    <a:pt x="574365" y="651807"/>
                  </a:lnTo>
                  <a:lnTo>
                    <a:pt x="354944" y="122617"/>
                  </a:lnTo>
                  <a:lnTo>
                    <a:pt x="109710" y="406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7" name="Freeform: Shape 2736">
              <a:extLst>
                <a:ext uri="{FF2B5EF4-FFF2-40B4-BE49-F238E27FC236}">
                  <a16:creationId xmlns:a16="http://schemas.microsoft.com/office/drawing/2014/main" id="{B5E72163-AB67-42C6-8426-BB6D285B1502}"/>
                </a:ext>
              </a:extLst>
            </p:cNvPr>
            <p:cNvSpPr/>
            <p:nvPr/>
          </p:nvSpPr>
          <p:spPr>
            <a:xfrm>
              <a:off x="2119458" y="2324451"/>
              <a:ext cx="774424" cy="516283"/>
            </a:xfrm>
            <a:custGeom>
              <a:avLst/>
              <a:gdLst>
                <a:gd name="connsiteX0" fmla="*/ 587272 w 774423"/>
                <a:gd name="connsiteY0" fmla="*/ 535643 h 516282"/>
                <a:gd name="connsiteX1" fmla="*/ 96803 w 774423"/>
                <a:gd name="connsiteY1" fmla="*/ 342037 h 516282"/>
                <a:gd name="connsiteX2" fmla="*/ 755063 w 774423"/>
                <a:gd name="connsiteY2" fmla="*/ 96803 h 516282"/>
                <a:gd name="connsiteX3" fmla="*/ 587272 w 774423"/>
                <a:gd name="connsiteY3" fmla="*/ 535643 h 516282"/>
                <a:gd name="connsiteX4" fmla="*/ 109710 w 774423"/>
                <a:gd name="connsiteY4" fmla="*/ 342037 h 516282"/>
                <a:gd name="connsiteX5" fmla="*/ 574364 w 774423"/>
                <a:gd name="connsiteY5" fmla="*/ 522736 h 516282"/>
                <a:gd name="connsiteX6" fmla="*/ 742156 w 774423"/>
                <a:gd name="connsiteY6" fmla="*/ 109710 h 516282"/>
                <a:gd name="connsiteX7" fmla="*/ 109710 w 774423"/>
                <a:gd name="connsiteY7" fmla="*/ 34203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516282">
                  <a:moveTo>
                    <a:pt x="587272" y="535643"/>
                  </a:moveTo>
                  <a:lnTo>
                    <a:pt x="96803" y="342037"/>
                  </a:lnTo>
                  <a:lnTo>
                    <a:pt x="755063" y="96803"/>
                  </a:lnTo>
                  <a:lnTo>
                    <a:pt x="587272" y="535643"/>
                  </a:lnTo>
                  <a:close/>
                  <a:moveTo>
                    <a:pt x="109710" y="342037"/>
                  </a:moveTo>
                  <a:lnTo>
                    <a:pt x="574364" y="522736"/>
                  </a:lnTo>
                  <a:lnTo>
                    <a:pt x="742156" y="109710"/>
                  </a:lnTo>
                  <a:lnTo>
                    <a:pt x="109710" y="3420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8" name="Freeform: Shape 2737">
              <a:extLst>
                <a:ext uri="{FF2B5EF4-FFF2-40B4-BE49-F238E27FC236}">
                  <a16:creationId xmlns:a16="http://schemas.microsoft.com/office/drawing/2014/main" id="{BB8F4053-DDF5-459B-8655-93788CB83BDC}"/>
                </a:ext>
              </a:extLst>
            </p:cNvPr>
            <p:cNvSpPr/>
            <p:nvPr/>
          </p:nvSpPr>
          <p:spPr>
            <a:xfrm>
              <a:off x="1848410" y="2569686"/>
              <a:ext cx="387212" cy="387212"/>
            </a:xfrm>
            <a:custGeom>
              <a:avLst/>
              <a:gdLst>
                <a:gd name="connsiteX0" fmla="*/ 316223 w 387211"/>
                <a:gd name="connsiteY0" fmla="*/ 354944 h 387211"/>
                <a:gd name="connsiteX1" fmla="*/ 96803 w 387211"/>
                <a:gd name="connsiteY1" fmla="*/ 122617 h 387211"/>
                <a:gd name="connsiteX2" fmla="*/ 380758 w 387211"/>
                <a:gd name="connsiteY2" fmla="*/ 96803 h 387211"/>
                <a:gd name="connsiteX3" fmla="*/ 316223 w 387211"/>
                <a:gd name="connsiteY3" fmla="*/ 354944 h 387211"/>
                <a:gd name="connsiteX4" fmla="*/ 109710 w 387211"/>
                <a:gd name="connsiteY4" fmla="*/ 122617 h 387211"/>
                <a:gd name="connsiteX5" fmla="*/ 303316 w 387211"/>
                <a:gd name="connsiteY5" fmla="*/ 342037 h 387211"/>
                <a:gd name="connsiteX6" fmla="*/ 367851 w 387211"/>
                <a:gd name="connsiteY6" fmla="*/ 96803 h 387211"/>
                <a:gd name="connsiteX7" fmla="*/ 109710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16223" y="354944"/>
                  </a:moveTo>
                  <a:lnTo>
                    <a:pt x="96803" y="122617"/>
                  </a:lnTo>
                  <a:lnTo>
                    <a:pt x="380758" y="96803"/>
                  </a:lnTo>
                  <a:lnTo>
                    <a:pt x="316223" y="354944"/>
                  </a:lnTo>
                  <a:close/>
                  <a:moveTo>
                    <a:pt x="109710" y="122617"/>
                  </a:moveTo>
                  <a:lnTo>
                    <a:pt x="303316" y="342037"/>
                  </a:lnTo>
                  <a:lnTo>
                    <a:pt x="367851" y="96803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39" name="Freeform: Shape 2738">
              <a:extLst>
                <a:ext uri="{FF2B5EF4-FFF2-40B4-BE49-F238E27FC236}">
                  <a16:creationId xmlns:a16="http://schemas.microsoft.com/office/drawing/2014/main" id="{4855D1BF-B993-4AFE-A72D-93D75B5F110E}"/>
                </a:ext>
              </a:extLst>
            </p:cNvPr>
            <p:cNvSpPr/>
            <p:nvPr/>
          </p:nvSpPr>
          <p:spPr>
            <a:xfrm>
              <a:off x="1848410" y="2234102"/>
              <a:ext cx="387212" cy="516283"/>
            </a:xfrm>
            <a:custGeom>
              <a:avLst/>
              <a:gdLst>
                <a:gd name="connsiteX0" fmla="*/ 96803 w 387211"/>
                <a:gd name="connsiteY0" fmla="*/ 458201 h 516282"/>
                <a:gd name="connsiteX1" fmla="*/ 329130 w 387211"/>
                <a:gd name="connsiteY1" fmla="*/ 96803 h 516282"/>
                <a:gd name="connsiteX2" fmla="*/ 380758 w 387211"/>
                <a:gd name="connsiteY2" fmla="*/ 432387 h 516282"/>
                <a:gd name="connsiteX3" fmla="*/ 96803 w 387211"/>
                <a:gd name="connsiteY3" fmla="*/ 458201 h 516282"/>
                <a:gd name="connsiteX4" fmla="*/ 316223 w 387211"/>
                <a:gd name="connsiteY4" fmla="*/ 109710 h 516282"/>
                <a:gd name="connsiteX5" fmla="*/ 109710 w 387211"/>
                <a:gd name="connsiteY5" fmla="*/ 445294 h 516282"/>
                <a:gd name="connsiteX6" fmla="*/ 367851 w 387211"/>
                <a:gd name="connsiteY6" fmla="*/ 419480 h 516282"/>
                <a:gd name="connsiteX7" fmla="*/ 316223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96803" y="458201"/>
                  </a:moveTo>
                  <a:lnTo>
                    <a:pt x="329130" y="96803"/>
                  </a:lnTo>
                  <a:lnTo>
                    <a:pt x="380758" y="432387"/>
                  </a:lnTo>
                  <a:lnTo>
                    <a:pt x="96803" y="458201"/>
                  </a:lnTo>
                  <a:close/>
                  <a:moveTo>
                    <a:pt x="316223" y="109710"/>
                  </a:moveTo>
                  <a:lnTo>
                    <a:pt x="109710" y="445294"/>
                  </a:lnTo>
                  <a:lnTo>
                    <a:pt x="367851" y="419480"/>
                  </a:lnTo>
                  <a:lnTo>
                    <a:pt x="31622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0" name="Freeform: Shape 2739">
              <a:extLst>
                <a:ext uri="{FF2B5EF4-FFF2-40B4-BE49-F238E27FC236}">
                  <a16:creationId xmlns:a16="http://schemas.microsoft.com/office/drawing/2014/main" id="{36D321BD-837E-45EF-B39D-86545579E77F}"/>
                </a:ext>
              </a:extLst>
            </p:cNvPr>
            <p:cNvSpPr/>
            <p:nvPr/>
          </p:nvSpPr>
          <p:spPr>
            <a:xfrm>
              <a:off x="2054923" y="2569686"/>
              <a:ext cx="645353" cy="387212"/>
            </a:xfrm>
            <a:custGeom>
              <a:avLst/>
              <a:gdLst>
                <a:gd name="connsiteX0" fmla="*/ 96803 w 645353"/>
                <a:gd name="connsiteY0" fmla="*/ 354944 h 387211"/>
                <a:gd name="connsiteX1" fmla="*/ 161338 w 645353"/>
                <a:gd name="connsiteY1" fmla="*/ 96803 h 387211"/>
                <a:gd name="connsiteX2" fmla="*/ 651807 w 645353"/>
                <a:gd name="connsiteY2" fmla="*/ 290409 h 387211"/>
                <a:gd name="connsiteX3" fmla="*/ 96803 w 645353"/>
                <a:gd name="connsiteY3" fmla="*/ 354944 h 387211"/>
                <a:gd name="connsiteX4" fmla="*/ 174245 w 645353"/>
                <a:gd name="connsiteY4" fmla="*/ 96803 h 387211"/>
                <a:gd name="connsiteX5" fmla="*/ 109710 w 645353"/>
                <a:gd name="connsiteY5" fmla="*/ 342037 h 387211"/>
                <a:gd name="connsiteX6" fmla="*/ 638900 w 645353"/>
                <a:gd name="connsiteY6" fmla="*/ 277502 h 387211"/>
                <a:gd name="connsiteX7" fmla="*/ 174245 w 645353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96803" y="354944"/>
                  </a:moveTo>
                  <a:lnTo>
                    <a:pt x="161338" y="96803"/>
                  </a:lnTo>
                  <a:lnTo>
                    <a:pt x="651807" y="290409"/>
                  </a:lnTo>
                  <a:lnTo>
                    <a:pt x="96803" y="354944"/>
                  </a:lnTo>
                  <a:close/>
                  <a:moveTo>
                    <a:pt x="174245" y="96803"/>
                  </a:moveTo>
                  <a:lnTo>
                    <a:pt x="109710" y="342037"/>
                  </a:lnTo>
                  <a:lnTo>
                    <a:pt x="638900" y="277502"/>
                  </a:lnTo>
                  <a:lnTo>
                    <a:pt x="174245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1" name="Freeform: Shape 2740">
              <a:extLst>
                <a:ext uri="{FF2B5EF4-FFF2-40B4-BE49-F238E27FC236}">
                  <a16:creationId xmlns:a16="http://schemas.microsoft.com/office/drawing/2014/main" id="{7D201431-8E41-41FD-B9E8-2E6DD5F3F8E6}"/>
                </a:ext>
              </a:extLst>
            </p:cNvPr>
            <p:cNvSpPr/>
            <p:nvPr/>
          </p:nvSpPr>
          <p:spPr>
            <a:xfrm>
              <a:off x="2687369" y="2040496"/>
              <a:ext cx="387212" cy="387212"/>
            </a:xfrm>
            <a:custGeom>
              <a:avLst/>
              <a:gdLst>
                <a:gd name="connsiteX0" fmla="*/ 187152 w 387211"/>
                <a:gd name="connsiteY0" fmla="*/ 393665 h 387211"/>
                <a:gd name="connsiteX1" fmla="*/ 96803 w 387211"/>
                <a:gd name="connsiteY1" fmla="*/ 238781 h 387211"/>
                <a:gd name="connsiteX2" fmla="*/ 329130 w 387211"/>
                <a:gd name="connsiteY2" fmla="*/ 96803 h 387211"/>
                <a:gd name="connsiteX3" fmla="*/ 187152 w 387211"/>
                <a:gd name="connsiteY3" fmla="*/ 393665 h 387211"/>
                <a:gd name="connsiteX4" fmla="*/ 96803 w 387211"/>
                <a:gd name="connsiteY4" fmla="*/ 238781 h 387211"/>
                <a:gd name="connsiteX5" fmla="*/ 174245 w 387211"/>
                <a:gd name="connsiteY5" fmla="*/ 380758 h 387211"/>
                <a:gd name="connsiteX6" fmla="*/ 303316 w 387211"/>
                <a:gd name="connsiteY6" fmla="*/ 122617 h 387211"/>
                <a:gd name="connsiteX7" fmla="*/ 96803 w 387211"/>
                <a:gd name="connsiteY7" fmla="*/ 23878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87152" y="393665"/>
                  </a:moveTo>
                  <a:lnTo>
                    <a:pt x="96803" y="238781"/>
                  </a:lnTo>
                  <a:lnTo>
                    <a:pt x="329130" y="96803"/>
                  </a:lnTo>
                  <a:lnTo>
                    <a:pt x="187152" y="393665"/>
                  </a:lnTo>
                  <a:close/>
                  <a:moveTo>
                    <a:pt x="96803" y="238781"/>
                  </a:moveTo>
                  <a:lnTo>
                    <a:pt x="174245" y="380758"/>
                  </a:lnTo>
                  <a:lnTo>
                    <a:pt x="303316" y="122617"/>
                  </a:lnTo>
                  <a:lnTo>
                    <a:pt x="96803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2" name="Freeform: Shape 2741">
              <a:extLst>
                <a:ext uri="{FF2B5EF4-FFF2-40B4-BE49-F238E27FC236}">
                  <a16:creationId xmlns:a16="http://schemas.microsoft.com/office/drawing/2014/main" id="{4C9C33A3-8832-490D-BA44-27ED601AB2A9}"/>
                </a:ext>
              </a:extLst>
            </p:cNvPr>
            <p:cNvSpPr/>
            <p:nvPr/>
          </p:nvSpPr>
          <p:spPr>
            <a:xfrm>
              <a:off x="2054923" y="1963053"/>
              <a:ext cx="774424" cy="387212"/>
            </a:xfrm>
            <a:custGeom>
              <a:avLst/>
              <a:gdLst>
                <a:gd name="connsiteX0" fmla="*/ 96803 w 774423"/>
                <a:gd name="connsiteY0" fmla="*/ 380758 h 387211"/>
                <a:gd name="connsiteX1" fmla="*/ 574364 w 774423"/>
                <a:gd name="connsiteY1" fmla="*/ 96803 h 387211"/>
                <a:gd name="connsiteX2" fmla="*/ 742156 w 774423"/>
                <a:gd name="connsiteY2" fmla="*/ 316223 h 387211"/>
                <a:gd name="connsiteX3" fmla="*/ 96803 w 774423"/>
                <a:gd name="connsiteY3" fmla="*/ 380758 h 387211"/>
                <a:gd name="connsiteX4" fmla="*/ 574364 w 774423"/>
                <a:gd name="connsiteY4" fmla="*/ 109710 h 387211"/>
                <a:gd name="connsiteX5" fmla="*/ 135524 w 774423"/>
                <a:gd name="connsiteY5" fmla="*/ 367851 h 387211"/>
                <a:gd name="connsiteX6" fmla="*/ 729249 w 774423"/>
                <a:gd name="connsiteY6" fmla="*/ 316223 h 387211"/>
                <a:gd name="connsiteX7" fmla="*/ 574364 w 774423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387211">
                  <a:moveTo>
                    <a:pt x="96803" y="380758"/>
                  </a:moveTo>
                  <a:lnTo>
                    <a:pt x="574364" y="96803"/>
                  </a:lnTo>
                  <a:lnTo>
                    <a:pt x="742156" y="316223"/>
                  </a:lnTo>
                  <a:lnTo>
                    <a:pt x="96803" y="380758"/>
                  </a:lnTo>
                  <a:close/>
                  <a:moveTo>
                    <a:pt x="574364" y="109710"/>
                  </a:moveTo>
                  <a:lnTo>
                    <a:pt x="135524" y="367851"/>
                  </a:lnTo>
                  <a:lnTo>
                    <a:pt x="729249" y="316223"/>
                  </a:lnTo>
                  <a:lnTo>
                    <a:pt x="57436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3" name="Freeform: Shape 2742">
              <a:extLst>
                <a:ext uri="{FF2B5EF4-FFF2-40B4-BE49-F238E27FC236}">
                  <a16:creationId xmlns:a16="http://schemas.microsoft.com/office/drawing/2014/main" id="{7A4B5B54-5E3F-495C-B6F6-DC3409E6E74D}"/>
                </a:ext>
              </a:extLst>
            </p:cNvPr>
            <p:cNvSpPr/>
            <p:nvPr/>
          </p:nvSpPr>
          <p:spPr>
            <a:xfrm>
              <a:off x="2067830" y="2182474"/>
              <a:ext cx="774424" cy="516283"/>
            </a:xfrm>
            <a:custGeom>
              <a:avLst/>
              <a:gdLst>
                <a:gd name="connsiteX0" fmla="*/ 148431 w 774423"/>
                <a:gd name="connsiteY0" fmla="*/ 484015 h 516282"/>
                <a:gd name="connsiteX1" fmla="*/ 96803 w 774423"/>
                <a:gd name="connsiteY1" fmla="*/ 148431 h 516282"/>
                <a:gd name="connsiteX2" fmla="*/ 729249 w 774423"/>
                <a:gd name="connsiteY2" fmla="*/ 96803 h 516282"/>
                <a:gd name="connsiteX3" fmla="*/ 148431 w 774423"/>
                <a:gd name="connsiteY3" fmla="*/ 484015 h 516282"/>
                <a:gd name="connsiteX4" fmla="*/ 109710 w 774423"/>
                <a:gd name="connsiteY4" fmla="*/ 161338 h 516282"/>
                <a:gd name="connsiteX5" fmla="*/ 161338 w 774423"/>
                <a:gd name="connsiteY5" fmla="*/ 484015 h 516282"/>
                <a:gd name="connsiteX6" fmla="*/ 703435 w 774423"/>
                <a:gd name="connsiteY6" fmla="*/ 109710 h 516282"/>
                <a:gd name="connsiteX7" fmla="*/ 109710 w 774423"/>
                <a:gd name="connsiteY7" fmla="*/ 16133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516282">
                  <a:moveTo>
                    <a:pt x="148431" y="484015"/>
                  </a:moveTo>
                  <a:lnTo>
                    <a:pt x="96803" y="148431"/>
                  </a:lnTo>
                  <a:lnTo>
                    <a:pt x="729249" y="96803"/>
                  </a:lnTo>
                  <a:lnTo>
                    <a:pt x="148431" y="484015"/>
                  </a:lnTo>
                  <a:close/>
                  <a:moveTo>
                    <a:pt x="109710" y="161338"/>
                  </a:moveTo>
                  <a:lnTo>
                    <a:pt x="161338" y="484015"/>
                  </a:lnTo>
                  <a:lnTo>
                    <a:pt x="703435" y="109710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4" name="Freeform: Shape 2743">
              <a:extLst>
                <a:ext uri="{FF2B5EF4-FFF2-40B4-BE49-F238E27FC236}">
                  <a16:creationId xmlns:a16="http://schemas.microsoft.com/office/drawing/2014/main" id="{DD67C275-C07C-452B-8D30-133006B63DE5}"/>
                </a:ext>
              </a:extLst>
            </p:cNvPr>
            <p:cNvSpPr/>
            <p:nvPr/>
          </p:nvSpPr>
          <p:spPr>
            <a:xfrm>
              <a:off x="2106551" y="2182474"/>
              <a:ext cx="774424" cy="516283"/>
            </a:xfrm>
            <a:custGeom>
              <a:avLst/>
              <a:gdLst>
                <a:gd name="connsiteX0" fmla="*/ 96803 w 774423"/>
                <a:gd name="connsiteY0" fmla="*/ 496922 h 516282"/>
                <a:gd name="connsiteX1" fmla="*/ 677621 w 774423"/>
                <a:gd name="connsiteY1" fmla="*/ 96803 h 516282"/>
                <a:gd name="connsiteX2" fmla="*/ 767970 w 774423"/>
                <a:gd name="connsiteY2" fmla="*/ 251688 h 516282"/>
                <a:gd name="connsiteX3" fmla="*/ 767970 w 774423"/>
                <a:gd name="connsiteY3" fmla="*/ 251688 h 516282"/>
                <a:gd name="connsiteX4" fmla="*/ 96803 w 774423"/>
                <a:gd name="connsiteY4" fmla="*/ 496922 h 516282"/>
                <a:gd name="connsiteX5" fmla="*/ 677621 w 774423"/>
                <a:gd name="connsiteY5" fmla="*/ 109710 h 516282"/>
                <a:gd name="connsiteX6" fmla="*/ 135524 w 774423"/>
                <a:gd name="connsiteY6" fmla="*/ 471108 h 516282"/>
                <a:gd name="connsiteX7" fmla="*/ 755063 w 774423"/>
                <a:gd name="connsiteY7" fmla="*/ 238781 h 516282"/>
                <a:gd name="connsiteX8" fmla="*/ 677621 w 774423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516282">
                  <a:moveTo>
                    <a:pt x="96803" y="496922"/>
                  </a:moveTo>
                  <a:lnTo>
                    <a:pt x="677621" y="96803"/>
                  </a:lnTo>
                  <a:lnTo>
                    <a:pt x="767970" y="251688"/>
                  </a:lnTo>
                  <a:lnTo>
                    <a:pt x="767970" y="251688"/>
                  </a:lnTo>
                  <a:lnTo>
                    <a:pt x="96803" y="496922"/>
                  </a:lnTo>
                  <a:close/>
                  <a:moveTo>
                    <a:pt x="677621" y="109710"/>
                  </a:moveTo>
                  <a:lnTo>
                    <a:pt x="135524" y="471108"/>
                  </a:lnTo>
                  <a:lnTo>
                    <a:pt x="755063" y="238781"/>
                  </a:lnTo>
                  <a:lnTo>
                    <a:pt x="67762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5" name="Freeform: Shape 2744">
              <a:extLst>
                <a:ext uri="{FF2B5EF4-FFF2-40B4-BE49-F238E27FC236}">
                  <a16:creationId xmlns:a16="http://schemas.microsoft.com/office/drawing/2014/main" id="{0D5437CA-54E2-41C5-A3AB-463105099FFF}"/>
                </a:ext>
              </a:extLst>
            </p:cNvPr>
            <p:cNvSpPr/>
            <p:nvPr/>
          </p:nvSpPr>
          <p:spPr>
            <a:xfrm>
              <a:off x="3861912" y="2698756"/>
              <a:ext cx="387212" cy="387212"/>
            </a:xfrm>
            <a:custGeom>
              <a:avLst/>
              <a:gdLst>
                <a:gd name="connsiteX0" fmla="*/ 148431 w 387211"/>
                <a:gd name="connsiteY0" fmla="*/ 367851 h 387211"/>
                <a:gd name="connsiteX1" fmla="*/ 96803 w 387211"/>
                <a:gd name="connsiteY1" fmla="*/ 96803 h 387211"/>
                <a:gd name="connsiteX2" fmla="*/ 406573 w 387211"/>
                <a:gd name="connsiteY2" fmla="*/ 161338 h 387211"/>
                <a:gd name="connsiteX3" fmla="*/ 148431 w 387211"/>
                <a:gd name="connsiteY3" fmla="*/ 367851 h 387211"/>
                <a:gd name="connsiteX4" fmla="*/ 96803 w 387211"/>
                <a:gd name="connsiteY4" fmla="*/ 109710 h 387211"/>
                <a:gd name="connsiteX5" fmla="*/ 148431 w 387211"/>
                <a:gd name="connsiteY5" fmla="*/ 354944 h 387211"/>
                <a:gd name="connsiteX6" fmla="*/ 380758 w 387211"/>
                <a:gd name="connsiteY6" fmla="*/ 174245 h 387211"/>
                <a:gd name="connsiteX7" fmla="*/ 96803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48431" y="367851"/>
                  </a:moveTo>
                  <a:lnTo>
                    <a:pt x="96803" y="96803"/>
                  </a:lnTo>
                  <a:lnTo>
                    <a:pt x="406573" y="161338"/>
                  </a:lnTo>
                  <a:lnTo>
                    <a:pt x="148431" y="367851"/>
                  </a:lnTo>
                  <a:close/>
                  <a:moveTo>
                    <a:pt x="96803" y="109710"/>
                  </a:moveTo>
                  <a:lnTo>
                    <a:pt x="148431" y="354944"/>
                  </a:lnTo>
                  <a:lnTo>
                    <a:pt x="380758" y="174245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6" name="Freeform: Shape 2745">
              <a:extLst>
                <a:ext uri="{FF2B5EF4-FFF2-40B4-BE49-F238E27FC236}">
                  <a16:creationId xmlns:a16="http://schemas.microsoft.com/office/drawing/2014/main" id="{165F1593-D66A-40EE-8850-2B14C41C5FF8}"/>
                </a:ext>
              </a:extLst>
            </p:cNvPr>
            <p:cNvSpPr/>
            <p:nvPr/>
          </p:nvSpPr>
          <p:spPr>
            <a:xfrm>
              <a:off x="3861912" y="2711663"/>
              <a:ext cx="516283" cy="258141"/>
            </a:xfrm>
            <a:custGeom>
              <a:avLst/>
              <a:gdLst>
                <a:gd name="connsiteX0" fmla="*/ 393665 w 516282"/>
                <a:gd name="connsiteY0" fmla="*/ 161338 h 258141"/>
                <a:gd name="connsiteX1" fmla="*/ 96803 w 516282"/>
                <a:gd name="connsiteY1" fmla="*/ 96803 h 258141"/>
                <a:gd name="connsiteX2" fmla="*/ 96803 w 516282"/>
                <a:gd name="connsiteY2" fmla="*/ 96803 h 258141"/>
                <a:gd name="connsiteX3" fmla="*/ 419480 w 516282"/>
                <a:gd name="connsiteY3" fmla="*/ 109710 h 258141"/>
                <a:gd name="connsiteX4" fmla="*/ 393665 w 516282"/>
                <a:gd name="connsiteY4" fmla="*/ 161338 h 258141"/>
                <a:gd name="connsiteX5" fmla="*/ 135524 w 516282"/>
                <a:gd name="connsiteY5" fmla="*/ 96803 h 258141"/>
                <a:gd name="connsiteX6" fmla="*/ 393665 w 516282"/>
                <a:gd name="connsiteY6" fmla="*/ 161338 h 258141"/>
                <a:gd name="connsiteX7" fmla="*/ 406573 w 516282"/>
                <a:gd name="connsiteY7" fmla="*/ 122617 h 258141"/>
                <a:gd name="connsiteX8" fmla="*/ 135524 w 516282"/>
                <a:gd name="connsiteY8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258141">
                  <a:moveTo>
                    <a:pt x="393665" y="161338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419480" y="109710"/>
                  </a:lnTo>
                  <a:lnTo>
                    <a:pt x="393665" y="161338"/>
                  </a:lnTo>
                  <a:close/>
                  <a:moveTo>
                    <a:pt x="135524" y="96803"/>
                  </a:moveTo>
                  <a:lnTo>
                    <a:pt x="393665" y="161338"/>
                  </a:lnTo>
                  <a:lnTo>
                    <a:pt x="406573" y="122617"/>
                  </a:lnTo>
                  <a:lnTo>
                    <a:pt x="135524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7" name="Freeform: Shape 2746">
              <a:extLst>
                <a:ext uri="{FF2B5EF4-FFF2-40B4-BE49-F238E27FC236}">
                  <a16:creationId xmlns:a16="http://schemas.microsoft.com/office/drawing/2014/main" id="{D1A24A13-894A-4449-86F8-F389E13B75A8}"/>
                </a:ext>
              </a:extLst>
            </p:cNvPr>
            <p:cNvSpPr/>
            <p:nvPr/>
          </p:nvSpPr>
          <p:spPr>
            <a:xfrm>
              <a:off x="3900633" y="2776198"/>
              <a:ext cx="645353" cy="387212"/>
            </a:xfrm>
            <a:custGeom>
              <a:avLst/>
              <a:gdLst>
                <a:gd name="connsiteX0" fmla="*/ 96803 w 645353"/>
                <a:gd name="connsiteY0" fmla="*/ 303316 h 387211"/>
                <a:gd name="connsiteX1" fmla="*/ 354944 w 645353"/>
                <a:gd name="connsiteY1" fmla="*/ 96803 h 387211"/>
                <a:gd name="connsiteX2" fmla="*/ 561457 w 645353"/>
                <a:gd name="connsiteY2" fmla="*/ 148431 h 387211"/>
                <a:gd name="connsiteX3" fmla="*/ 96803 w 645353"/>
                <a:gd name="connsiteY3" fmla="*/ 303316 h 387211"/>
                <a:gd name="connsiteX4" fmla="*/ 354944 w 645353"/>
                <a:gd name="connsiteY4" fmla="*/ 96803 h 387211"/>
                <a:gd name="connsiteX5" fmla="*/ 122617 w 645353"/>
                <a:gd name="connsiteY5" fmla="*/ 277502 h 387211"/>
                <a:gd name="connsiteX6" fmla="*/ 535643 w 645353"/>
                <a:gd name="connsiteY6" fmla="*/ 148431 h 387211"/>
                <a:gd name="connsiteX7" fmla="*/ 354944 w 645353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96803" y="303316"/>
                  </a:moveTo>
                  <a:lnTo>
                    <a:pt x="354944" y="96803"/>
                  </a:lnTo>
                  <a:lnTo>
                    <a:pt x="561457" y="148431"/>
                  </a:lnTo>
                  <a:lnTo>
                    <a:pt x="96803" y="303316"/>
                  </a:lnTo>
                  <a:close/>
                  <a:moveTo>
                    <a:pt x="354944" y="96803"/>
                  </a:moveTo>
                  <a:lnTo>
                    <a:pt x="122617" y="277502"/>
                  </a:lnTo>
                  <a:lnTo>
                    <a:pt x="535643" y="148431"/>
                  </a:lnTo>
                  <a:lnTo>
                    <a:pt x="354944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8" name="Freeform: Shape 2747">
              <a:extLst>
                <a:ext uri="{FF2B5EF4-FFF2-40B4-BE49-F238E27FC236}">
                  <a16:creationId xmlns:a16="http://schemas.microsoft.com/office/drawing/2014/main" id="{C611ED1E-4D6E-4781-9BD4-A37649C60D3E}"/>
                </a:ext>
              </a:extLst>
            </p:cNvPr>
            <p:cNvSpPr/>
            <p:nvPr/>
          </p:nvSpPr>
          <p:spPr>
            <a:xfrm>
              <a:off x="4158774" y="2724570"/>
              <a:ext cx="387212" cy="258141"/>
            </a:xfrm>
            <a:custGeom>
              <a:avLst/>
              <a:gdLst>
                <a:gd name="connsiteX0" fmla="*/ 316223 w 387211"/>
                <a:gd name="connsiteY0" fmla="*/ 212967 h 258141"/>
                <a:gd name="connsiteX1" fmla="*/ 96803 w 387211"/>
                <a:gd name="connsiteY1" fmla="*/ 148431 h 258141"/>
                <a:gd name="connsiteX2" fmla="*/ 122617 w 387211"/>
                <a:gd name="connsiteY2" fmla="*/ 96803 h 258141"/>
                <a:gd name="connsiteX3" fmla="*/ 316223 w 387211"/>
                <a:gd name="connsiteY3" fmla="*/ 212967 h 258141"/>
                <a:gd name="connsiteX4" fmla="*/ 96803 w 387211"/>
                <a:gd name="connsiteY4" fmla="*/ 148431 h 258141"/>
                <a:gd name="connsiteX5" fmla="*/ 264595 w 387211"/>
                <a:gd name="connsiteY5" fmla="*/ 187152 h 258141"/>
                <a:gd name="connsiteX6" fmla="*/ 109710 w 387211"/>
                <a:gd name="connsiteY6" fmla="*/ 96803 h 258141"/>
                <a:gd name="connsiteX7" fmla="*/ 96803 w 387211"/>
                <a:gd name="connsiteY7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16223" y="212967"/>
                  </a:moveTo>
                  <a:lnTo>
                    <a:pt x="96803" y="148431"/>
                  </a:lnTo>
                  <a:lnTo>
                    <a:pt x="122617" y="96803"/>
                  </a:lnTo>
                  <a:lnTo>
                    <a:pt x="316223" y="212967"/>
                  </a:lnTo>
                  <a:close/>
                  <a:moveTo>
                    <a:pt x="96803" y="148431"/>
                  </a:moveTo>
                  <a:lnTo>
                    <a:pt x="264595" y="187152"/>
                  </a:lnTo>
                  <a:lnTo>
                    <a:pt x="109710" y="96803"/>
                  </a:lnTo>
                  <a:lnTo>
                    <a:pt x="96803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49" name="Freeform: Shape 2748">
              <a:extLst>
                <a:ext uri="{FF2B5EF4-FFF2-40B4-BE49-F238E27FC236}">
                  <a16:creationId xmlns:a16="http://schemas.microsoft.com/office/drawing/2014/main" id="{2ED79F78-B192-4C70-BD27-F40C2765AAFD}"/>
                </a:ext>
              </a:extLst>
            </p:cNvPr>
            <p:cNvSpPr/>
            <p:nvPr/>
          </p:nvSpPr>
          <p:spPr>
            <a:xfrm>
              <a:off x="2313064" y="1653284"/>
              <a:ext cx="387212" cy="516283"/>
            </a:xfrm>
            <a:custGeom>
              <a:avLst/>
              <a:gdLst>
                <a:gd name="connsiteX0" fmla="*/ 329130 w 387211"/>
                <a:gd name="connsiteY0" fmla="*/ 419480 h 516282"/>
                <a:gd name="connsiteX1" fmla="*/ 96803 w 387211"/>
                <a:gd name="connsiteY1" fmla="*/ 238781 h 516282"/>
                <a:gd name="connsiteX2" fmla="*/ 174245 w 387211"/>
                <a:gd name="connsiteY2" fmla="*/ 96803 h 516282"/>
                <a:gd name="connsiteX3" fmla="*/ 329130 w 387211"/>
                <a:gd name="connsiteY3" fmla="*/ 419480 h 516282"/>
                <a:gd name="connsiteX4" fmla="*/ 109710 w 387211"/>
                <a:gd name="connsiteY4" fmla="*/ 238781 h 516282"/>
                <a:gd name="connsiteX5" fmla="*/ 316223 w 387211"/>
                <a:gd name="connsiteY5" fmla="*/ 393665 h 516282"/>
                <a:gd name="connsiteX6" fmla="*/ 187152 w 387211"/>
                <a:gd name="connsiteY6" fmla="*/ 122617 h 516282"/>
                <a:gd name="connsiteX7" fmla="*/ 109710 w 387211"/>
                <a:gd name="connsiteY7" fmla="*/ 23878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29130" y="419480"/>
                  </a:moveTo>
                  <a:lnTo>
                    <a:pt x="96803" y="238781"/>
                  </a:lnTo>
                  <a:lnTo>
                    <a:pt x="174245" y="96803"/>
                  </a:lnTo>
                  <a:lnTo>
                    <a:pt x="329130" y="419480"/>
                  </a:lnTo>
                  <a:close/>
                  <a:moveTo>
                    <a:pt x="109710" y="238781"/>
                  </a:moveTo>
                  <a:lnTo>
                    <a:pt x="316223" y="393665"/>
                  </a:lnTo>
                  <a:lnTo>
                    <a:pt x="187152" y="122617"/>
                  </a:lnTo>
                  <a:lnTo>
                    <a:pt x="109710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0" name="Freeform: Shape 2749">
              <a:extLst>
                <a:ext uri="{FF2B5EF4-FFF2-40B4-BE49-F238E27FC236}">
                  <a16:creationId xmlns:a16="http://schemas.microsoft.com/office/drawing/2014/main" id="{18096643-0600-41A3-85AC-B022F5A4999F}"/>
                </a:ext>
              </a:extLst>
            </p:cNvPr>
            <p:cNvSpPr/>
            <p:nvPr/>
          </p:nvSpPr>
          <p:spPr>
            <a:xfrm>
              <a:off x="2519577" y="1846890"/>
              <a:ext cx="387212" cy="516283"/>
            </a:xfrm>
            <a:custGeom>
              <a:avLst/>
              <a:gdLst>
                <a:gd name="connsiteX0" fmla="*/ 264595 w 387211"/>
                <a:gd name="connsiteY0" fmla="*/ 445294 h 516282"/>
                <a:gd name="connsiteX1" fmla="*/ 96803 w 387211"/>
                <a:gd name="connsiteY1" fmla="*/ 212967 h 516282"/>
                <a:gd name="connsiteX2" fmla="*/ 303316 w 387211"/>
                <a:gd name="connsiteY2" fmla="*/ 96803 h 516282"/>
                <a:gd name="connsiteX3" fmla="*/ 264595 w 387211"/>
                <a:gd name="connsiteY3" fmla="*/ 445294 h 516282"/>
                <a:gd name="connsiteX4" fmla="*/ 109710 w 387211"/>
                <a:gd name="connsiteY4" fmla="*/ 212967 h 516282"/>
                <a:gd name="connsiteX5" fmla="*/ 264595 w 387211"/>
                <a:gd name="connsiteY5" fmla="*/ 419480 h 516282"/>
                <a:gd name="connsiteX6" fmla="*/ 303316 w 387211"/>
                <a:gd name="connsiteY6" fmla="*/ 109710 h 516282"/>
                <a:gd name="connsiteX7" fmla="*/ 109710 w 387211"/>
                <a:gd name="connsiteY7" fmla="*/ 21296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64595" y="445294"/>
                  </a:moveTo>
                  <a:lnTo>
                    <a:pt x="96803" y="212967"/>
                  </a:lnTo>
                  <a:lnTo>
                    <a:pt x="303316" y="96803"/>
                  </a:lnTo>
                  <a:lnTo>
                    <a:pt x="264595" y="445294"/>
                  </a:lnTo>
                  <a:close/>
                  <a:moveTo>
                    <a:pt x="109710" y="212967"/>
                  </a:moveTo>
                  <a:lnTo>
                    <a:pt x="264595" y="419480"/>
                  </a:lnTo>
                  <a:lnTo>
                    <a:pt x="303316" y="109710"/>
                  </a:lnTo>
                  <a:lnTo>
                    <a:pt x="109710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1" name="Freeform: Shape 2750">
              <a:extLst>
                <a:ext uri="{FF2B5EF4-FFF2-40B4-BE49-F238E27FC236}">
                  <a16:creationId xmlns:a16="http://schemas.microsoft.com/office/drawing/2014/main" id="{20DA5B5A-273B-43E9-AC78-6147EC149617}"/>
                </a:ext>
              </a:extLst>
            </p:cNvPr>
            <p:cNvSpPr/>
            <p:nvPr/>
          </p:nvSpPr>
          <p:spPr>
            <a:xfrm>
              <a:off x="2687369" y="1846890"/>
              <a:ext cx="387212" cy="516283"/>
            </a:xfrm>
            <a:custGeom>
              <a:avLst/>
              <a:gdLst>
                <a:gd name="connsiteX0" fmla="*/ 96803 w 387211"/>
                <a:gd name="connsiteY0" fmla="*/ 445294 h 516282"/>
                <a:gd name="connsiteX1" fmla="*/ 135524 w 387211"/>
                <a:gd name="connsiteY1" fmla="*/ 96803 h 516282"/>
                <a:gd name="connsiteX2" fmla="*/ 316223 w 387211"/>
                <a:gd name="connsiteY2" fmla="*/ 303316 h 516282"/>
                <a:gd name="connsiteX3" fmla="*/ 96803 w 387211"/>
                <a:gd name="connsiteY3" fmla="*/ 445294 h 516282"/>
                <a:gd name="connsiteX4" fmla="*/ 135524 w 387211"/>
                <a:gd name="connsiteY4" fmla="*/ 109710 h 516282"/>
                <a:gd name="connsiteX5" fmla="*/ 96803 w 387211"/>
                <a:gd name="connsiteY5" fmla="*/ 419480 h 516282"/>
                <a:gd name="connsiteX6" fmla="*/ 303316 w 387211"/>
                <a:gd name="connsiteY6" fmla="*/ 290409 h 516282"/>
                <a:gd name="connsiteX7" fmla="*/ 135524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96803" y="445294"/>
                  </a:moveTo>
                  <a:lnTo>
                    <a:pt x="135524" y="96803"/>
                  </a:lnTo>
                  <a:lnTo>
                    <a:pt x="316223" y="303316"/>
                  </a:lnTo>
                  <a:lnTo>
                    <a:pt x="96803" y="445294"/>
                  </a:lnTo>
                  <a:close/>
                  <a:moveTo>
                    <a:pt x="135524" y="109710"/>
                  </a:moveTo>
                  <a:lnTo>
                    <a:pt x="96803" y="419480"/>
                  </a:lnTo>
                  <a:lnTo>
                    <a:pt x="303316" y="290409"/>
                  </a:lnTo>
                  <a:lnTo>
                    <a:pt x="13552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2" name="Freeform: Shape 2751">
              <a:extLst>
                <a:ext uri="{FF2B5EF4-FFF2-40B4-BE49-F238E27FC236}">
                  <a16:creationId xmlns:a16="http://schemas.microsoft.com/office/drawing/2014/main" id="{1AEF5B8F-2E81-454F-9C4E-84A84B465E26}"/>
                </a:ext>
              </a:extLst>
            </p:cNvPr>
            <p:cNvSpPr/>
            <p:nvPr/>
          </p:nvSpPr>
          <p:spPr>
            <a:xfrm>
              <a:off x="2906789" y="1988868"/>
              <a:ext cx="516283" cy="516283"/>
            </a:xfrm>
            <a:custGeom>
              <a:avLst/>
              <a:gdLst>
                <a:gd name="connsiteX0" fmla="*/ 522736 w 516282"/>
                <a:gd name="connsiteY0" fmla="*/ 484015 h 516282"/>
                <a:gd name="connsiteX1" fmla="*/ 96803 w 516282"/>
                <a:gd name="connsiteY1" fmla="*/ 161338 h 516282"/>
                <a:gd name="connsiteX2" fmla="*/ 251688 w 516282"/>
                <a:gd name="connsiteY2" fmla="*/ 96803 h 516282"/>
                <a:gd name="connsiteX3" fmla="*/ 522736 w 516282"/>
                <a:gd name="connsiteY3" fmla="*/ 484015 h 516282"/>
                <a:gd name="connsiteX4" fmla="*/ 96803 w 516282"/>
                <a:gd name="connsiteY4" fmla="*/ 161338 h 516282"/>
                <a:gd name="connsiteX5" fmla="*/ 484015 w 516282"/>
                <a:gd name="connsiteY5" fmla="*/ 458201 h 516282"/>
                <a:gd name="connsiteX6" fmla="*/ 238781 w 516282"/>
                <a:gd name="connsiteY6" fmla="*/ 96803 h 516282"/>
                <a:gd name="connsiteX7" fmla="*/ 96803 w 516282"/>
                <a:gd name="connsiteY7" fmla="*/ 16133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522736" y="484015"/>
                  </a:moveTo>
                  <a:lnTo>
                    <a:pt x="96803" y="161338"/>
                  </a:lnTo>
                  <a:lnTo>
                    <a:pt x="251688" y="96803"/>
                  </a:lnTo>
                  <a:lnTo>
                    <a:pt x="522736" y="484015"/>
                  </a:lnTo>
                  <a:close/>
                  <a:moveTo>
                    <a:pt x="96803" y="161338"/>
                  </a:moveTo>
                  <a:lnTo>
                    <a:pt x="484015" y="458201"/>
                  </a:lnTo>
                  <a:lnTo>
                    <a:pt x="238781" y="96803"/>
                  </a:lnTo>
                  <a:lnTo>
                    <a:pt x="96803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3" name="Freeform: Shape 2752">
              <a:extLst>
                <a:ext uri="{FF2B5EF4-FFF2-40B4-BE49-F238E27FC236}">
                  <a16:creationId xmlns:a16="http://schemas.microsoft.com/office/drawing/2014/main" id="{577F259D-4317-41CB-BAD2-3A1E5FDFE44B}"/>
                </a:ext>
              </a:extLst>
            </p:cNvPr>
            <p:cNvSpPr/>
            <p:nvPr/>
          </p:nvSpPr>
          <p:spPr>
            <a:xfrm>
              <a:off x="3048767" y="1988868"/>
              <a:ext cx="387212" cy="516283"/>
            </a:xfrm>
            <a:custGeom>
              <a:avLst/>
              <a:gdLst>
                <a:gd name="connsiteX0" fmla="*/ 367851 w 387211"/>
                <a:gd name="connsiteY0" fmla="*/ 484015 h 516282"/>
                <a:gd name="connsiteX1" fmla="*/ 96803 w 387211"/>
                <a:gd name="connsiteY1" fmla="*/ 96803 h 516282"/>
                <a:gd name="connsiteX2" fmla="*/ 393666 w 387211"/>
                <a:gd name="connsiteY2" fmla="*/ 161338 h 516282"/>
                <a:gd name="connsiteX3" fmla="*/ 367851 w 387211"/>
                <a:gd name="connsiteY3" fmla="*/ 484015 h 516282"/>
                <a:gd name="connsiteX4" fmla="*/ 109710 w 387211"/>
                <a:gd name="connsiteY4" fmla="*/ 109710 h 516282"/>
                <a:gd name="connsiteX5" fmla="*/ 367851 w 387211"/>
                <a:gd name="connsiteY5" fmla="*/ 471108 h 516282"/>
                <a:gd name="connsiteX6" fmla="*/ 393666 w 387211"/>
                <a:gd name="connsiteY6" fmla="*/ 174245 h 516282"/>
                <a:gd name="connsiteX7" fmla="*/ 109710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67851" y="484015"/>
                  </a:moveTo>
                  <a:lnTo>
                    <a:pt x="96803" y="96803"/>
                  </a:lnTo>
                  <a:lnTo>
                    <a:pt x="393666" y="161338"/>
                  </a:lnTo>
                  <a:lnTo>
                    <a:pt x="367851" y="484015"/>
                  </a:lnTo>
                  <a:close/>
                  <a:moveTo>
                    <a:pt x="109710" y="109710"/>
                  </a:moveTo>
                  <a:lnTo>
                    <a:pt x="367851" y="471108"/>
                  </a:lnTo>
                  <a:lnTo>
                    <a:pt x="393666" y="174245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4" name="Freeform: Shape 2753">
              <a:extLst>
                <a:ext uri="{FF2B5EF4-FFF2-40B4-BE49-F238E27FC236}">
                  <a16:creationId xmlns:a16="http://schemas.microsoft.com/office/drawing/2014/main" id="{12CBA974-3194-473A-AFDB-4DFF2E525530}"/>
                </a:ext>
              </a:extLst>
            </p:cNvPr>
            <p:cNvSpPr/>
            <p:nvPr/>
          </p:nvSpPr>
          <p:spPr>
            <a:xfrm>
              <a:off x="3332722" y="1924332"/>
              <a:ext cx="645353" cy="258141"/>
            </a:xfrm>
            <a:custGeom>
              <a:avLst/>
              <a:gdLst>
                <a:gd name="connsiteX0" fmla="*/ 96803 w 645353"/>
                <a:gd name="connsiteY0" fmla="*/ 225874 h 258141"/>
                <a:gd name="connsiteX1" fmla="*/ 225874 w 645353"/>
                <a:gd name="connsiteY1" fmla="*/ 96803 h 258141"/>
                <a:gd name="connsiteX2" fmla="*/ 225874 w 645353"/>
                <a:gd name="connsiteY2" fmla="*/ 96803 h 258141"/>
                <a:gd name="connsiteX3" fmla="*/ 561457 w 645353"/>
                <a:gd name="connsiteY3" fmla="*/ 148431 h 258141"/>
                <a:gd name="connsiteX4" fmla="*/ 96803 w 645353"/>
                <a:gd name="connsiteY4" fmla="*/ 225874 h 258141"/>
                <a:gd name="connsiteX5" fmla="*/ 225874 w 645353"/>
                <a:gd name="connsiteY5" fmla="*/ 109710 h 258141"/>
                <a:gd name="connsiteX6" fmla="*/ 109710 w 645353"/>
                <a:gd name="connsiteY6" fmla="*/ 225874 h 258141"/>
                <a:gd name="connsiteX7" fmla="*/ 522736 w 645353"/>
                <a:gd name="connsiteY7" fmla="*/ 161338 h 258141"/>
                <a:gd name="connsiteX8" fmla="*/ 225874 w 645353"/>
                <a:gd name="connsiteY8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258141">
                  <a:moveTo>
                    <a:pt x="96803" y="225874"/>
                  </a:moveTo>
                  <a:lnTo>
                    <a:pt x="225874" y="96803"/>
                  </a:lnTo>
                  <a:lnTo>
                    <a:pt x="225874" y="96803"/>
                  </a:lnTo>
                  <a:lnTo>
                    <a:pt x="561457" y="148431"/>
                  </a:lnTo>
                  <a:lnTo>
                    <a:pt x="96803" y="225874"/>
                  </a:lnTo>
                  <a:close/>
                  <a:moveTo>
                    <a:pt x="225874" y="109710"/>
                  </a:moveTo>
                  <a:lnTo>
                    <a:pt x="109710" y="225874"/>
                  </a:lnTo>
                  <a:lnTo>
                    <a:pt x="522736" y="161338"/>
                  </a:lnTo>
                  <a:lnTo>
                    <a:pt x="22587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5" name="Freeform: Shape 2754">
              <a:extLst>
                <a:ext uri="{FF2B5EF4-FFF2-40B4-BE49-F238E27FC236}">
                  <a16:creationId xmlns:a16="http://schemas.microsoft.com/office/drawing/2014/main" id="{BE482202-FAAD-4093-B4EF-0FDBF7114E8C}"/>
                </a:ext>
              </a:extLst>
            </p:cNvPr>
            <p:cNvSpPr/>
            <p:nvPr/>
          </p:nvSpPr>
          <p:spPr>
            <a:xfrm>
              <a:off x="3048767" y="1692005"/>
              <a:ext cx="387212" cy="516283"/>
            </a:xfrm>
            <a:custGeom>
              <a:avLst/>
              <a:gdLst>
                <a:gd name="connsiteX0" fmla="*/ 393666 w 387211"/>
                <a:gd name="connsiteY0" fmla="*/ 458201 h 516282"/>
                <a:gd name="connsiteX1" fmla="*/ 96803 w 387211"/>
                <a:gd name="connsiteY1" fmla="*/ 393665 h 516282"/>
                <a:gd name="connsiteX2" fmla="*/ 290409 w 387211"/>
                <a:gd name="connsiteY2" fmla="*/ 96803 h 516282"/>
                <a:gd name="connsiteX3" fmla="*/ 393666 w 387211"/>
                <a:gd name="connsiteY3" fmla="*/ 458201 h 516282"/>
                <a:gd name="connsiteX4" fmla="*/ 109710 w 387211"/>
                <a:gd name="connsiteY4" fmla="*/ 393665 h 516282"/>
                <a:gd name="connsiteX5" fmla="*/ 380759 w 387211"/>
                <a:gd name="connsiteY5" fmla="*/ 458201 h 516282"/>
                <a:gd name="connsiteX6" fmla="*/ 290409 w 387211"/>
                <a:gd name="connsiteY6" fmla="*/ 122617 h 516282"/>
                <a:gd name="connsiteX7" fmla="*/ 109710 w 387211"/>
                <a:gd name="connsiteY7" fmla="*/ 39366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93666" y="458201"/>
                  </a:moveTo>
                  <a:lnTo>
                    <a:pt x="96803" y="393665"/>
                  </a:lnTo>
                  <a:lnTo>
                    <a:pt x="290409" y="96803"/>
                  </a:lnTo>
                  <a:lnTo>
                    <a:pt x="393666" y="458201"/>
                  </a:lnTo>
                  <a:close/>
                  <a:moveTo>
                    <a:pt x="109710" y="393665"/>
                  </a:moveTo>
                  <a:lnTo>
                    <a:pt x="380759" y="458201"/>
                  </a:lnTo>
                  <a:lnTo>
                    <a:pt x="290409" y="122617"/>
                  </a:lnTo>
                  <a:lnTo>
                    <a:pt x="109710" y="3936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6" name="Freeform: Shape 2755">
              <a:extLst>
                <a:ext uri="{FF2B5EF4-FFF2-40B4-BE49-F238E27FC236}">
                  <a16:creationId xmlns:a16="http://schemas.microsoft.com/office/drawing/2014/main" id="{69E98272-238B-4A5A-9C97-CA5F308446E7}"/>
                </a:ext>
              </a:extLst>
            </p:cNvPr>
            <p:cNvSpPr/>
            <p:nvPr/>
          </p:nvSpPr>
          <p:spPr>
            <a:xfrm>
              <a:off x="3229466" y="1704912"/>
              <a:ext cx="387212" cy="516283"/>
            </a:xfrm>
            <a:custGeom>
              <a:avLst/>
              <a:gdLst>
                <a:gd name="connsiteX0" fmla="*/ 200060 w 387211"/>
                <a:gd name="connsiteY0" fmla="*/ 458201 h 516282"/>
                <a:gd name="connsiteX1" fmla="*/ 96803 w 387211"/>
                <a:gd name="connsiteY1" fmla="*/ 96803 h 516282"/>
                <a:gd name="connsiteX2" fmla="*/ 329130 w 387211"/>
                <a:gd name="connsiteY2" fmla="*/ 342037 h 516282"/>
                <a:gd name="connsiteX3" fmla="*/ 200060 w 387211"/>
                <a:gd name="connsiteY3" fmla="*/ 458201 h 516282"/>
                <a:gd name="connsiteX4" fmla="*/ 109710 w 387211"/>
                <a:gd name="connsiteY4" fmla="*/ 109710 h 516282"/>
                <a:gd name="connsiteX5" fmla="*/ 200060 w 387211"/>
                <a:gd name="connsiteY5" fmla="*/ 445294 h 516282"/>
                <a:gd name="connsiteX6" fmla="*/ 316223 w 387211"/>
                <a:gd name="connsiteY6" fmla="*/ 329130 h 516282"/>
                <a:gd name="connsiteX7" fmla="*/ 109710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00060" y="458201"/>
                  </a:moveTo>
                  <a:lnTo>
                    <a:pt x="96803" y="96803"/>
                  </a:lnTo>
                  <a:lnTo>
                    <a:pt x="329130" y="342037"/>
                  </a:lnTo>
                  <a:lnTo>
                    <a:pt x="200060" y="458201"/>
                  </a:lnTo>
                  <a:close/>
                  <a:moveTo>
                    <a:pt x="109710" y="109710"/>
                  </a:moveTo>
                  <a:lnTo>
                    <a:pt x="200060" y="445294"/>
                  </a:lnTo>
                  <a:lnTo>
                    <a:pt x="316223" y="32913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7" name="Freeform: Shape 2756">
              <a:extLst>
                <a:ext uri="{FF2B5EF4-FFF2-40B4-BE49-F238E27FC236}">
                  <a16:creationId xmlns:a16="http://schemas.microsoft.com/office/drawing/2014/main" id="{F2A4D63B-6E67-4579-B611-093A9A0841CC}"/>
                </a:ext>
              </a:extLst>
            </p:cNvPr>
            <p:cNvSpPr/>
            <p:nvPr/>
          </p:nvSpPr>
          <p:spPr>
            <a:xfrm>
              <a:off x="2726090" y="1769447"/>
              <a:ext cx="387212" cy="387212"/>
            </a:xfrm>
            <a:custGeom>
              <a:avLst/>
              <a:gdLst>
                <a:gd name="connsiteX0" fmla="*/ 277502 w 387211"/>
                <a:gd name="connsiteY0" fmla="*/ 393665 h 387211"/>
                <a:gd name="connsiteX1" fmla="*/ 96803 w 387211"/>
                <a:gd name="connsiteY1" fmla="*/ 187152 h 387211"/>
                <a:gd name="connsiteX2" fmla="*/ 342037 w 387211"/>
                <a:gd name="connsiteY2" fmla="*/ 96803 h 387211"/>
                <a:gd name="connsiteX3" fmla="*/ 277502 w 387211"/>
                <a:gd name="connsiteY3" fmla="*/ 393665 h 387211"/>
                <a:gd name="connsiteX4" fmla="*/ 109710 w 387211"/>
                <a:gd name="connsiteY4" fmla="*/ 187152 h 387211"/>
                <a:gd name="connsiteX5" fmla="*/ 277502 w 387211"/>
                <a:gd name="connsiteY5" fmla="*/ 380758 h 387211"/>
                <a:gd name="connsiteX6" fmla="*/ 342037 w 387211"/>
                <a:gd name="connsiteY6" fmla="*/ 109710 h 387211"/>
                <a:gd name="connsiteX7" fmla="*/ 109710 w 387211"/>
                <a:gd name="connsiteY7" fmla="*/ 187152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77502" y="393665"/>
                  </a:moveTo>
                  <a:lnTo>
                    <a:pt x="96803" y="187152"/>
                  </a:lnTo>
                  <a:lnTo>
                    <a:pt x="342037" y="96803"/>
                  </a:lnTo>
                  <a:lnTo>
                    <a:pt x="277502" y="393665"/>
                  </a:lnTo>
                  <a:close/>
                  <a:moveTo>
                    <a:pt x="109710" y="187152"/>
                  </a:moveTo>
                  <a:lnTo>
                    <a:pt x="277502" y="380758"/>
                  </a:lnTo>
                  <a:lnTo>
                    <a:pt x="342037" y="109710"/>
                  </a:lnTo>
                  <a:lnTo>
                    <a:pt x="109710" y="1871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8" name="Freeform: Shape 2757">
              <a:extLst>
                <a:ext uri="{FF2B5EF4-FFF2-40B4-BE49-F238E27FC236}">
                  <a16:creationId xmlns:a16="http://schemas.microsoft.com/office/drawing/2014/main" id="{F8E8463E-7935-44FD-9AB6-AB1D344784FF}"/>
                </a:ext>
              </a:extLst>
            </p:cNvPr>
            <p:cNvSpPr/>
            <p:nvPr/>
          </p:nvSpPr>
          <p:spPr>
            <a:xfrm>
              <a:off x="2906789" y="1769447"/>
              <a:ext cx="258141" cy="387212"/>
            </a:xfrm>
            <a:custGeom>
              <a:avLst/>
              <a:gdLst>
                <a:gd name="connsiteX0" fmla="*/ 96803 w 258141"/>
                <a:gd name="connsiteY0" fmla="*/ 393665 h 387211"/>
                <a:gd name="connsiteX1" fmla="*/ 161338 w 258141"/>
                <a:gd name="connsiteY1" fmla="*/ 96803 h 387211"/>
                <a:gd name="connsiteX2" fmla="*/ 251688 w 258141"/>
                <a:gd name="connsiteY2" fmla="*/ 329130 h 387211"/>
                <a:gd name="connsiteX3" fmla="*/ 96803 w 258141"/>
                <a:gd name="connsiteY3" fmla="*/ 393665 h 387211"/>
                <a:gd name="connsiteX4" fmla="*/ 161338 w 258141"/>
                <a:gd name="connsiteY4" fmla="*/ 109710 h 387211"/>
                <a:gd name="connsiteX5" fmla="*/ 109710 w 258141"/>
                <a:gd name="connsiteY5" fmla="*/ 367851 h 387211"/>
                <a:gd name="connsiteX6" fmla="*/ 251688 w 258141"/>
                <a:gd name="connsiteY6" fmla="*/ 303316 h 387211"/>
                <a:gd name="connsiteX7" fmla="*/ 161338 w 25814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93665"/>
                  </a:moveTo>
                  <a:lnTo>
                    <a:pt x="161338" y="96803"/>
                  </a:lnTo>
                  <a:lnTo>
                    <a:pt x="251688" y="329130"/>
                  </a:lnTo>
                  <a:lnTo>
                    <a:pt x="96803" y="393665"/>
                  </a:lnTo>
                  <a:close/>
                  <a:moveTo>
                    <a:pt x="161338" y="109710"/>
                  </a:moveTo>
                  <a:lnTo>
                    <a:pt x="109710" y="367851"/>
                  </a:lnTo>
                  <a:lnTo>
                    <a:pt x="251688" y="303316"/>
                  </a:lnTo>
                  <a:lnTo>
                    <a:pt x="16133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59" name="Freeform: Shape 2758">
              <a:extLst>
                <a:ext uri="{FF2B5EF4-FFF2-40B4-BE49-F238E27FC236}">
                  <a16:creationId xmlns:a16="http://schemas.microsoft.com/office/drawing/2014/main" id="{0D7D449C-2B53-41A4-A846-39B6D107A6B1}"/>
                </a:ext>
              </a:extLst>
            </p:cNvPr>
            <p:cNvSpPr/>
            <p:nvPr/>
          </p:nvSpPr>
          <p:spPr>
            <a:xfrm>
              <a:off x="2958418" y="1704912"/>
              <a:ext cx="387212" cy="387212"/>
            </a:xfrm>
            <a:custGeom>
              <a:avLst/>
              <a:gdLst>
                <a:gd name="connsiteX0" fmla="*/ 187152 w 387211"/>
                <a:gd name="connsiteY0" fmla="*/ 393665 h 387211"/>
                <a:gd name="connsiteX1" fmla="*/ 96803 w 387211"/>
                <a:gd name="connsiteY1" fmla="*/ 161338 h 387211"/>
                <a:gd name="connsiteX2" fmla="*/ 393665 w 387211"/>
                <a:gd name="connsiteY2" fmla="*/ 96803 h 387211"/>
                <a:gd name="connsiteX3" fmla="*/ 187152 w 387211"/>
                <a:gd name="connsiteY3" fmla="*/ 393665 h 387211"/>
                <a:gd name="connsiteX4" fmla="*/ 109710 w 387211"/>
                <a:gd name="connsiteY4" fmla="*/ 174245 h 387211"/>
                <a:gd name="connsiteX5" fmla="*/ 187152 w 387211"/>
                <a:gd name="connsiteY5" fmla="*/ 380758 h 387211"/>
                <a:gd name="connsiteX6" fmla="*/ 367851 w 387211"/>
                <a:gd name="connsiteY6" fmla="*/ 109710 h 387211"/>
                <a:gd name="connsiteX7" fmla="*/ 109710 w 387211"/>
                <a:gd name="connsiteY7" fmla="*/ 17424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87152" y="393665"/>
                  </a:moveTo>
                  <a:lnTo>
                    <a:pt x="96803" y="161338"/>
                  </a:lnTo>
                  <a:lnTo>
                    <a:pt x="393665" y="96803"/>
                  </a:lnTo>
                  <a:lnTo>
                    <a:pt x="187152" y="393665"/>
                  </a:lnTo>
                  <a:close/>
                  <a:moveTo>
                    <a:pt x="109710" y="174245"/>
                  </a:moveTo>
                  <a:lnTo>
                    <a:pt x="187152" y="380758"/>
                  </a:lnTo>
                  <a:lnTo>
                    <a:pt x="367851" y="109710"/>
                  </a:lnTo>
                  <a:lnTo>
                    <a:pt x="109710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0" name="Freeform: Shape 2759">
              <a:extLst>
                <a:ext uri="{FF2B5EF4-FFF2-40B4-BE49-F238E27FC236}">
                  <a16:creationId xmlns:a16="http://schemas.microsoft.com/office/drawing/2014/main" id="{041848E4-66EC-4443-90DA-6C6DF888D21F}"/>
                </a:ext>
              </a:extLst>
            </p:cNvPr>
            <p:cNvSpPr/>
            <p:nvPr/>
          </p:nvSpPr>
          <p:spPr>
            <a:xfrm>
              <a:off x="2390506" y="1666191"/>
              <a:ext cx="387212" cy="387212"/>
            </a:xfrm>
            <a:custGeom>
              <a:avLst/>
              <a:gdLst>
                <a:gd name="connsiteX0" fmla="*/ 238781 w 387211"/>
                <a:gd name="connsiteY0" fmla="*/ 406573 h 387211"/>
                <a:gd name="connsiteX1" fmla="*/ 96803 w 387211"/>
                <a:gd name="connsiteY1" fmla="*/ 96803 h 387211"/>
                <a:gd name="connsiteX2" fmla="*/ 329130 w 387211"/>
                <a:gd name="connsiteY2" fmla="*/ 96803 h 387211"/>
                <a:gd name="connsiteX3" fmla="*/ 238781 w 387211"/>
                <a:gd name="connsiteY3" fmla="*/ 406573 h 387211"/>
                <a:gd name="connsiteX4" fmla="*/ 96803 w 387211"/>
                <a:gd name="connsiteY4" fmla="*/ 109710 h 387211"/>
                <a:gd name="connsiteX5" fmla="*/ 225874 w 387211"/>
                <a:gd name="connsiteY5" fmla="*/ 393665 h 387211"/>
                <a:gd name="connsiteX6" fmla="*/ 316223 w 387211"/>
                <a:gd name="connsiteY6" fmla="*/ 109710 h 387211"/>
                <a:gd name="connsiteX7" fmla="*/ 96803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38781" y="406573"/>
                  </a:moveTo>
                  <a:lnTo>
                    <a:pt x="96803" y="96803"/>
                  </a:lnTo>
                  <a:lnTo>
                    <a:pt x="329130" y="96803"/>
                  </a:lnTo>
                  <a:lnTo>
                    <a:pt x="238781" y="406573"/>
                  </a:lnTo>
                  <a:close/>
                  <a:moveTo>
                    <a:pt x="96803" y="109710"/>
                  </a:moveTo>
                  <a:lnTo>
                    <a:pt x="225874" y="393665"/>
                  </a:lnTo>
                  <a:lnTo>
                    <a:pt x="316223" y="109710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1" name="Freeform: Shape 2760">
              <a:extLst>
                <a:ext uri="{FF2B5EF4-FFF2-40B4-BE49-F238E27FC236}">
                  <a16:creationId xmlns:a16="http://schemas.microsoft.com/office/drawing/2014/main" id="{D6B473CB-4DAA-4BB0-90E5-5DB89D9103D8}"/>
                </a:ext>
              </a:extLst>
            </p:cNvPr>
            <p:cNvSpPr/>
            <p:nvPr/>
          </p:nvSpPr>
          <p:spPr>
            <a:xfrm>
              <a:off x="2532484" y="1666191"/>
              <a:ext cx="387212" cy="387212"/>
            </a:xfrm>
            <a:custGeom>
              <a:avLst/>
              <a:gdLst>
                <a:gd name="connsiteX0" fmla="*/ 96803 w 387211"/>
                <a:gd name="connsiteY0" fmla="*/ 406573 h 387211"/>
                <a:gd name="connsiteX1" fmla="*/ 174245 w 387211"/>
                <a:gd name="connsiteY1" fmla="*/ 96803 h 387211"/>
                <a:gd name="connsiteX2" fmla="*/ 303316 w 387211"/>
                <a:gd name="connsiteY2" fmla="*/ 290409 h 387211"/>
                <a:gd name="connsiteX3" fmla="*/ 96803 w 387211"/>
                <a:gd name="connsiteY3" fmla="*/ 406573 h 387211"/>
                <a:gd name="connsiteX4" fmla="*/ 187153 w 387211"/>
                <a:gd name="connsiteY4" fmla="*/ 109710 h 387211"/>
                <a:gd name="connsiteX5" fmla="*/ 109710 w 387211"/>
                <a:gd name="connsiteY5" fmla="*/ 393665 h 387211"/>
                <a:gd name="connsiteX6" fmla="*/ 290409 w 387211"/>
                <a:gd name="connsiteY6" fmla="*/ 290409 h 387211"/>
                <a:gd name="connsiteX7" fmla="*/ 187153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406573"/>
                  </a:moveTo>
                  <a:lnTo>
                    <a:pt x="174245" y="96803"/>
                  </a:lnTo>
                  <a:lnTo>
                    <a:pt x="303316" y="290409"/>
                  </a:lnTo>
                  <a:lnTo>
                    <a:pt x="96803" y="406573"/>
                  </a:lnTo>
                  <a:close/>
                  <a:moveTo>
                    <a:pt x="187153" y="109710"/>
                  </a:moveTo>
                  <a:lnTo>
                    <a:pt x="109710" y="393665"/>
                  </a:lnTo>
                  <a:lnTo>
                    <a:pt x="290409" y="290409"/>
                  </a:lnTo>
                  <a:lnTo>
                    <a:pt x="18715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2" name="Freeform: Shape 2761">
              <a:extLst>
                <a:ext uri="{FF2B5EF4-FFF2-40B4-BE49-F238E27FC236}">
                  <a16:creationId xmlns:a16="http://schemas.microsoft.com/office/drawing/2014/main" id="{EE7D1C79-0CFF-4D6F-A014-D55DCD985286}"/>
                </a:ext>
              </a:extLst>
            </p:cNvPr>
            <p:cNvSpPr/>
            <p:nvPr/>
          </p:nvSpPr>
          <p:spPr>
            <a:xfrm>
              <a:off x="2609927" y="1666191"/>
              <a:ext cx="516283" cy="387212"/>
            </a:xfrm>
            <a:custGeom>
              <a:avLst/>
              <a:gdLst>
                <a:gd name="connsiteX0" fmla="*/ 212967 w 516282"/>
                <a:gd name="connsiteY0" fmla="*/ 290409 h 387211"/>
                <a:gd name="connsiteX1" fmla="*/ 96803 w 516282"/>
                <a:gd name="connsiteY1" fmla="*/ 96803 h 387211"/>
                <a:gd name="connsiteX2" fmla="*/ 471108 w 516282"/>
                <a:gd name="connsiteY2" fmla="*/ 200060 h 387211"/>
                <a:gd name="connsiteX3" fmla="*/ 212967 w 516282"/>
                <a:gd name="connsiteY3" fmla="*/ 290409 h 387211"/>
                <a:gd name="connsiteX4" fmla="*/ 109710 w 516282"/>
                <a:gd name="connsiteY4" fmla="*/ 109710 h 387211"/>
                <a:gd name="connsiteX5" fmla="*/ 212967 w 516282"/>
                <a:gd name="connsiteY5" fmla="*/ 277502 h 387211"/>
                <a:gd name="connsiteX6" fmla="*/ 445294 w 516282"/>
                <a:gd name="connsiteY6" fmla="*/ 200060 h 387211"/>
                <a:gd name="connsiteX7" fmla="*/ 109710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212967" y="290409"/>
                  </a:moveTo>
                  <a:lnTo>
                    <a:pt x="96803" y="96803"/>
                  </a:lnTo>
                  <a:lnTo>
                    <a:pt x="471108" y="200060"/>
                  </a:lnTo>
                  <a:lnTo>
                    <a:pt x="212967" y="290409"/>
                  </a:lnTo>
                  <a:close/>
                  <a:moveTo>
                    <a:pt x="109710" y="109710"/>
                  </a:moveTo>
                  <a:lnTo>
                    <a:pt x="212967" y="277502"/>
                  </a:lnTo>
                  <a:lnTo>
                    <a:pt x="445294" y="20006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3" name="Freeform: Shape 2762">
              <a:extLst>
                <a:ext uri="{FF2B5EF4-FFF2-40B4-BE49-F238E27FC236}">
                  <a16:creationId xmlns:a16="http://schemas.microsoft.com/office/drawing/2014/main" id="{F036005A-50F6-4018-A070-E74D0B9205BA}"/>
                </a:ext>
              </a:extLst>
            </p:cNvPr>
            <p:cNvSpPr/>
            <p:nvPr/>
          </p:nvSpPr>
          <p:spPr>
            <a:xfrm>
              <a:off x="3236369" y="1674976"/>
              <a:ext cx="516283" cy="129071"/>
            </a:xfrm>
            <a:custGeom>
              <a:avLst/>
              <a:gdLst>
                <a:gd name="connsiteX0" fmla="*/ 102986 w 516282"/>
                <a:gd name="connsiteY0" fmla="*/ 124308 h 129070"/>
                <a:gd name="connsiteX1" fmla="*/ 424953 w 516282"/>
                <a:gd name="connsiteY1" fmla="*/ 102987 h 129070"/>
                <a:gd name="connsiteX2" fmla="*/ 424953 w 516282"/>
                <a:gd name="connsiteY2" fmla="*/ 102987 h 129070"/>
                <a:gd name="connsiteX3" fmla="*/ 102986 w 516282"/>
                <a:gd name="connsiteY3" fmla="*/ 124308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6282" h="129070">
                  <a:moveTo>
                    <a:pt x="102986" y="124308"/>
                  </a:moveTo>
                  <a:lnTo>
                    <a:pt x="424953" y="102987"/>
                  </a:lnTo>
                  <a:lnTo>
                    <a:pt x="424953" y="102987"/>
                  </a:lnTo>
                  <a:lnTo>
                    <a:pt x="102986" y="1243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4" name="Freeform: Shape 2763">
              <a:extLst>
                <a:ext uri="{FF2B5EF4-FFF2-40B4-BE49-F238E27FC236}">
                  <a16:creationId xmlns:a16="http://schemas.microsoft.com/office/drawing/2014/main" id="{D2FAD223-C85E-49A6-B650-D25CF8A23A62}"/>
                </a:ext>
              </a:extLst>
            </p:cNvPr>
            <p:cNvSpPr/>
            <p:nvPr/>
          </p:nvSpPr>
          <p:spPr>
            <a:xfrm>
              <a:off x="3448886" y="1666191"/>
              <a:ext cx="258141" cy="387212"/>
            </a:xfrm>
            <a:custGeom>
              <a:avLst/>
              <a:gdLst>
                <a:gd name="connsiteX0" fmla="*/ 96803 w 258141"/>
                <a:gd name="connsiteY0" fmla="*/ 367851 h 387211"/>
                <a:gd name="connsiteX1" fmla="*/ 200059 w 258141"/>
                <a:gd name="connsiteY1" fmla="*/ 96803 h 387211"/>
                <a:gd name="connsiteX2" fmla="*/ 200059 w 258141"/>
                <a:gd name="connsiteY2" fmla="*/ 277502 h 387211"/>
                <a:gd name="connsiteX3" fmla="*/ 96803 w 258141"/>
                <a:gd name="connsiteY3" fmla="*/ 367851 h 387211"/>
                <a:gd name="connsiteX4" fmla="*/ 200059 w 258141"/>
                <a:gd name="connsiteY4" fmla="*/ 135524 h 387211"/>
                <a:gd name="connsiteX5" fmla="*/ 109710 w 258141"/>
                <a:gd name="connsiteY5" fmla="*/ 354944 h 387211"/>
                <a:gd name="connsiteX6" fmla="*/ 212967 w 258141"/>
                <a:gd name="connsiteY6" fmla="*/ 277502 h 387211"/>
                <a:gd name="connsiteX7" fmla="*/ 200059 w 25814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67851"/>
                  </a:moveTo>
                  <a:lnTo>
                    <a:pt x="200059" y="96803"/>
                  </a:lnTo>
                  <a:lnTo>
                    <a:pt x="200059" y="277502"/>
                  </a:lnTo>
                  <a:lnTo>
                    <a:pt x="96803" y="367851"/>
                  </a:lnTo>
                  <a:close/>
                  <a:moveTo>
                    <a:pt x="200059" y="135524"/>
                  </a:moveTo>
                  <a:lnTo>
                    <a:pt x="109710" y="354944"/>
                  </a:lnTo>
                  <a:lnTo>
                    <a:pt x="212967" y="277502"/>
                  </a:lnTo>
                  <a:lnTo>
                    <a:pt x="200059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5" name="Freeform: Shape 2764">
              <a:extLst>
                <a:ext uri="{FF2B5EF4-FFF2-40B4-BE49-F238E27FC236}">
                  <a16:creationId xmlns:a16="http://schemas.microsoft.com/office/drawing/2014/main" id="{5F0B373E-863D-4FE3-9E02-E7095693B9EB}"/>
                </a:ext>
              </a:extLst>
            </p:cNvPr>
            <p:cNvSpPr/>
            <p:nvPr/>
          </p:nvSpPr>
          <p:spPr>
            <a:xfrm>
              <a:off x="3461793" y="1846890"/>
              <a:ext cx="516283" cy="258141"/>
            </a:xfrm>
            <a:custGeom>
              <a:avLst/>
              <a:gdLst>
                <a:gd name="connsiteX0" fmla="*/ 432387 w 516282"/>
                <a:gd name="connsiteY0" fmla="*/ 238781 h 258141"/>
                <a:gd name="connsiteX1" fmla="*/ 96803 w 516282"/>
                <a:gd name="connsiteY1" fmla="*/ 187152 h 258141"/>
                <a:gd name="connsiteX2" fmla="*/ 200059 w 516282"/>
                <a:gd name="connsiteY2" fmla="*/ 96803 h 258141"/>
                <a:gd name="connsiteX3" fmla="*/ 432387 w 516282"/>
                <a:gd name="connsiteY3" fmla="*/ 238781 h 258141"/>
                <a:gd name="connsiteX4" fmla="*/ 109710 w 516282"/>
                <a:gd name="connsiteY4" fmla="*/ 187152 h 258141"/>
                <a:gd name="connsiteX5" fmla="*/ 393665 w 516282"/>
                <a:gd name="connsiteY5" fmla="*/ 225874 h 258141"/>
                <a:gd name="connsiteX6" fmla="*/ 200059 w 516282"/>
                <a:gd name="connsiteY6" fmla="*/ 109710 h 258141"/>
                <a:gd name="connsiteX7" fmla="*/ 109710 w 516282"/>
                <a:gd name="connsiteY7" fmla="*/ 187152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432387" y="238781"/>
                  </a:moveTo>
                  <a:lnTo>
                    <a:pt x="96803" y="187152"/>
                  </a:lnTo>
                  <a:lnTo>
                    <a:pt x="200059" y="96803"/>
                  </a:lnTo>
                  <a:lnTo>
                    <a:pt x="432387" y="238781"/>
                  </a:lnTo>
                  <a:close/>
                  <a:moveTo>
                    <a:pt x="109710" y="187152"/>
                  </a:moveTo>
                  <a:lnTo>
                    <a:pt x="393665" y="225874"/>
                  </a:lnTo>
                  <a:lnTo>
                    <a:pt x="200059" y="109710"/>
                  </a:lnTo>
                  <a:lnTo>
                    <a:pt x="109710" y="1871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6" name="Freeform: Shape 2765">
              <a:extLst>
                <a:ext uri="{FF2B5EF4-FFF2-40B4-BE49-F238E27FC236}">
                  <a16:creationId xmlns:a16="http://schemas.microsoft.com/office/drawing/2014/main" id="{FFDB7CA5-3019-4687-81C7-7D400F76F576}"/>
                </a:ext>
              </a:extLst>
            </p:cNvPr>
            <p:cNvSpPr/>
            <p:nvPr/>
          </p:nvSpPr>
          <p:spPr>
            <a:xfrm>
              <a:off x="3565049" y="1627470"/>
              <a:ext cx="387212" cy="387212"/>
            </a:xfrm>
            <a:custGeom>
              <a:avLst/>
              <a:gdLst>
                <a:gd name="connsiteX0" fmla="*/ 96803 w 387211"/>
                <a:gd name="connsiteY0" fmla="*/ 329130 h 387211"/>
                <a:gd name="connsiteX1" fmla="*/ 96803 w 387211"/>
                <a:gd name="connsiteY1" fmla="*/ 148431 h 387211"/>
                <a:gd name="connsiteX2" fmla="*/ 316223 w 387211"/>
                <a:gd name="connsiteY2" fmla="*/ 96803 h 387211"/>
                <a:gd name="connsiteX3" fmla="*/ 96803 w 387211"/>
                <a:gd name="connsiteY3" fmla="*/ 329130 h 387211"/>
                <a:gd name="connsiteX4" fmla="*/ 96803 w 387211"/>
                <a:gd name="connsiteY4" fmla="*/ 161338 h 387211"/>
                <a:gd name="connsiteX5" fmla="*/ 96803 w 387211"/>
                <a:gd name="connsiteY5" fmla="*/ 316223 h 387211"/>
                <a:gd name="connsiteX6" fmla="*/ 290409 w 387211"/>
                <a:gd name="connsiteY6" fmla="*/ 122617 h 387211"/>
                <a:gd name="connsiteX7" fmla="*/ 96803 w 387211"/>
                <a:gd name="connsiteY7" fmla="*/ 16133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29130"/>
                  </a:moveTo>
                  <a:lnTo>
                    <a:pt x="96803" y="148431"/>
                  </a:lnTo>
                  <a:lnTo>
                    <a:pt x="316223" y="96803"/>
                  </a:lnTo>
                  <a:lnTo>
                    <a:pt x="96803" y="329130"/>
                  </a:lnTo>
                  <a:close/>
                  <a:moveTo>
                    <a:pt x="96803" y="161338"/>
                  </a:moveTo>
                  <a:lnTo>
                    <a:pt x="96803" y="316223"/>
                  </a:lnTo>
                  <a:lnTo>
                    <a:pt x="290409" y="122617"/>
                  </a:lnTo>
                  <a:lnTo>
                    <a:pt x="96803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7" name="Freeform: Shape 2766">
              <a:extLst>
                <a:ext uri="{FF2B5EF4-FFF2-40B4-BE49-F238E27FC236}">
                  <a16:creationId xmlns:a16="http://schemas.microsoft.com/office/drawing/2014/main" id="{0CB6EE71-FD35-4C7A-867F-52331CB58711}"/>
                </a:ext>
              </a:extLst>
            </p:cNvPr>
            <p:cNvSpPr/>
            <p:nvPr/>
          </p:nvSpPr>
          <p:spPr>
            <a:xfrm>
              <a:off x="3552142" y="1627470"/>
              <a:ext cx="387212" cy="516283"/>
            </a:xfrm>
            <a:custGeom>
              <a:avLst/>
              <a:gdLst>
                <a:gd name="connsiteX0" fmla="*/ 329130 w 387211"/>
                <a:gd name="connsiteY0" fmla="*/ 458201 h 516282"/>
                <a:gd name="connsiteX1" fmla="*/ 96803 w 387211"/>
                <a:gd name="connsiteY1" fmla="*/ 316223 h 516282"/>
                <a:gd name="connsiteX2" fmla="*/ 316223 w 387211"/>
                <a:gd name="connsiteY2" fmla="*/ 96803 h 516282"/>
                <a:gd name="connsiteX3" fmla="*/ 329130 w 387211"/>
                <a:gd name="connsiteY3" fmla="*/ 458201 h 516282"/>
                <a:gd name="connsiteX4" fmla="*/ 109710 w 387211"/>
                <a:gd name="connsiteY4" fmla="*/ 316223 h 516282"/>
                <a:gd name="connsiteX5" fmla="*/ 316223 w 387211"/>
                <a:gd name="connsiteY5" fmla="*/ 445294 h 516282"/>
                <a:gd name="connsiteX6" fmla="*/ 316223 w 387211"/>
                <a:gd name="connsiteY6" fmla="*/ 109710 h 516282"/>
                <a:gd name="connsiteX7" fmla="*/ 109710 w 387211"/>
                <a:gd name="connsiteY7" fmla="*/ 31622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29130" y="458201"/>
                  </a:moveTo>
                  <a:lnTo>
                    <a:pt x="96803" y="316223"/>
                  </a:lnTo>
                  <a:lnTo>
                    <a:pt x="316223" y="96803"/>
                  </a:lnTo>
                  <a:lnTo>
                    <a:pt x="329130" y="458201"/>
                  </a:lnTo>
                  <a:close/>
                  <a:moveTo>
                    <a:pt x="109710" y="316223"/>
                  </a:moveTo>
                  <a:lnTo>
                    <a:pt x="316223" y="445294"/>
                  </a:lnTo>
                  <a:lnTo>
                    <a:pt x="316223" y="109710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8" name="Freeform: Shape 2767">
              <a:extLst>
                <a:ext uri="{FF2B5EF4-FFF2-40B4-BE49-F238E27FC236}">
                  <a16:creationId xmlns:a16="http://schemas.microsoft.com/office/drawing/2014/main" id="{6FE3A0D5-BEC4-4168-B6F5-FB234CDD83F0}"/>
                </a:ext>
              </a:extLst>
            </p:cNvPr>
            <p:cNvSpPr/>
            <p:nvPr/>
          </p:nvSpPr>
          <p:spPr>
            <a:xfrm>
              <a:off x="3771563" y="1640377"/>
              <a:ext cx="258141" cy="516283"/>
            </a:xfrm>
            <a:custGeom>
              <a:avLst/>
              <a:gdLst>
                <a:gd name="connsiteX0" fmla="*/ 96803 w 258141"/>
                <a:gd name="connsiteY0" fmla="*/ 458201 h 516282"/>
                <a:gd name="connsiteX1" fmla="*/ 96803 w 258141"/>
                <a:gd name="connsiteY1" fmla="*/ 96803 h 516282"/>
                <a:gd name="connsiteX2" fmla="*/ 212967 w 258141"/>
                <a:gd name="connsiteY2" fmla="*/ 148431 h 516282"/>
                <a:gd name="connsiteX3" fmla="*/ 96803 w 258141"/>
                <a:gd name="connsiteY3" fmla="*/ 458201 h 516282"/>
                <a:gd name="connsiteX4" fmla="*/ 96803 w 258141"/>
                <a:gd name="connsiteY4" fmla="*/ 96803 h 516282"/>
                <a:gd name="connsiteX5" fmla="*/ 96803 w 258141"/>
                <a:gd name="connsiteY5" fmla="*/ 419480 h 516282"/>
                <a:gd name="connsiteX6" fmla="*/ 187153 w 258141"/>
                <a:gd name="connsiteY6" fmla="*/ 148431 h 516282"/>
                <a:gd name="connsiteX7" fmla="*/ 96803 w 258141"/>
                <a:gd name="connsiteY7" fmla="*/ 9680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96803" y="458201"/>
                  </a:moveTo>
                  <a:lnTo>
                    <a:pt x="96803" y="96803"/>
                  </a:lnTo>
                  <a:lnTo>
                    <a:pt x="212967" y="148431"/>
                  </a:lnTo>
                  <a:lnTo>
                    <a:pt x="96803" y="458201"/>
                  </a:lnTo>
                  <a:close/>
                  <a:moveTo>
                    <a:pt x="96803" y="96803"/>
                  </a:moveTo>
                  <a:lnTo>
                    <a:pt x="96803" y="419480"/>
                  </a:lnTo>
                  <a:lnTo>
                    <a:pt x="187153" y="148431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69" name="Freeform: Shape 2768">
              <a:extLst>
                <a:ext uri="{FF2B5EF4-FFF2-40B4-BE49-F238E27FC236}">
                  <a16:creationId xmlns:a16="http://schemas.microsoft.com/office/drawing/2014/main" id="{E46CDB6B-6EB1-408D-87D3-0FAE2B585E55}"/>
                </a:ext>
              </a:extLst>
            </p:cNvPr>
            <p:cNvSpPr/>
            <p:nvPr/>
          </p:nvSpPr>
          <p:spPr>
            <a:xfrm>
              <a:off x="4145867" y="1679098"/>
              <a:ext cx="387212" cy="387212"/>
            </a:xfrm>
            <a:custGeom>
              <a:avLst/>
              <a:gdLst>
                <a:gd name="connsiteX0" fmla="*/ 329130 w 387211"/>
                <a:gd name="connsiteY0" fmla="*/ 380758 h 387211"/>
                <a:gd name="connsiteX1" fmla="*/ 96803 w 387211"/>
                <a:gd name="connsiteY1" fmla="*/ 109710 h 387211"/>
                <a:gd name="connsiteX2" fmla="*/ 354944 w 387211"/>
                <a:gd name="connsiteY2" fmla="*/ 96803 h 387211"/>
                <a:gd name="connsiteX3" fmla="*/ 329130 w 387211"/>
                <a:gd name="connsiteY3" fmla="*/ 380758 h 387211"/>
                <a:gd name="connsiteX4" fmla="*/ 109710 w 387211"/>
                <a:gd name="connsiteY4" fmla="*/ 122617 h 387211"/>
                <a:gd name="connsiteX5" fmla="*/ 316223 w 387211"/>
                <a:gd name="connsiteY5" fmla="*/ 367851 h 387211"/>
                <a:gd name="connsiteX6" fmla="*/ 342037 w 387211"/>
                <a:gd name="connsiteY6" fmla="*/ 109710 h 387211"/>
                <a:gd name="connsiteX7" fmla="*/ 109710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29130" y="380758"/>
                  </a:moveTo>
                  <a:lnTo>
                    <a:pt x="96803" y="109710"/>
                  </a:lnTo>
                  <a:lnTo>
                    <a:pt x="354944" y="96803"/>
                  </a:lnTo>
                  <a:lnTo>
                    <a:pt x="329130" y="380758"/>
                  </a:lnTo>
                  <a:close/>
                  <a:moveTo>
                    <a:pt x="109710" y="122617"/>
                  </a:moveTo>
                  <a:lnTo>
                    <a:pt x="316223" y="367851"/>
                  </a:lnTo>
                  <a:lnTo>
                    <a:pt x="342037" y="109710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0" name="Freeform: Shape 2769">
              <a:extLst>
                <a:ext uri="{FF2B5EF4-FFF2-40B4-BE49-F238E27FC236}">
                  <a16:creationId xmlns:a16="http://schemas.microsoft.com/office/drawing/2014/main" id="{0A87E72F-0219-4EA6-9429-D10175397726}"/>
                </a:ext>
              </a:extLst>
            </p:cNvPr>
            <p:cNvSpPr/>
            <p:nvPr/>
          </p:nvSpPr>
          <p:spPr>
            <a:xfrm>
              <a:off x="3771563" y="1692005"/>
              <a:ext cx="516283" cy="387212"/>
            </a:xfrm>
            <a:custGeom>
              <a:avLst/>
              <a:gdLst>
                <a:gd name="connsiteX0" fmla="*/ 96803 w 516282"/>
                <a:gd name="connsiteY0" fmla="*/ 393665 h 387211"/>
                <a:gd name="connsiteX1" fmla="*/ 200059 w 516282"/>
                <a:gd name="connsiteY1" fmla="*/ 96803 h 387211"/>
                <a:gd name="connsiteX2" fmla="*/ 445294 w 516282"/>
                <a:gd name="connsiteY2" fmla="*/ 329130 h 387211"/>
                <a:gd name="connsiteX3" fmla="*/ 96803 w 516282"/>
                <a:gd name="connsiteY3" fmla="*/ 393665 h 387211"/>
                <a:gd name="connsiteX4" fmla="*/ 200059 w 516282"/>
                <a:gd name="connsiteY4" fmla="*/ 96803 h 387211"/>
                <a:gd name="connsiteX5" fmla="*/ 109710 w 516282"/>
                <a:gd name="connsiteY5" fmla="*/ 380758 h 387211"/>
                <a:gd name="connsiteX6" fmla="*/ 445294 w 516282"/>
                <a:gd name="connsiteY6" fmla="*/ 316223 h 387211"/>
                <a:gd name="connsiteX7" fmla="*/ 200059 w 516282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96803" y="393665"/>
                  </a:moveTo>
                  <a:lnTo>
                    <a:pt x="200059" y="96803"/>
                  </a:lnTo>
                  <a:lnTo>
                    <a:pt x="445294" y="329130"/>
                  </a:lnTo>
                  <a:lnTo>
                    <a:pt x="96803" y="393665"/>
                  </a:lnTo>
                  <a:close/>
                  <a:moveTo>
                    <a:pt x="200059" y="96803"/>
                  </a:moveTo>
                  <a:lnTo>
                    <a:pt x="109710" y="380758"/>
                  </a:lnTo>
                  <a:lnTo>
                    <a:pt x="445294" y="316223"/>
                  </a:lnTo>
                  <a:lnTo>
                    <a:pt x="200059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1" name="Freeform: Shape 2770">
              <a:extLst>
                <a:ext uri="{FF2B5EF4-FFF2-40B4-BE49-F238E27FC236}">
                  <a16:creationId xmlns:a16="http://schemas.microsoft.com/office/drawing/2014/main" id="{A0194264-2534-4BA5-944C-3F9BECFC4FA8}"/>
                </a:ext>
              </a:extLst>
            </p:cNvPr>
            <p:cNvSpPr/>
            <p:nvPr/>
          </p:nvSpPr>
          <p:spPr>
            <a:xfrm>
              <a:off x="3771563" y="1911425"/>
              <a:ext cx="516283" cy="516283"/>
            </a:xfrm>
            <a:custGeom>
              <a:avLst/>
              <a:gdLst>
                <a:gd name="connsiteX0" fmla="*/ 303316 w 516282"/>
                <a:gd name="connsiteY0" fmla="*/ 484015 h 516282"/>
                <a:gd name="connsiteX1" fmla="*/ 96803 w 516282"/>
                <a:gd name="connsiteY1" fmla="*/ 161338 h 516282"/>
                <a:gd name="connsiteX2" fmla="*/ 445294 w 516282"/>
                <a:gd name="connsiteY2" fmla="*/ 96803 h 516282"/>
                <a:gd name="connsiteX3" fmla="*/ 303316 w 516282"/>
                <a:gd name="connsiteY3" fmla="*/ 484015 h 516282"/>
                <a:gd name="connsiteX4" fmla="*/ 109710 w 516282"/>
                <a:gd name="connsiteY4" fmla="*/ 174245 h 516282"/>
                <a:gd name="connsiteX5" fmla="*/ 303316 w 516282"/>
                <a:gd name="connsiteY5" fmla="*/ 484015 h 516282"/>
                <a:gd name="connsiteX6" fmla="*/ 445294 w 516282"/>
                <a:gd name="connsiteY6" fmla="*/ 122617 h 516282"/>
                <a:gd name="connsiteX7" fmla="*/ 109710 w 516282"/>
                <a:gd name="connsiteY7" fmla="*/ 17424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303316" y="484015"/>
                  </a:moveTo>
                  <a:lnTo>
                    <a:pt x="96803" y="161338"/>
                  </a:lnTo>
                  <a:lnTo>
                    <a:pt x="445294" y="96803"/>
                  </a:lnTo>
                  <a:lnTo>
                    <a:pt x="303316" y="484015"/>
                  </a:lnTo>
                  <a:close/>
                  <a:moveTo>
                    <a:pt x="109710" y="174245"/>
                  </a:moveTo>
                  <a:lnTo>
                    <a:pt x="303316" y="484015"/>
                  </a:lnTo>
                  <a:lnTo>
                    <a:pt x="445294" y="122617"/>
                  </a:lnTo>
                  <a:lnTo>
                    <a:pt x="109710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2" name="Freeform: Shape 2771">
              <a:extLst>
                <a:ext uri="{FF2B5EF4-FFF2-40B4-BE49-F238E27FC236}">
                  <a16:creationId xmlns:a16="http://schemas.microsoft.com/office/drawing/2014/main" id="{EFEAF608-2F33-4DB7-BD0A-971D89A22863}"/>
                </a:ext>
              </a:extLst>
            </p:cNvPr>
            <p:cNvSpPr/>
            <p:nvPr/>
          </p:nvSpPr>
          <p:spPr>
            <a:xfrm>
              <a:off x="3861912" y="1692005"/>
              <a:ext cx="387212" cy="387212"/>
            </a:xfrm>
            <a:custGeom>
              <a:avLst/>
              <a:gdLst>
                <a:gd name="connsiteX0" fmla="*/ 354944 w 387211"/>
                <a:gd name="connsiteY0" fmla="*/ 329130 h 387211"/>
                <a:gd name="connsiteX1" fmla="*/ 96803 w 387211"/>
                <a:gd name="connsiteY1" fmla="*/ 96803 h 387211"/>
                <a:gd name="connsiteX2" fmla="*/ 393665 w 387211"/>
                <a:gd name="connsiteY2" fmla="*/ 96803 h 387211"/>
                <a:gd name="connsiteX3" fmla="*/ 354944 w 387211"/>
                <a:gd name="connsiteY3" fmla="*/ 329130 h 387211"/>
                <a:gd name="connsiteX4" fmla="*/ 122617 w 387211"/>
                <a:gd name="connsiteY4" fmla="*/ 96803 h 387211"/>
                <a:gd name="connsiteX5" fmla="*/ 354944 w 387211"/>
                <a:gd name="connsiteY5" fmla="*/ 316223 h 387211"/>
                <a:gd name="connsiteX6" fmla="*/ 393665 w 387211"/>
                <a:gd name="connsiteY6" fmla="*/ 109710 h 387211"/>
                <a:gd name="connsiteX7" fmla="*/ 122617 w 38721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54944" y="329130"/>
                  </a:moveTo>
                  <a:lnTo>
                    <a:pt x="96803" y="96803"/>
                  </a:lnTo>
                  <a:lnTo>
                    <a:pt x="393665" y="96803"/>
                  </a:lnTo>
                  <a:lnTo>
                    <a:pt x="354944" y="329130"/>
                  </a:lnTo>
                  <a:close/>
                  <a:moveTo>
                    <a:pt x="122617" y="96803"/>
                  </a:moveTo>
                  <a:lnTo>
                    <a:pt x="354944" y="316223"/>
                  </a:lnTo>
                  <a:lnTo>
                    <a:pt x="393665" y="109710"/>
                  </a:lnTo>
                  <a:lnTo>
                    <a:pt x="122617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3" name="Freeform: Shape 2772">
              <a:extLst>
                <a:ext uri="{FF2B5EF4-FFF2-40B4-BE49-F238E27FC236}">
                  <a16:creationId xmlns:a16="http://schemas.microsoft.com/office/drawing/2014/main" id="{5E471414-CB82-4C31-BB63-86A4E35AD641}"/>
                </a:ext>
              </a:extLst>
            </p:cNvPr>
            <p:cNvSpPr/>
            <p:nvPr/>
          </p:nvSpPr>
          <p:spPr>
            <a:xfrm>
              <a:off x="3965169" y="1911425"/>
              <a:ext cx="516283" cy="516283"/>
            </a:xfrm>
            <a:custGeom>
              <a:avLst/>
              <a:gdLst>
                <a:gd name="connsiteX0" fmla="*/ 96803 w 516282"/>
                <a:gd name="connsiteY0" fmla="*/ 484015 h 516282"/>
                <a:gd name="connsiteX1" fmla="*/ 251688 w 516282"/>
                <a:gd name="connsiteY1" fmla="*/ 96803 h 516282"/>
                <a:gd name="connsiteX2" fmla="*/ 445294 w 516282"/>
                <a:gd name="connsiteY2" fmla="*/ 316223 h 516282"/>
                <a:gd name="connsiteX3" fmla="*/ 96803 w 516282"/>
                <a:gd name="connsiteY3" fmla="*/ 484015 h 516282"/>
                <a:gd name="connsiteX4" fmla="*/ 251688 w 516282"/>
                <a:gd name="connsiteY4" fmla="*/ 109710 h 516282"/>
                <a:gd name="connsiteX5" fmla="*/ 109710 w 516282"/>
                <a:gd name="connsiteY5" fmla="*/ 471108 h 516282"/>
                <a:gd name="connsiteX6" fmla="*/ 432387 w 516282"/>
                <a:gd name="connsiteY6" fmla="*/ 316223 h 516282"/>
                <a:gd name="connsiteX7" fmla="*/ 251688 w 516282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96803" y="484015"/>
                  </a:moveTo>
                  <a:lnTo>
                    <a:pt x="251688" y="96803"/>
                  </a:lnTo>
                  <a:lnTo>
                    <a:pt x="445294" y="316223"/>
                  </a:lnTo>
                  <a:lnTo>
                    <a:pt x="96803" y="484015"/>
                  </a:lnTo>
                  <a:close/>
                  <a:moveTo>
                    <a:pt x="251688" y="109710"/>
                  </a:moveTo>
                  <a:lnTo>
                    <a:pt x="109710" y="471108"/>
                  </a:lnTo>
                  <a:lnTo>
                    <a:pt x="432387" y="316223"/>
                  </a:lnTo>
                  <a:lnTo>
                    <a:pt x="25168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4" name="Freeform: Shape 2773">
              <a:extLst>
                <a:ext uri="{FF2B5EF4-FFF2-40B4-BE49-F238E27FC236}">
                  <a16:creationId xmlns:a16="http://schemas.microsoft.com/office/drawing/2014/main" id="{CAB6C3CA-CD4C-4A44-93C7-E55AE73240F4}"/>
                </a:ext>
              </a:extLst>
            </p:cNvPr>
            <p:cNvSpPr/>
            <p:nvPr/>
          </p:nvSpPr>
          <p:spPr>
            <a:xfrm>
              <a:off x="4107146" y="1692005"/>
              <a:ext cx="387212" cy="387212"/>
            </a:xfrm>
            <a:custGeom>
              <a:avLst/>
              <a:gdLst>
                <a:gd name="connsiteX0" fmla="*/ 367851 w 387211"/>
                <a:gd name="connsiteY0" fmla="*/ 367851 h 387211"/>
                <a:gd name="connsiteX1" fmla="*/ 96803 w 387211"/>
                <a:gd name="connsiteY1" fmla="*/ 329130 h 387211"/>
                <a:gd name="connsiteX2" fmla="*/ 148431 w 387211"/>
                <a:gd name="connsiteY2" fmla="*/ 96803 h 387211"/>
                <a:gd name="connsiteX3" fmla="*/ 367851 w 387211"/>
                <a:gd name="connsiteY3" fmla="*/ 367851 h 387211"/>
                <a:gd name="connsiteX4" fmla="*/ 109710 w 387211"/>
                <a:gd name="connsiteY4" fmla="*/ 316223 h 387211"/>
                <a:gd name="connsiteX5" fmla="*/ 354944 w 387211"/>
                <a:gd name="connsiteY5" fmla="*/ 354944 h 387211"/>
                <a:gd name="connsiteX6" fmla="*/ 148431 w 387211"/>
                <a:gd name="connsiteY6" fmla="*/ 109710 h 387211"/>
                <a:gd name="connsiteX7" fmla="*/ 109710 w 387211"/>
                <a:gd name="connsiteY7" fmla="*/ 31622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67851" y="367851"/>
                  </a:moveTo>
                  <a:lnTo>
                    <a:pt x="96803" y="329130"/>
                  </a:lnTo>
                  <a:lnTo>
                    <a:pt x="148431" y="96803"/>
                  </a:lnTo>
                  <a:lnTo>
                    <a:pt x="367851" y="367851"/>
                  </a:lnTo>
                  <a:close/>
                  <a:moveTo>
                    <a:pt x="109710" y="316223"/>
                  </a:moveTo>
                  <a:lnTo>
                    <a:pt x="354944" y="354944"/>
                  </a:lnTo>
                  <a:lnTo>
                    <a:pt x="148431" y="109710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5" name="Freeform: Shape 2774">
              <a:extLst>
                <a:ext uri="{FF2B5EF4-FFF2-40B4-BE49-F238E27FC236}">
                  <a16:creationId xmlns:a16="http://schemas.microsoft.com/office/drawing/2014/main" id="{C7299D98-84C8-483D-83FC-2E6F87A7FCEC}"/>
                </a:ext>
              </a:extLst>
            </p:cNvPr>
            <p:cNvSpPr/>
            <p:nvPr/>
          </p:nvSpPr>
          <p:spPr>
            <a:xfrm>
              <a:off x="4120053" y="1911425"/>
              <a:ext cx="387212" cy="387212"/>
            </a:xfrm>
            <a:custGeom>
              <a:avLst/>
              <a:gdLst>
                <a:gd name="connsiteX0" fmla="*/ 290409 w 387211"/>
                <a:gd name="connsiteY0" fmla="*/ 329130 h 387211"/>
                <a:gd name="connsiteX1" fmla="*/ 96803 w 387211"/>
                <a:gd name="connsiteY1" fmla="*/ 96803 h 387211"/>
                <a:gd name="connsiteX2" fmla="*/ 367851 w 387211"/>
                <a:gd name="connsiteY2" fmla="*/ 135524 h 387211"/>
                <a:gd name="connsiteX3" fmla="*/ 290409 w 387211"/>
                <a:gd name="connsiteY3" fmla="*/ 329130 h 387211"/>
                <a:gd name="connsiteX4" fmla="*/ 109710 w 387211"/>
                <a:gd name="connsiteY4" fmla="*/ 109710 h 387211"/>
                <a:gd name="connsiteX5" fmla="*/ 290409 w 387211"/>
                <a:gd name="connsiteY5" fmla="*/ 316223 h 387211"/>
                <a:gd name="connsiteX6" fmla="*/ 354944 w 387211"/>
                <a:gd name="connsiteY6" fmla="*/ 148431 h 387211"/>
                <a:gd name="connsiteX7" fmla="*/ 109710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90409" y="329130"/>
                  </a:moveTo>
                  <a:lnTo>
                    <a:pt x="96803" y="96803"/>
                  </a:lnTo>
                  <a:lnTo>
                    <a:pt x="367851" y="135524"/>
                  </a:lnTo>
                  <a:lnTo>
                    <a:pt x="290409" y="329130"/>
                  </a:lnTo>
                  <a:close/>
                  <a:moveTo>
                    <a:pt x="109710" y="109710"/>
                  </a:moveTo>
                  <a:lnTo>
                    <a:pt x="290409" y="316223"/>
                  </a:lnTo>
                  <a:lnTo>
                    <a:pt x="354944" y="148431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6" name="Freeform: Shape 2775">
              <a:extLst>
                <a:ext uri="{FF2B5EF4-FFF2-40B4-BE49-F238E27FC236}">
                  <a16:creationId xmlns:a16="http://schemas.microsoft.com/office/drawing/2014/main" id="{1BA14CB6-C74B-4DD6-B97E-4E049EB0A951}"/>
                </a:ext>
              </a:extLst>
            </p:cNvPr>
            <p:cNvSpPr/>
            <p:nvPr/>
          </p:nvSpPr>
          <p:spPr>
            <a:xfrm>
              <a:off x="3707027" y="1330607"/>
              <a:ext cx="387212" cy="387212"/>
            </a:xfrm>
            <a:custGeom>
              <a:avLst/>
              <a:gdLst>
                <a:gd name="connsiteX0" fmla="*/ 161338 w 387211"/>
                <a:gd name="connsiteY0" fmla="*/ 406573 h 387211"/>
                <a:gd name="connsiteX1" fmla="*/ 96803 w 387211"/>
                <a:gd name="connsiteY1" fmla="*/ 96803 h 387211"/>
                <a:gd name="connsiteX2" fmla="*/ 354944 w 387211"/>
                <a:gd name="connsiteY2" fmla="*/ 200059 h 387211"/>
                <a:gd name="connsiteX3" fmla="*/ 161338 w 387211"/>
                <a:gd name="connsiteY3" fmla="*/ 406573 h 387211"/>
                <a:gd name="connsiteX4" fmla="*/ 109710 w 387211"/>
                <a:gd name="connsiteY4" fmla="*/ 109710 h 387211"/>
                <a:gd name="connsiteX5" fmla="*/ 161338 w 387211"/>
                <a:gd name="connsiteY5" fmla="*/ 393665 h 387211"/>
                <a:gd name="connsiteX6" fmla="*/ 354944 w 387211"/>
                <a:gd name="connsiteY6" fmla="*/ 200059 h 387211"/>
                <a:gd name="connsiteX7" fmla="*/ 109710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61338" y="406573"/>
                  </a:moveTo>
                  <a:lnTo>
                    <a:pt x="96803" y="96803"/>
                  </a:lnTo>
                  <a:lnTo>
                    <a:pt x="354944" y="200059"/>
                  </a:lnTo>
                  <a:lnTo>
                    <a:pt x="161338" y="406573"/>
                  </a:lnTo>
                  <a:close/>
                  <a:moveTo>
                    <a:pt x="109710" y="109710"/>
                  </a:moveTo>
                  <a:lnTo>
                    <a:pt x="161338" y="393665"/>
                  </a:lnTo>
                  <a:lnTo>
                    <a:pt x="354944" y="200059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7" name="Freeform: Shape 2776">
              <a:extLst>
                <a:ext uri="{FF2B5EF4-FFF2-40B4-BE49-F238E27FC236}">
                  <a16:creationId xmlns:a16="http://schemas.microsoft.com/office/drawing/2014/main" id="{4CF03820-946D-4CE8-96D2-AB91234A9A66}"/>
                </a:ext>
              </a:extLst>
            </p:cNvPr>
            <p:cNvSpPr/>
            <p:nvPr/>
          </p:nvSpPr>
          <p:spPr>
            <a:xfrm>
              <a:off x="3707027" y="1240258"/>
              <a:ext cx="387212" cy="387212"/>
            </a:xfrm>
            <a:custGeom>
              <a:avLst/>
              <a:gdLst>
                <a:gd name="connsiteX0" fmla="*/ 367851 w 387211"/>
                <a:gd name="connsiteY0" fmla="*/ 303316 h 387211"/>
                <a:gd name="connsiteX1" fmla="*/ 96803 w 387211"/>
                <a:gd name="connsiteY1" fmla="*/ 200059 h 387211"/>
                <a:gd name="connsiteX2" fmla="*/ 277502 w 387211"/>
                <a:gd name="connsiteY2" fmla="*/ 96803 h 387211"/>
                <a:gd name="connsiteX3" fmla="*/ 367851 w 387211"/>
                <a:gd name="connsiteY3" fmla="*/ 303316 h 387211"/>
                <a:gd name="connsiteX4" fmla="*/ 109710 w 387211"/>
                <a:gd name="connsiteY4" fmla="*/ 200059 h 387211"/>
                <a:gd name="connsiteX5" fmla="*/ 354944 w 387211"/>
                <a:gd name="connsiteY5" fmla="*/ 290409 h 387211"/>
                <a:gd name="connsiteX6" fmla="*/ 277502 w 387211"/>
                <a:gd name="connsiteY6" fmla="*/ 109710 h 387211"/>
                <a:gd name="connsiteX7" fmla="*/ 109710 w 387211"/>
                <a:gd name="connsiteY7" fmla="*/ 20005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67851" y="303316"/>
                  </a:moveTo>
                  <a:lnTo>
                    <a:pt x="96803" y="200059"/>
                  </a:lnTo>
                  <a:lnTo>
                    <a:pt x="277502" y="96803"/>
                  </a:lnTo>
                  <a:lnTo>
                    <a:pt x="367851" y="303316"/>
                  </a:lnTo>
                  <a:close/>
                  <a:moveTo>
                    <a:pt x="109710" y="200059"/>
                  </a:moveTo>
                  <a:lnTo>
                    <a:pt x="354944" y="290409"/>
                  </a:lnTo>
                  <a:lnTo>
                    <a:pt x="277502" y="109710"/>
                  </a:lnTo>
                  <a:lnTo>
                    <a:pt x="109710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8" name="Freeform: Shape 2777">
              <a:extLst>
                <a:ext uri="{FF2B5EF4-FFF2-40B4-BE49-F238E27FC236}">
                  <a16:creationId xmlns:a16="http://schemas.microsoft.com/office/drawing/2014/main" id="{5CDC450C-0BA9-4AB1-9EA4-76380723CC20}"/>
                </a:ext>
              </a:extLst>
            </p:cNvPr>
            <p:cNvSpPr/>
            <p:nvPr/>
          </p:nvSpPr>
          <p:spPr>
            <a:xfrm>
              <a:off x="3771563" y="1420957"/>
              <a:ext cx="387212" cy="387212"/>
            </a:xfrm>
            <a:custGeom>
              <a:avLst/>
              <a:gdLst>
                <a:gd name="connsiteX0" fmla="*/ 200059 w 387211"/>
                <a:gd name="connsiteY0" fmla="*/ 367851 h 387211"/>
                <a:gd name="connsiteX1" fmla="*/ 96803 w 387211"/>
                <a:gd name="connsiteY1" fmla="*/ 316223 h 387211"/>
                <a:gd name="connsiteX2" fmla="*/ 303316 w 387211"/>
                <a:gd name="connsiteY2" fmla="*/ 96803 h 387211"/>
                <a:gd name="connsiteX3" fmla="*/ 200059 w 387211"/>
                <a:gd name="connsiteY3" fmla="*/ 367851 h 387211"/>
                <a:gd name="connsiteX4" fmla="*/ 96803 w 387211"/>
                <a:gd name="connsiteY4" fmla="*/ 316223 h 387211"/>
                <a:gd name="connsiteX5" fmla="*/ 200059 w 387211"/>
                <a:gd name="connsiteY5" fmla="*/ 367851 h 387211"/>
                <a:gd name="connsiteX6" fmla="*/ 290409 w 387211"/>
                <a:gd name="connsiteY6" fmla="*/ 135524 h 387211"/>
                <a:gd name="connsiteX7" fmla="*/ 96803 w 387211"/>
                <a:gd name="connsiteY7" fmla="*/ 31622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00059" y="367851"/>
                  </a:moveTo>
                  <a:lnTo>
                    <a:pt x="96803" y="316223"/>
                  </a:lnTo>
                  <a:lnTo>
                    <a:pt x="303316" y="96803"/>
                  </a:lnTo>
                  <a:lnTo>
                    <a:pt x="200059" y="367851"/>
                  </a:lnTo>
                  <a:close/>
                  <a:moveTo>
                    <a:pt x="96803" y="316223"/>
                  </a:moveTo>
                  <a:lnTo>
                    <a:pt x="200059" y="367851"/>
                  </a:lnTo>
                  <a:lnTo>
                    <a:pt x="290409" y="135524"/>
                  </a:lnTo>
                  <a:lnTo>
                    <a:pt x="96803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79" name="Freeform: Shape 2778">
              <a:extLst>
                <a:ext uri="{FF2B5EF4-FFF2-40B4-BE49-F238E27FC236}">
                  <a16:creationId xmlns:a16="http://schemas.microsoft.com/office/drawing/2014/main" id="{9348F494-E34D-4436-9EA9-5DA14EB7464A}"/>
                </a:ext>
              </a:extLst>
            </p:cNvPr>
            <p:cNvSpPr/>
            <p:nvPr/>
          </p:nvSpPr>
          <p:spPr>
            <a:xfrm>
              <a:off x="3887726" y="1201537"/>
              <a:ext cx="516283" cy="387212"/>
            </a:xfrm>
            <a:custGeom>
              <a:avLst/>
              <a:gdLst>
                <a:gd name="connsiteX0" fmla="*/ 174245 w 516282"/>
                <a:gd name="connsiteY0" fmla="*/ 342037 h 387211"/>
                <a:gd name="connsiteX1" fmla="*/ 96803 w 516282"/>
                <a:gd name="connsiteY1" fmla="*/ 135524 h 387211"/>
                <a:gd name="connsiteX2" fmla="*/ 509829 w 516282"/>
                <a:gd name="connsiteY2" fmla="*/ 96803 h 387211"/>
                <a:gd name="connsiteX3" fmla="*/ 174245 w 516282"/>
                <a:gd name="connsiteY3" fmla="*/ 342037 h 387211"/>
                <a:gd name="connsiteX4" fmla="*/ 109710 w 516282"/>
                <a:gd name="connsiteY4" fmla="*/ 135524 h 387211"/>
                <a:gd name="connsiteX5" fmla="*/ 187153 w 516282"/>
                <a:gd name="connsiteY5" fmla="*/ 329130 h 387211"/>
                <a:gd name="connsiteX6" fmla="*/ 484015 w 516282"/>
                <a:gd name="connsiteY6" fmla="*/ 96803 h 387211"/>
                <a:gd name="connsiteX7" fmla="*/ 109710 w 516282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174245" y="342037"/>
                  </a:moveTo>
                  <a:lnTo>
                    <a:pt x="96803" y="135524"/>
                  </a:lnTo>
                  <a:lnTo>
                    <a:pt x="509829" y="96803"/>
                  </a:lnTo>
                  <a:lnTo>
                    <a:pt x="174245" y="342037"/>
                  </a:lnTo>
                  <a:close/>
                  <a:moveTo>
                    <a:pt x="109710" y="135524"/>
                  </a:moveTo>
                  <a:lnTo>
                    <a:pt x="187153" y="329130"/>
                  </a:lnTo>
                  <a:lnTo>
                    <a:pt x="484015" y="96803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0" name="Freeform: Shape 2779">
              <a:extLst>
                <a:ext uri="{FF2B5EF4-FFF2-40B4-BE49-F238E27FC236}">
                  <a16:creationId xmlns:a16="http://schemas.microsoft.com/office/drawing/2014/main" id="{14C27AEB-99B2-48EB-8C65-90AEFB043BB1}"/>
                </a:ext>
              </a:extLst>
            </p:cNvPr>
            <p:cNvSpPr/>
            <p:nvPr/>
          </p:nvSpPr>
          <p:spPr>
            <a:xfrm>
              <a:off x="3874819" y="1433864"/>
              <a:ext cx="258141" cy="387212"/>
            </a:xfrm>
            <a:custGeom>
              <a:avLst/>
              <a:gdLst>
                <a:gd name="connsiteX0" fmla="*/ 96803 w 258141"/>
                <a:gd name="connsiteY0" fmla="*/ 367851 h 387211"/>
                <a:gd name="connsiteX1" fmla="*/ 187153 w 258141"/>
                <a:gd name="connsiteY1" fmla="*/ 96803 h 387211"/>
                <a:gd name="connsiteX2" fmla="*/ 277502 w 258141"/>
                <a:gd name="connsiteY2" fmla="*/ 200059 h 387211"/>
                <a:gd name="connsiteX3" fmla="*/ 96803 w 258141"/>
                <a:gd name="connsiteY3" fmla="*/ 367851 h 387211"/>
                <a:gd name="connsiteX4" fmla="*/ 187153 w 258141"/>
                <a:gd name="connsiteY4" fmla="*/ 109710 h 387211"/>
                <a:gd name="connsiteX5" fmla="*/ 96803 w 258141"/>
                <a:gd name="connsiteY5" fmla="*/ 342037 h 387211"/>
                <a:gd name="connsiteX6" fmla="*/ 264595 w 258141"/>
                <a:gd name="connsiteY6" fmla="*/ 200059 h 387211"/>
                <a:gd name="connsiteX7" fmla="*/ 187153 w 25814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67851"/>
                  </a:moveTo>
                  <a:lnTo>
                    <a:pt x="187153" y="96803"/>
                  </a:lnTo>
                  <a:lnTo>
                    <a:pt x="277502" y="200059"/>
                  </a:lnTo>
                  <a:lnTo>
                    <a:pt x="96803" y="367851"/>
                  </a:lnTo>
                  <a:close/>
                  <a:moveTo>
                    <a:pt x="187153" y="109710"/>
                  </a:moveTo>
                  <a:lnTo>
                    <a:pt x="96803" y="342037"/>
                  </a:lnTo>
                  <a:lnTo>
                    <a:pt x="264595" y="200059"/>
                  </a:lnTo>
                  <a:lnTo>
                    <a:pt x="18715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1" name="Freeform: Shape 2780">
              <a:extLst>
                <a:ext uri="{FF2B5EF4-FFF2-40B4-BE49-F238E27FC236}">
                  <a16:creationId xmlns:a16="http://schemas.microsoft.com/office/drawing/2014/main" id="{0489CAB9-32DF-4BAB-AD10-FD6EC9444AF7}"/>
                </a:ext>
              </a:extLst>
            </p:cNvPr>
            <p:cNvSpPr/>
            <p:nvPr/>
          </p:nvSpPr>
          <p:spPr>
            <a:xfrm>
              <a:off x="3861912" y="1524213"/>
              <a:ext cx="387212" cy="258141"/>
            </a:xfrm>
            <a:custGeom>
              <a:avLst/>
              <a:gdLst>
                <a:gd name="connsiteX0" fmla="*/ 393665 w 387211"/>
                <a:gd name="connsiteY0" fmla="*/ 277502 h 258141"/>
                <a:gd name="connsiteX1" fmla="*/ 96803 w 387211"/>
                <a:gd name="connsiteY1" fmla="*/ 264595 h 258141"/>
                <a:gd name="connsiteX2" fmla="*/ 290409 w 387211"/>
                <a:gd name="connsiteY2" fmla="*/ 96803 h 258141"/>
                <a:gd name="connsiteX3" fmla="*/ 393665 w 387211"/>
                <a:gd name="connsiteY3" fmla="*/ 277502 h 258141"/>
                <a:gd name="connsiteX4" fmla="*/ 122617 w 387211"/>
                <a:gd name="connsiteY4" fmla="*/ 264595 h 258141"/>
                <a:gd name="connsiteX5" fmla="*/ 380758 w 387211"/>
                <a:gd name="connsiteY5" fmla="*/ 277502 h 258141"/>
                <a:gd name="connsiteX6" fmla="*/ 290409 w 387211"/>
                <a:gd name="connsiteY6" fmla="*/ 122617 h 258141"/>
                <a:gd name="connsiteX7" fmla="*/ 122617 w 387211"/>
                <a:gd name="connsiteY7" fmla="*/ 26459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93665" y="277502"/>
                  </a:moveTo>
                  <a:lnTo>
                    <a:pt x="96803" y="264595"/>
                  </a:lnTo>
                  <a:lnTo>
                    <a:pt x="290409" y="96803"/>
                  </a:lnTo>
                  <a:lnTo>
                    <a:pt x="393665" y="277502"/>
                  </a:lnTo>
                  <a:close/>
                  <a:moveTo>
                    <a:pt x="122617" y="264595"/>
                  </a:moveTo>
                  <a:lnTo>
                    <a:pt x="380758" y="277502"/>
                  </a:lnTo>
                  <a:lnTo>
                    <a:pt x="290409" y="122617"/>
                  </a:lnTo>
                  <a:lnTo>
                    <a:pt x="122617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2" name="Freeform: Shape 2781">
              <a:extLst>
                <a:ext uri="{FF2B5EF4-FFF2-40B4-BE49-F238E27FC236}">
                  <a16:creationId xmlns:a16="http://schemas.microsoft.com/office/drawing/2014/main" id="{A5D2F302-F454-4676-A44A-B1A7FB924A32}"/>
                </a:ext>
              </a:extLst>
            </p:cNvPr>
            <p:cNvSpPr/>
            <p:nvPr/>
          </p:nvSpPr>
          <p:spPr>
            <a:xfrm>
              <a:off x="3965169" y="1188630"/>
              <a:ext cx="516283" cy="516283"/>
            </a:xfrm>
            <a:custGeom>
              <a:avLst/>
              <a:gdLst>
                <a:gd name="connsiteX0" fmla="*/ 187153 w 516282"/>
                <a:gd name="connsiteY0" fmla="*/ 445294 h 516282"/>
                <a:gd name="connsiteX1" fmla="*/ 96803 w 516282"/>
                <a:gd name="connsiteY1" fmla="*/ 342037 h 516282"/>
                <a:gd name="connsiteX2" fmla="*/ 432387 w 516282"/>
                <a:gd name="connsiteY2" fmla="*/ 96803 h 516282"/>
                <a:gd name="connsiteX3" fmla="*/ 187153 w 516282"/>
                <a:gd name="connsiteY3" fmla="*/ 445294 h 516282"/>
                <a:gd name="connsiteX4" fmla="*/ 109710 w 516282"/>
                <a:gd name="connsiteY4" fmla="*/ 342037 h 516282"/>
                <a:gd name="connsiteX5" fmla="*/ 200059 w 516282"/>
                <a:gd name="connsiteY5" fmla="*/ 432387 h 516282"/>
                <a:gd name="connsiteX6" fmla="*/ 419480 w 516282"/>
                <a:gd name="connsiteY6" fmla="*/ 109710 h 516282"/>
                <a:gd name="connsiteX7" fmla="*/ 109710 w 516282"/>
                <a:gd name="connsiteY7" fmla="*/ 34203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187153" y="445294"/>
                  </a:moveTo>
                  <a:lnTo>
                    <a:pt x="96803" y="342037"/>
                  </a:lnTo>
                  <a:lnTo>
                    <a:pt x="432387" y="96803"/>
                  </a:lnTo>
                  <a:lnTo>
                    <a:pt x="187153" y="445294"/>
                  </a:lnTo>
                  <a:close/>
                  <a:moveTo>
                    <a:pt x="109710" y="342037"/>
                  </a:moveTo>
                  <a:lnTo>
                    <a:pt x="200059" y="432387"/>
                  </a:lnTo>
                  <a:lnTo>
                    <a:pt x="419480" y="109710"/>
                  </a:lnTo>
                  <a:lnTo>
                    <a:pt x="109710" y="3420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3" name="Freeform: Shape 2782">
              <a:extLst>
                <a:ext uri="{FF2B5EF4-FFF2-40B4-BE49-F238E27FC236}">
                  <a16:creationId xmlns:a16="http://schemas.microsoft.com/office/drawing/2014/main" id="{42803304-A597-4CE2-9DE4-C5886F90479A}"/>
                </a:ext>
              </a:extLst>
            </p:cNvPr>
            <p:cNvSpPr/>
            <p:nvPr/>
          </p:nvSpPr>
          <p:spPr>
            <a:xfrm>
              <a:off x="4055518" y="1537120"/>
              <a:ext cx="516283" cy="258141"/>
            </a:xfrm>
            <a:custGeom>
              <a:avLst/>
              <a:gdLst>
                <a:gd name="connsiteX0" fmla="*/ 200059 w 516282"/>
                <a:gd name="connsiteY0" fmla="*/ 264595 h 258141"/>
                <a:gd name="connsiteX1" fmla="*/ 96803 w 516282"/>
                <a:gd name="connsiteY1" fmla="*/ 96803 h 258141"/>
                <a:gd name="connsiteX2" fmla="*/ 458201 w 516282"/>
                <a:gd name="connsiteY2" fmla="*/ 238781 h 258141"/>
                <a:gd name="connsiteX3" fmla="*/ 200059 w 516282"/>
                <a:gd name="connsiteY3" fmla="*/ 264595 h 258141"/>
                <a:gd name="connsiteX4" fmla="*/ 109710 w 516282"/>
                <a:gd name="connsiteY4" fmla="*/ 96803 h 258141"/>
                <a:gd name="connsiteX5" fmla="*/ 200059 w 516282"/>
                <a:gd name="connsiteY5" fmla="*/ 251688 h 258141"/>
                <a:gd name="connsiteX6" fmla="*/ 432386 w 516282"/>
                <a:gd name="connsiteY6" fmla="*/ 238781 h 258141"/>
                <a:gd name="connsiteX7" fmla="*/ 109710 w 516282"/>
                <a:gd name="connsiteY7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200059" y="264595"/>
                  </a:moveTo>
                  <a:lnTo>
                    <a:pt x="96803" y="96803"/>
                  </a:lnTo>
                  <a:lnTo>
                    <a:pt x="458201" y="238781"/>
                  </a:lnTo>
                  <a:lnTo>
                    <a:pt x="200059" y="264595"/>
                  </a:lnTo>
                  <a:close/>
                  <a:moveTo>
                    <a:pt x="109710" y="96803"/>
                  </a:moveTo>
                  <a:lnTo>
                    <a:pt x="200059" y="251688"/>
                  </a:lnTo>
                  <a:lnTo>
                    <a:pt x="432386" y="238781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4" name="Freeform: Shape 2783">
              <a:extLst>
                <a:ext uri="{FF2B5EF4-FFF2-40B4-BE49-F238E27FC236}">
                  <a16:creationId xmlns:a16="http://schemas.microsoft.com/office/drawing/2014/main" id="{3757E319-FA2C-42A7-A722-3AC173C0A674}"/>
                </a:ext>
              </a:extLst>
            </p:cNvPr>
            <p:cNvSpPr/>
            <p:nvPr/>
          </p:nvSpPr>
          <p:spPr>
            <a:xfrm>
              <a:off x="4055518" y="1188630"/>
              <a:ext cx="645353" cy="516283"/>
            </a:xfrm>
            <a:custGeom>
              <a:avLst/>
              <a:gdLst>
                <a:gd name="connsiteX0" fmla="*/ 96803 w 645353"/>
                <a:gd name="connsiteY0" fmla="*/ 445294 h 516282"/>
                <a:gd name="connsiteX1" fmla="*/ 329130 w 645353"/>
                <a:gd name="connsiteY1" fmla="*/ 96803 h 516282"/>
                <a:gd name="connsiteX2" fmla="*/ 574365 w 645353"/>
                <a:gd name="connsiteY2" fmla="*/ 367851 h 516282"/>
                <a:gd name="connsiteX3" fmla="*/ 96803 w 645353"/>
                <a:gd name="connsiteY3" fmla="*/ 445294 h 516282"/>
                <a:gd name="connsiteX4" fmla="*/ 329130 w 645353"/>
                <a:gd name="connsiteY4" fmla="*/ 109710 h 516282"/>
                <a:gd name="connsiteX5" fmla="*/ 109710 w 645353"/>
                <a:gd name="connsiteY5" fmla="*/ 445294 h 516282"/>
                <a:gd name="connsiteX6" fmla="*/ 561457 w 645353"/>
                <a:gd name="connsiteY6" fmla="*/ 367851 h 516282"/>
                <a:gd name="connsiteX7" fmla="*/ 329130 w 645353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96803" y="445294"/>
                  </a:moveTo>
                  <a:lnTo>
                    <a:pt x="329130" y="96803"/>
                  </a:lnTo>
                  <a:lnTo>
                    <a:pt x="574365" y="367851"/>
                  </a:lnTo>
                  <a:lnTo>
                    <a:pt x="96803" y="445294"/>
                  </a:lnTo>
                  <a:close/>
                  <a:moveTo>
                    <a:pt x="329130" y="109710"/>
                  </a:moveTo>
                  <a:lnTo>
                    <a:pt x="109710" y="445294"/>
                  </a:lnTo>
                  <a:lnTo>
                    <a:pt x="561457" y="367851"/>
                  </a:lnTo>
                  <a:lnTo>
                    <a:pt x="32913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5" name="Freeform: Shape 2784">
              <a:extLst>
                <a:ext uri="{FF2B5EF4-FFF2-40B4-BE49-F238E27FC236}">
                  <a16:creationId xmlns:a16="http://schemas.microsoft.com/office/drawing/2014/main" id="{670B93B4-25F2-42C1-9751-DEC1FD0EFE83}"/>
                </a:ext>
              </a:extLst>
            </p:cNvPr>
            <p:cNvSpPr/>
            <p:nvPr/>
          </p:nvSpPr>
          <p:spPr>
            <a:xfrm>
              <a:off x="4042611" y="1459678"/>
              <a:ext cx="645353" cy="387212"/>
            </a:xfrm>
            <a:custGeom>
              <a:avLst/>
              <a:gdLst>
                <a:gd name="connsiteX0" fmla="*/ 458201 w 645353"/>
                <a:gd name="connsiteY0" fmla="*/ 316223 h 387211"/>
                <a:gd name="connsiteX1" fmla="*/ 96803 w 645353"/>
                <a:gd name="connsiteY1" fmla="*/ 161338 h 387211"/>
                <a:gd name="connsiteX2" fmla="*/ 587272 w 645353"/>
                <a:gd name="connsiteY2" fmla="*/ 96803 h 387211"/>
                <a:gd name="connsiteX3" fmla="*/ 458201 w 645353"/>
                <a:gd name="connsiteY3" fmla="*/ 316223 h 387211"/>
                <a:gd name="connsiteX4" fmla="*/ 122617 w 645353"/>
                <a:gd name="connsiteY4" fmla="*/ 174245 h 387211"/>
                <a:gd name="connsiteX5" fmla="*/ 458201 w 645353"/>
                <a:gd name="connsiteY5" fmla="*/ 316223 h 387211"/>
                <a:gd name="connsiteX6" fmla="*/ 574364 w 645353"/>
                <a:gd name="connsiteY6" fmla="*/ 109710 h 387211"/>
                <a:gd name="connsiteX7" fmla="*/ 122617 w 645353"/>
                <a:gd name="connsiteY7" fmla="*/ 17424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458201" y="316223"/>
                  </a:moveTo>
                  <a:lnTo>
                    <a:pt x="96803" y="161338"/>
                  </a:lnTo>
                  <a:lnTo>
                    <a:pt x="587272" y="96803"/>
                  </a:lnTo>
                  <a:lnTo>
                    <a:pt x="458201" y="316223"/>
                  </a:lnTo>
                  <a:close/>
                  <a:moveTo>
                    <a:pt x="122617" y="174245"/>
                  </a:moveTo>
                  <a:lnTo>
                    <a:pt x="458201" y="316223"/>
                  </a:lnTo>
                  <a:lnTo>
                    <a:pt x="574364" y="109710"/>
                  </a:lnTo>
                  <a:lnTo>
                    <a:pt x="122617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6" name="Freeform: Shape 2785">
              <a:extLst>
                <a:ext uri="{FF2B5EF4-FFF2-40B4-BE49-F238E27FC236}">
                  <a16:creationId xmlns:a16="http://schemas.microsoft.com/office/drawing/2014/main" id="{95A23C3B-150D-4C48-8D60-61777FEBFBBE}"/>
                </a:ext>
              </a:extLst>
            </p:cNvPr>
            <p:cNvSpPr/>
            <p:nvPr/>
          </p:nvSpPr>
          <p:spPr>
            <a:xfrm>
              <a:off x="415726" y="2582592"/>
              <a:ext cx="645353" cy="387212"/>
            </a:xfrm>
            <a:custGeom>
              <a:avLst/>
              <a:gdLst>
                <a:gd name="connsiteX0" fmla="*/ 96803 w 645353"/>
                <a:gd name="connsiteY0" fmla="*/ 406573 h 387211"/>
                <a:gd name="connsiteX1" fmla="*/ 96803 w 645353"/>
                <a:gd name="connsiteY1" fmla="*/ 406573 h 387211"/>
                <a:gd name="connsiteX2" fmla="*/ 496922 w 645353"/>
                <a:gd name="connsiteY2" fmla="*/ 96803 h 387211"/>
                <a:gd name="connsiteX3" fmla="*/ 638900 w 645353"/>
                <a:gd name="connsiteY3" fmla="*/ 135524 h 387211"/>
                <a:gd name="connsiteX4" fmla="*/ 96803 w 645353"/>
                <a:gd name="connsiteY4" fmla="*/ 406573 h 387211"/>
                <a:gd name="connsiteX5" fmla="*/ 496922 w 645353"/>
                <a:gd name="connsiteY5" fmla="*/ 109710 h 387211"/>
                <a:gd name="connsiteX6" fmla="*/ 122617 w 645353"/>
                <a:gd name="connsiteY6" fmla="*/ 393665 h 387211"/>
                <a:gd name="connsiteX7" fmla="*/ 625993 w 645353"/>
                <a:gd name="connsiteY7" fmla="*/ 148431 h 387211"/>
                <a:gd name="connsiteX8" fmla="*/ 496922 w 645353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96803" y="406573"/>
                  </a:moveTo>
                  <a:lnTo>
                    <a:pt x="96803" y="406573"/>
                  </a:lnTo>
                  <a:lnTo>
                    <a:pt x="496922" y="96803"/>
                  </a:lnTo>
                  <a:lnTo>
                    <a:pt x="638900" y="135524"/>
                  </a:lnTo>
                  <a:lnTo>
                    <a:pt x="96803" y="406573"/>
                  </a:lnTo>
                  <a:close/>
                  <a:moveTo>
                    <a:pt x="496922" y="109710"/>
                  </a:moveTo>
                  <a:lnTo>
                    <a:pt x="122617" y="393665"/>
                  </a:lnTo>
                  <a:lnTo>
                    <a:pt x="625993" y="148431"/>
                  </a:lnTo>
                  <a:lnTo>
                    <a:pt x="496922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7" name="Freeform: Shape 2786">
              <a:extLst>
                <a:ext uri="{FF2B5EF4-FFF2-40B4-BE49-F238E27FC236}">
                  <a16:creationId xmlns:a16="http://schemas.microsoft.com/office/drawing/2014/main" id="{5D0D7B40-1EAF-4A92-85BD-218ED1AD237E}"/>
                </a:ext>
              </a:extLst>
            </p:cNvPr>
            <p:cNvSpPr/>
            <p:nvPr/>
          </p:nvSpPr>
          <p:spPr>
            <a:xfrm>
              <a:off x="5152619" y="5357611"/>
              <a:ext cx="387212" cy="258141"/>
            </a:xfrm>
            <a:custGeom>
              <a:avLst/>
              <a:gdLst>
                <a:gd name="connsiteX0" fmla="*/ 367851 w 387211"/>
                <a:gd name="connsiteY0" fmla="*/ 225874 h 258141"/>
                <a:gd name="connsiteX1" fmla="*/ 96803 w 387211"/>
                <a:gd name="connsiteY1" fmla="*/ 148431 h 258141"/>
                <a:gd name="connsiteX2" fmla="*/ 251688 w 387211"/>
                <a:gd name="connsiteY2" fmla="*/ 96803 h 258141"/>
                <a:gd name="connsiteX3" fmla="*/ 251688 w 387211"/>
                <a:gd name="connsiteY3" fmla="*/ 96803 h 258141"/>
                <a:gd name="connsiteX4" fmla="*/ 367851 w 387211"/>
                <a:gd name="connsiteY4" fmla="*/ 225874 h 258141"/>
                <a:gd name="connsiteX5" fmla="*/ 109710 w 387211"/>
                <a:gd name="connsiteY5" fmla="*/ 148431 h 258141"/>
                <a:gd name="connsiteX6" fmla="*/ 342037 w 387211"/>
                <a:gd name="connsiteY6" fmla="*/ 212966 h 258141"/>
                <a:gd name="connsiteX7" fmla="*/ 238781 w 387211"/>
                <a:gd name="connsiteY7" fmla="*/ 96803 h 258141"/>
                <a:gd name="connsiteX8" fmla="*/ 109710 w 387211"/>
                <a:gd name="connsiteY8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258141">
                  <a:moveTo>
                    <a:pt x="367851" y="225874"/>
                  </a:moveTo>
                  <a:lnTo>
                    <a:pt x="96803" y="148431"/>
                  </a:lnTo>
                  <a:lnTo>
                    <a:pt x="251688" y="96803"/>
                  </a:lnTo>
                  <a:lnTo>
                    <a:pt x="251688" y="96803"/>
                  </a:lnTo>
                  <a:lnTo>
                    <a:pt x="367851" y="225874"/>
                  </a:lnTo>
                  <a:close/>
                  <a:moveTo>
                    <a:pt x="109710" y="148431"/>
                  </a:moveTo>
                  <a:lnTo>
                    <a:pt x="342037" y="212966"/>
                  </a:lnTo>
                  <a:lnTo>
                    <a:pt x="238781" y="96803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8" name="Freeform: Shape 2787">
              <a:extLst>
                <a:ext uri="{FF2B5EF4-FFF2-40B4-BE49-F238E27FC236}">
                  <a16:creationId xmlns:a16="http://schemas.microsoft.com/office/drawing/2014/main" id="{D342BF9C-4039-4A00-950E-14505B4DCB61}"/>
                </a:ext>
              </a:extLst>
            </p:cNvPr>
            <p:cNvSpPr/>
            <p:nvPr/>
          </p:nvSpPr>
          <p:spPr>
            <a:xfrm>
              <a:off x="4842849" y="5280169"/>
              <a:ext cx="516283" cy="258141"/>
            </a:xfrm>
            <a:custGeom>
              <a:avLst/>
              <a:gdLst>
                <a:gd name="connsiteX0" fmla="*/ 96803 w 516282"/>
                <a:gd name="connsiteY0" fmla="*/ 277502 h 258141"/>
                <a:gd name="connsiteX1" fmla="*/ 200059 w 516282"/>
                <a:gd name="connsiteY1" fmla="*/ 96803 h 258141"/>
                <a:gd name="connsiteX2" fmla="*/ 200059 w 516282"/>
                <a:gd name="connsiteY2" fmla="*/ 96803 h 258141"/>
                <a:gd name="connsiteX3" fmla="*/ 419480 w 516282"/>
                <a:gd name="connsiteY3" fmla="*/ 225874 h 258141"/>
                <a:gd name="connsiteX4" fmla="*/ 96803 w 516282"/>
                <a:gd name="connsiteY4" fmla="*/ 277502 h 258141"/>
                <a:gd name="connsiteX5" fmla="*/ 212967 w 516282"/>
                <a:gd name="connsiteY5" fmla="*/ 109710 h 258141"/>
                <a:gd name="connsiteX6" fmla="*/ 109710 w 516282"/>
                <a:gd name="connsiteY6" fmla="*/ 277502 h 258141"/>
                <a:gd name="connsiteX7" fmla="*/ 406573 w 516282"/>
                <a:gd name="connsiteY7" fmla="*/ 225874 h 258141"/>
                <a:gd name="connsiteX8" fmla="*/ 212967 w 516282"/>
                <a:gd name="connsiteY8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258141">
                  <a:moveTo>
                    <a:pt x="96803" y="277502"/>
                  </a:moveTo>
                  <a:lnTo>
                    <a:pt x="200059" y="96803"/>
                  </a:lnTo>
                  <a:lnTo>
                    <a:pt x="200059" y="96803"/>
                  </a:lnTo>
                  <a:lnTo>
                    <a:pt x="419480" y="225874"/>
                  </a:lnTo>
                  <a:lnTo>
                    <a:pt x="96803" y="277502"/>
                  </a:lnTo>
                  <a:close/>
                  <a:moveTo>
                    <a:pt x="212967" y="109710"/>
                  </a:moveTo>
                  <a:lnTo>
                    <a:pt x="109710" y="277502"/>
                  </a:lnTo>
                  <a:lnTo>
                    <a:pt x="406573" y="225874"/>
                  </a:lnTo>
                  <a:lnTo>
                    <a:pt x="21296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89" name="Freeform: Shape 2788">
              <a:extLst>
                <a:ext uri="{FF2B5EF4-FFF2-40B4-BE49-F238E27FC236}">
                  <a16:creationId xmlns:a16="http://schemas.microsoft.com/office/drawing/2014/main" id="{9E0861CB-4989-461B-B84D-C8B640673D1E}"/>
                </a:ext>
              </a:extLst>
            </p:cNvPr>
            <p:cNvSpPr/>
            <p:nvPr/>
          </p:nvSpPr>
          <p:spPr>
            <a:xfrm>
              <a:off x="4855756" y="5267262"/>
              <a:ext cx="258141" cy="387212"/>
            </a:xfrm>
            <a:custGeom>
              <a:avLst/>
              <a:gdLst>
                <a:gd name="connsiteX0" fmla="*/ 96803 w 258141"/>
                <a:gd name="connsiteY0" fmla="*/ 303316 h 387211"/>
                <a:gd name="connsiteX1" fmla="*/ 109710 w 258141"/>
                <a:gd name="connsiteY1" fmla="*/ 96803 h 387211"/>
                <a:gd name="connsiteX2" fmla="*/ 200059 w 258141"/>
                <a:gd name="connsiteY2" fmla="*/ 109710 h 387211"/>
                <a:gd name="connsiteX3" fmla="*/ 96803 w 258141"/>
                <a:gd name="connsiteY3" fmla="*/ 303316 h 387211"/>
                <a:gd name="connsiteX4" fmla="*/ 109710 w 258141"/>
                <a:gd name="connsiteY4" fmla="*/ 109710 h 387211"/>
                <a:gd name="connsiteX5" fmla="*/ 96803 w 258141"/>
                <a:gd name="connsiteY5" fmla="*/ 277502 h 387211"/>
                <a:gd name="connsiteX6" fmla="*/ 187152 w 258141"/>
                <a:gd name="connsiteY6" fmla="*/ 122617 h 387211"/>
                <a:gd name="connsiteX7" fmla="*/ 109710 w 25814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03316"/>
                  </a:moveTo>
                  <a:lnTo>
                    <a:pt x="109710" y="96803"/>
                  </a:lnTo>
                  <a:lnTo>
                    <a:pt x="200059" y="109710"/>
                  </a:lnTo>
                  <a:lnTo>
                    <a:pt x="96803" y="303316"/>
                  </a:lnTo>
                  <a:close/>
                  <a:moveTo>
                    <a:pt x="109710" y="109710"/>
                  </a:moveTo>
                  <a:lnTo>
                    <a:pt x="96803" y="277502"/>
                  </a:lnTo>
                  <a:lnTo>
                    <a:pt x="187152" y="122617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0" name="Freeform: Shape 2789">
              <a:extLst>
                <a:ext uri="{FF2B5EF4-FFF2-40B4-BE49-F238E27FC236}">
                  <a16:creationId xmlns:a16="http://schemas.microsoft.com/office/drawing/2014/main" id="{D5643D73-C8DE-45C8-A97E-0189E3DED753}"/>
                </a:ext>
              </a:extLst>
            </p:cNvPr>
            <p:cNvSpPr/>
            <p:nvPr/>
          </p:nvSpPr>
          <p:spPr>
            <a:xfrm>
              <a:off x="4687964" y="5254355"/>
              <a:ext cx="258141" cy="387212"/>
            </a:xfrm>
            <a:custGeom>
              <a:avLst/>
              <a:gdLst>
                <a:gd name="connsiteX0" fmla="*/ 264595 w 258141"/>
                <a:gd name="connsiteY0" fmla="*/ 303316 h 387211"/>
                <a:gd name="connsiteX1" fmla="*/ 96803 w 258141"/>
                <a:gd name="connsiteY1" fmla="*/ 200059 h 387211"/>
                <a:gd name="connsiteX2" fmla="*/ 277502 w 258141"/>
                <a:gd name="connsiteY2" fmla="*/ 96803 h 387211"/>
                <a:gd name="connsiteX3" fmla="*/ 264595 w 258141"/>
                <a:gd name="connsiteY3" fmla="*/ 303316 h 387211"/>
                <a:gd name="connsiteX4" fmla="*/ 109710 w 258141"/>
                <a:gd name="connsiteY4" fmla="*/ 212966 h 387211"/>
                <a:gd name="connsiteX5" fmla="*/ 264595 w 258141"/>
                <a:gd name="connsiteY5" fmla="*/ 303316 h 387211"/>
                <a:gd name="connsiteX6" fmla="*/ 277502 w 258141"/>
                <a:gd name="connsiteY6" fmla="*/ 122617 h 387211"/>
                <a:gd name="connsiteX7" fmla="*/ 109710 w 258141"/>
                <a:gd name="connsiteY7" fmla="*/ 212966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64595" y="303316"/>
                  </a:moveTo>
                  <a:lnTo>
                    <a:pt x="96803" y="200059"/>
                  </a:lnTo>
                  <a:lnTo>
                    <a:pt x="277502" y="96803"/>
                  </a:lnTo>
                  <a:lnTo>
                    <a:pt x="264595" y="303316"/>
                  </a:lnTo>
                  <a:close/>
                  <a:moveTo>
                    <a:pt x="109710" y="212966"/>
                  </a:moveTo>
                  <a:lnTo>
                    <a:pt x="264595" y="303316"/>
                  </a:lnTo>
                  <a:lnTo>
                    <a:pt x="277502" y="122617"/>
                  </a:lnTo>
                  <a:lnTo>
                    <a:pt x="109710" y="21296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1" name="Freeform: Shape 2790">
              <a:extLst>
                <a:ext uri="{FF2B5EF4-FFF2-40B4-BE49-F238E27FC236}">
                  <a16:creationId xmlns:a16="http://schemas.microsoft.com/office/drawing/2014/main" id="{5ED484E2-645A-478C-8084-2D39F55091E4}"/>
                </a:ext>
              </a:extLst>
            </p:cNvPr>
            <p:cNvSpPr/>
            <p:nvPr/>
          </p:nvSpPr>
          <p:spPr>
            <a:xfrm>
              <a:off x="4623429" y="5370518"/>
              <a:ext cx="387212" cy="387212"/>
            </a:xfrm>
            <a:custGeom>
              <a:avLst/>
              <a:gdLst>
                <a:gd name="connsiteX0" fmla="*/ 96803 w 387211"/>
                <a:gd name="connsiteY0" fmla="*/ 290409 h 387211"/>
                <a:gd name="connsiteX1" fmla="*/ 161338 w 387211"/>
                <a:gd name="connsiteY1" fmla="*/ 96803 h 387211"/>
                <a:gd name="connsiteX2" fmla="*/ 161338 w 387211"/>
                <a:gd name="connsiteY2" fmla="*/ 96803 h 387211"/>
                <a:gd name="connsiteX3" fmla="*/ 329131 w 387211"/>
                <a:gd name="connsiteY3" fmla="*/ 200059 h 387211"/>
                <a:gd name="connsiteX4" fmla="*/ 96803 w 387211"/>
                <a:gd name="connsiteY4" fmla="*/ 290409 h 387211"/>
                <a:gd name="connsiteX5" fmla="*/ 174246 w 387211"/>
                <a:gd name="connsiteY5" fmla="*/ 96803 h 387211"/>
                <a:gd name="connsiteX6" fmla="*/ 122617 w 387211"/>
                <a:gd name="connsiteY6" fmla="*/ 277502 h 387211"/>
                <a:gd name="connsiteX7" fmla="*/ 329131 w 387211"/>
                <a:gd name="connsiteY7" fmla="*/ 187153 h 387211"/>
                <a:gd name="connsiteX8" fmla="*/ 174246 w 387211"/>
                <a:gd name="connsiteY8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96803" y="290409"/>
                  </a:moveTo>
                  <a:lnTo>
                    <a:pt x="161338" y="96803"/>
                  </a:lnTo>
                  <a:lnTo>
                    <a:pt x="161338" y="96803"/>
                  </a:lnTo>
                  <a:lnTo>
                    <a:pt x="329131" y="200059"/>
                  </a:lnTo>
                  <a:lnTo>
                    <a:pt x="96803" y="290409"/>
                  </a:lnTo>
                  <a:close/>
                  <a:moveTo>
                    <a:pt x="174246" y="96803"/>
                  </a:moveTo>
                  <a:lnTo>
                    <a:pt x="122617" y="277502"/>
                  </a:lnTo>
                  <a:lnTo>
                    <a:pt x="329131" y="187153"/>
                  </a:lnTo>
                  <a:lnTo>
                    <a:pt x="174246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2" name="Freeform: Shape 2791">
              <a:extLst>
                <a:ext uri="{FF2B5EF4-FFF2-40B4-BE49-F238E27FC236}">
                  <a16:creationId xmlns:a16="http://schemas.microsoft.com/office/drawing/2014/main" id="{9EC1A317-D294-419E-AFD4-4CB16C2F8643}"/>
                </a:ext>
              </a:extLst>
            </p:cNvPr>
            <p:cNvSpPr/>
            <p:nvPr/>
          </p:nvSpPr>
          <p:spPr>
            <a:xfrm>
              <a:off x="4520172" y="5422147"/>
              <a:ext cx="258141" cy="258141"/>
            </a:xfrm>
            <a:custGeom>
              <a:avLst/>
              <a:gdLst>
                <a:gd name="connsiteX0" fmla="*/ 225874 w 258141"/>
                <a:gd name="connsiteY0" fmla="*/ 238780 h 258141"/>
                <a:gd name="connsiteX1" fmla="*/ 96803 w 258141"/>
                <a:gd name="connsiteY1" fmla="*/ 148431 h 258141"/>
                <a:gd name="connsiteX2" fmla="*/ 109710 w 258141"/>
                <a:gd name="connsiteY2" fmla="*/ 96803 h 258141"/>
                <a:gd name="connsiteX3" fmla="*/ 225874 w 258141"/>
                <a:gd name="connsiteY3" fmla="*/ 238780 h 258141"/>
                <a:gd name="connsiteX4" fmla="*/ 96803 w 258141"/>
                <a:gd name="connsiteY4" fmla="*/ 148431 h 258141"/>
                <a:gd name="connsiteX5" fmla="*/ 187153 w 258141"/>
                <a:gd name="connsiteY5" fmla="*/ 212966 h 258141"/>
                <a:gd name="connsiteX6" fmla="*/ 109710 w 258141"/>
                <a:gd name="connsiteY6" fmla="*/ 109710 h 258141"/>
                <a:gd name="connsiteX7" fmla="*/ 96803 w 258141"/>
                <a:gd name="connsiteY7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225874" y="238780"/>
                  </a:moveTo>
                  <a:lnTo>
                    <a:pt x="96803" y="148431"/>
                  </a:lnTo>
                  <a:lnTo>
                    <a:pt x="109710" y="96803"/>
                  </a:lnTo>
                  <a:lnTo>
                    <a:pt x="225874" y="238780"/>
                  </a:lnTo>
                  <a:close/>
                  <a:moveTo>
                    <a:pt x="96803" y="148431"/>
                  </a:moveTo>
                  <a:lnTo>
                    <a:pt x="187153" y="212966"/>
                  </a:lnTo>
                  <a:lnTo>
                    <a:pt x="109710" y="109710"/>
                  </a:lnTo>
                  <a:lnTo>
                    <a:pt x="96803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3" name="Freeform: Shape 2792">
              <a:extLst>
                <a:ext uri="{FF2B5EF4-FFF2-40B4-BE49-F238E27FC236}">
                  <a16:creationId xmlns:a16="http://schemas.microsoft.com/office/drawing/2014/main" id="{599589EF-A1C1-444C-A090-B7A4CA3298D8}"/>
                </a:ext>
              </a:extLst>
            </p:cNvPr>
            <p:cNvSpPr/>
            <p:nvPr/>
          </p:nvSpPr>
          <p:spPr>
            <a:xfrm>
              <a:off x="4597615" y="5460868"/>
              <a:ext cx="387212" cy="258141"/>
            </a:xfrm>
            <a:custGeom>
              <a:avLst/>
              <a:gdLst>
                <a:gd name="connsiteX0" fmla="*/ 96803 w 387211"/>
                <a:gd name="connsiteY0" fmla="*/ 264595 h 258141"/>
                <a:gd name="connsiteX1" fmla="*/ 135524 w 387211"/>
                <a:gd name="connsiteY1" fmla="*/ 187153 h 258141"/>
                <a:gd name="connsiteX2" fmla="*/ 354944 w 387211"/>
                <a:gd name="connsiteY2" fmla="*/ 96803 h 258141"/>
                <a:gd name="connsiteX3" fmla="*/ 354944 w 387211"/>
                <a:gd name="connsiteY3" fmla="*/ 96803 h 258141"/>
                <a:gd name="connsiteX4" fmla="*/ 96803 w 387211"/>
                <a:gd name="connsiteY4" fmla="*/ 264595 h 258141"/>
                <a:gd name="connsiteX5" fmla="*/ 135524 w 387211"/>
                <a:gd name="connsiteY5" fmla="*/ 187153 h 258141"/>
                <a:gd name="connsiteX6" fmla="*/ 109710 w 387211"/>
                <a:gd name="connsiteY6" fmla="*/ 251688 h 258141"/>
                <a:gd name="connsiteX7" fmla="*/ 329130 w 387211"/>
                <a:gd name="connsiteY7" fmla="*/ 109710 h 258141"/>
                <a:gd name="connsiteX8" fmla="*/ 135524 w 387211"/>
                <a:gd name="connsiteY8" fmla="*/ 18715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258141">
                  <a:moveTo>
                    <a:pt x="96803" y="264595"/>
                  </a:moveTo>
                  <a:lnTo>
                    <a:pt x="135524" y="187153"/>
                  </a:lnTo>
                  <a:lnTo>
                    <a:pt x="354944" y="96803"/>
                  </a:lnTo>
                  <a:lnTo>
                    <a:pt x="354944" y="96803"/>
                  </a:lnTo>
                  <a:lnTo>
                    <a:pt x="96803" y="264595"/>
                  </a:lnTo>
                  <a:close/>
                  <a:moveTo>
                    <a:pt x="135524" y="187153"/>
                  </a:moveTo>
                  <a:lnTo>
                    <a:pt x="109710" y="251688"/>
                  </a:lnTo>
                  <a:lnTo>
                    <a:pt x="329130" y="109710"/>
                  </a:lnTo>
                  <a:lnTo>
                    <a:pt x="135524" y="1871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4" name="Freeform: Shape 2793">
              <a:extLst>
                <a:ext uri="{FF2B5EF4-FFF2-40B4-BE49-F238E27FC236}">
                  <a16:creationId xmlns:a16="http://schemas.microsoft.com/office/drawing/2014/main" id="{C8565057-B71F-40F7-9B83-27CDA9EA6B17}"/>
                </a:ext>
              </a:extLst>
            </p:cNvPr>
            <p:cNvSpPr/>
            <p:nvPr/>
          </p:nvSpPr>
          <p:spPr>
            <a:xfrm>
              <a:off x="4507265" y="5473775"/>
              <a:ext cx="258141" cy="258141"/>
            </a:xfrm>
            <a:custGeom>
              <a:avLst/>
              <a:gdLst>
                <a:gd name="connsiteX0" fmla="*/ 187153 w 258141"/>
                <a:gd name="connsiteY0" fmla="*/ 251688 h 258141"/>
                <a:gd name="connsiteX1" fmla="*/ 96803 w 258141"/>
                <a:gd name="connsiteY1" fmla="*/ 96803 h 258141"/>
                <a:gd name="connsiteX2" fmla="*/ 225874 w 258141"/>
                <a:gd name="connsiteY2" fmla="*/ 174246 h 258141"/>
                <a:gd name="connsiteX3" fmla="*/ 187153 w 258141"/>
                <a:gd name="connsiteY3" fmla="*/ 251688 h 258141"/>
                <a:gd name="connsiteX4" fmla="*/ 122617 w 258141"/>
                <a:gd name="connsiteY4" fmla="*/ 109710 h 258141"/>
                <a:gd name="connsiteX5" fmla="*/ 187153 w 258141"/>
                <a:gd name="connsiteY5" fmla="*/ 238781 h 258141"/>
                <a:gd name="connsiteX6" fmla="*/ 212966 w 258141"/>
                <a:gd name="connsiteY6" fmla="*/ 174246 h 258141"/>
                <a:gd name="connsiteX7" fmla="*/ 122617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87153" y="251688"/>
                  </a:moveTo>
                  <a:lnTo>
                    <a:pt x="96803" y="96803"/>
                  </a:lnTo>
                  <a:lnTo>
                    <a:pt x="225874" y="174246"/>
                  </a:lnTo>
                  <a:lnTo>
                    <a:pt x="187153" y="251688"/>
                  </a:lnTo>
                  <a:close/>
                  <a:moveTo>
                    <a:pt x="122617" y="109710"/>
                  </a:moveTo>
                  <a:lnTo>
                    <a:pt x="187153" y="238781"/>
                  </a:lnTo>
                  <a:lnTo>
                    <a:pt x="212966" y="174246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5" name="Freeform: Shape 2794">
              <a:extLst>
                <a:ext uri="{FF2B5EF4-FFF2-40B4-BE49-F238E27FC236}">
                  <a16:creationId xmlns:a16="http://schemas.microsoft.com/office/drawing/2014/main" id="{6EC06697-8130-4CEF-9715-0B0790342796}"/>
                </a:ext>
              </a:extLst>
            </p:cNvPr>
            <p:cNvSpPr/>
            <p:nvPr/>
          </p:nvSpPr>
          <p:spPr>
            <a:xfrm>
              <a:off x="4520172" y="5602845"/>
              <a:ext cx="258141" cy="516283"/>
            </a:xfrm>
            <a:custGeom>
              <a:avLst/>
              <a:gdLst>
                <a:gd name="connsiteX0" fmla="*/ 96803 w 258141"/>
                <a:gd name="connsiteY0" fmla="*/ 432387 h 516282"/>
                <a:gd name="connsiteX1" fmla="*/ 174246 w 258141"/>
                <a:gd name="connsiteY1" fmla="*/ 96803 h 516282"/>
                <a:gd name="connsiteX2" fmla="*/ 187153 w 258141"/>
                <a:gd name="connsiteY2" fmla="*/ 277502 h 516282"/>
                <a:gd name="connsiteX3" fmla="*/ 96803 w 258141"/>
                <a:gd name="connsiteY3" fmla="*/ 432387 h 516282"/>
                <a:gd name="connsiteX4" fmla="*/ 174246 w 258141"/>
                <a:gd name="connsiteY4" fmla="*/ 135525 h 516282"/>
                <a:gd name="connsiteX5" fmla="*/ 109710 w 258141"/>
                <a:gd name="connsiteY5" fmla="*/ 380759 h 516282"/>
                <a:gd name="connsiteX6" fmla="*/ 174246 w 258141"/>
                <a:gd name="connsiteY6" fmla="*/ 264595 h 516282"/>
                <a:gd name="connsiteX7" fmla="*/ 174246 w 258141"/>
                <a:gd name="connsiteY7" fmla="*/ 13552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96803" y="432387"/>
                  </a:moveTo>
                  <a:lnTo>
                    <a:pt x="174246" y="96803"/>
                  </a:lnTo>
                  <a:lnTo>
                    <a:pt x="187153" y="277502"/>
                  </a:lnTo>
                  <a:lnTo>
                    <a:pt x="96803" y="432387"/>
                  </a:lnTo>
                  <a:close/>
                  <a:moveTo>
                    <a:pt x="174246" y="135525"/>
                  </a:moveTo>
                  <a:lnTo>
                    <a:pt x="109710" y="380759"/>
                  </a:lnTo>
                  <a:lnTo>
                    <a:pt x="174246" y="264595"/>
                  </a:lnTo>
                  <a:lnTo>
                    <a:pt x="174246" y="1355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6" name="Freeform: Shape 2795">
              <a:extLst>
                <a:ext uri="{FF2B5EF4-FFF2-40B4-BE49-F238E27FC236}">
                  <a16:creationId xmlns:a16="http://schemas.microsoft.com/office/drawing/2014/main" id="{B26784A9-3786-4C8E-96EA-F3B2F63A3F12}"/>
                </a:ext>
              </a:extLst>
            </p:cNvPr>
            <p:cNvSpPr/>
            <p:nvPr/>
          </p:nvSpPr>
          <p:spPr>
            <a:xfrm>
              <a:off x="4429823" y="5912615"/>
              <a:ext cx="258141" cy="387212"/>
            </a:xfrm>
            <a:custGeom>
              <a:avLst/>
              <a:gdLst>
                <a:gd name="connsiteX0" fmla="*/ 238781 w 258141"/>
                <a:gd name="connsiteY0" fmla="*/ 380759 h 387211"/>
                <a:gd name="connsiteX1" fmla="*/ 96803 w 258141"/>
                <a:gd name="connsiteY1" fmla="*/ 316223 h 387211"/>
                <a:gd name="connsiteX2" fmla="*/ 200060 w 258141"/>
                <a:gd name="connsiteY2" fmla="*/ 96803 h 387211"/>
                <a:gd name="connsiteX3" fmla="*/ 238781 w 258141"/>
                <a:gd name="connsiteY3" fmla="*/ 380759 h 387211"/>
                <a:gd name="connsiteX4" fmla="*/ 109710 w 258141"/>
                <a:gd name="connsiteY4" fmla="*/ 303316 h 387211"/>
                <a:gd name="connsiteX5" fmla="*/ 238781 w 258141"/>
                <a:gd name="connsiteY5" fmla="*/ 354944 h 387211"/>
                <a:gd name="connsiteX6" fmla="*/ 200060 w 258141"/>
                <a:gd name="connsiteY6" fmla="*/ 96803 h 387211"/>
                <a:gd name="connsiteX7" fmla="*/ 109710 w 258141"/>
                <a:gd name="connsiteY7" fmla="*/ 303316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38781" y="380759"/>
                  </a:moveTo>
                  <a:lnTo>
                    <a:pt x="96803" y="316223"/>
                  </a:lnTo>
                  <a:lnTo>
                    <a:pt x="200060" y="96803"/>
                  </a:lnTo>
                  <a:lnTo>
                    <a:pt x="238781" y="380759"/>
                  </a:lnTo>
                  <a:close/>
                  <a:moveTo>
                    <a:pt x="109710" y="303316"/>
                  </a:moveTo>
                  <a:lnTo>
                    <a:pt x="238781" y="354944"/>
                  </a:lnTo>
                  <a:lnTo>
                    <a:pt x="200060" y="96803"/>
                  </a:lnTo>
                  <a:lnTo>
                    <a:pt x="109710" y="3033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7" name="Freeform: Shape 2796">
              <a:extLst>
                <a:ext uri="{FF2B5EF4-FFF2-40B4-BE49-F238E27FC236}">
                  <a16:creationId xmlns:a16="http://schemas.microsoft.com/office/drawing/2014/main" id="{1E54448F-AAD5-4639-8839-2EF94D6F8A6D}"/>
                </a:ext>
              </a:extLst>
            </p:cNvPr>
            <p:cNvSpPr/>
            <p:nvPr/>
          </p:nvSpPr>
          <p:spPr>
            <a:xfrm>
              <a:off x="4416916" y="6119128"/>
              <a:ext cx="258141" cy="258141"/>
            </a:xfrm>
            <a:custGeom>
              <a:avLst/>
              <a:gdLst>
                <a:gd name="connsiteX0" fmla="*/ 96803 w 258141"/>
                <a:gd name="connsiteY0" fmla="*/ 264595 h 258141"/>
                <a:gd name="connsiteX1" fmla="*/ 109710 w 258141"/>
                <a:gd name="connsiteY1" fmla="*/ 96803 h 258141"/>
                <a:gd name="connsiteX2" fmla="*/ 251688 w 258141"/>
                <a:gd name="connsiteY2" fmla="*/ 161338 h 258141"/>
                <a:gd name="connsiteX3" fmla="*/ 96803 w 258141"/>
                <a:gd name="connsiteY3" fmla="*/ 264595 h 258141"/>
                <a:gd name="connsiteX4" fmla="*/ 122617 w 258141"/>
                <a:gd name="connsiteY4" fmla="*/ 109710 h 258141"/>
                <a:gd name="connsiteX5" fmla="*/ 96803 w 258141"/>
                <a:gd name="connsiteY5" fmla="*/ 251688 h 258141"/>
                <a:gd name="connsiteX6" fmla="*/ 238781 w 258141"/>
                <a:gd name="connsiteY6" fmla="*/ 161338 h 258141"/>
                <a:gd name="connsiteX7" fmla="*/ 122617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96803" y="264595"/>
                  </a:moveTo>
                  <a:lnTo>
                    <a:pt x="109710" y="96803"/>
                  </a:lnTo>
                  <a:lnTo>
                    <a:pt x="251688" y="161338"/>
                  </a:lnTo>
                  <a:lnTo>
                    <a:pt x="96803" y="264595"/>
                  </a:lnTo>
                  <a:close/>
                  <a:moveTo>
                    <a:pt x="122617" y="109710"/>
                  </a:moveTo>
                  <a:lnTo>
                    <a:pt x="96803" y="251688"/>
                  </a:lnTo>
                  <a:lnTo>
                    <a:pt x="238781" y="161338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8" name="Freeform: Shape 2797">
              <a:extLst>
                <a:ext uri="{FF2B5EF4-FFF2-40B4-BE49-F238E27FC236}">
                  <a16:creationId xmlns:a16="http://schemas.microsoft.com/office/drawing/2014/main" id="{78F02A90-4A82-4D28-8D53-C925D2917ECE}"/>
                </a:ext>
              </a:extLst>
            </p:cNvPr>
            <p:cNvSpPr/>
            <p:nvPr/>
          </p:nvSpPr>
          <p:spPr>
            <a:xfrm>
              <a:off x="4416916" y="6183663"/>
              <a:ext cx="258141" cy="387212"/>
            </a:xfrm>
            <a:custGeom>
              <a:avLst/>
              <a:gdLst>
                <a:gd name="connsiteX0" fmla="*/ 161338 w 258141"/>
                <a:gd name="connsiteY0" fmla="*/ 342037 h 387211"/>
                <a:gd name="connsiteX1" fmla="*/ 96803 w 258141"/>
                <a:gd name="connsiteY1" fmla="*/ 187153 h 387211"/>
                <a:gd name="connsiteX2" fmla="*/ 264595 w 258141"/>
                <a:gd name="connsiteY2" fmla="*/ 96803 h 387211"/>
                <a:gd name="connsiteX3" fmla="*/ 161338 w 258141"/>
                <a:gd name="connsiteY3" fmla="*/ 342037 h 387211"/>
                <a:gd name="connsiteX4" fmla="*/ 96803 w 258141"/>
                <a:gd name="connsiteY4" fmla="*/ 187153 h 387211"/>
                <a:gd name="connsiteX5" fmla="*/ 148431 w 258141"/>
                <a:gd name="connsiteY5" fmla="*/ 316223 h 387211"/>
                <a:gd name="connsiteX6" fmla="*/ 238781 w 258141"/>
                <a:gd name="connsiteY6" fmla="*/ 96803 h 387211"/>
                <a:gd name="connsiteX7" fmla="*/ 96803 w 258141"/>
                <a:gd name="connsiteY7" fmla="*/ 18715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61338" y="342037"/>
                  </a:moveTo>
                  <a:lnTo>
                    <a:pt x="96803" y="187153"/>
                  </a:lnTo>
                  <a:lnTo>
                    <a:pt x="264595" y="96803"/>
                  </a:lnTo>
                  <a:lnTo>
                    <a:pt x="161338" y="342037"/>
                  </a:lnTo>
                  <a:close/>
                  <a:moveTo>
                    <a:pt x="96803" y="187153"/>
                  </a:moveTo>
                  <a:lnTo>
                    <a:pt x="148431" y="316223"/>
                  </a:lnTo>
                  <a:lnTo>
                    <a:pt x="238781" y="96803"/>
                  </a:lnTo>
                  <a:lnTo>
                    <a:pt x="96803" y="1871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99" name="Freeform: Shape 2798">
              <a:extLst>
                <a:ext uri="{FF2B5EF4-FFF2-40B4-BE49-F238E27FC236}">
                  <a16:creationId xmlns:a16="http://schemas.microsoft.com/office/drawing/2014/main" id="{FDB24586-FA65-4523-8F56-9557730BB551}"/>
                </a:ext>
              </a:extLst>
            </p:cNvPr>
            <p:cNvSpPr/>
            <p:nvPr/>
          </p:nvSpPr>
          <p:spPr>
            <a:xfrm>
              <a:off x="4636336" y="6519247"/>
              <a:ext cx="258141" cy="516283"/>
            </a:xfrm>
            <a:custGeom>
              <a:avLst/>
              <a:gdLst>
                <a:gd name="connsiteX0" fmla="*/ 122617 w 258141"/>
                <a:gd name="connsiteY0" fmla="*/ 471108 h 516282"/>
                <a:gd name="connsiteX1" fmla="*/ 96803 w 258141"/>
                <a:gd name="connsiteY1" fmla="*/ 96803 h 516282"/>
                <a:gd name="connsiteX2" fmla="*/ 212966 w 258141"/>
                <a:gd name="connsiteY2" fmla="*/ 354944 h 516282"/>
                <a:gd name="connsiteX3" fmla="*/ 212966 w 258141"/>
                <a:gd name="connsiteY3" fmla="*/ 354944 h 516282"/>
                <a:gd name="connsiteX4" fmla="*/ 122617 w 258141"/>
                <a:gd name="connsiteY4" fmla="*/ 471108 h 516282"/>
                <a:gd name="connsiteX5" fmla="*/ 109710 w 258141"/>
                <a:gd name="connsiteY5" fmla="*/ 122617 h 516282"/>
                <a:gd name="connsiteX6" fmla="*/ 122617 w 258141"/>
                <a:gd name="connsiteY6" fmla="*/ 445294 h 516282"/>
                <a:gd name="connsiteX7" fmla="*/ 212966 w 258141"/>
                <a:gd name="connsiteY7" fmla="*/ 354944 h 516282"/>
                <a:gd name="connsiteX8" fmla="*/ 109710 w 258141"/>
                <a:gd name="connsiteY8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516282">
                  <a:moveTo>
                    <a:pt x="122617" y="471108"/>
                  </a:moveTo>
                  <a:lnTo>
                    <a:pt x="96803" y="96803"/>
                  </a:lnTo>
                  <a:lnTo>
                    <a:pt x="212966" y="354944"/>
                  </a:lnTo>
                  <a:lnTo>
                    <a:pt x="212966" y="354944"/>
                  </a:lnTo>
                  <a:lnTo>
                    <a:pt x="122617" y="471108"/>
                  </a:lnTo>
                  <a:close/>
                  <a:moveTo>
                    <a:pt x="109710" y="122617"/>
                  </a:moveTo>
                  <a:lnTo>
                    <a:pt x="122617" y="445294"/>
                  </a:lnTo>
                  <a:lnTo>
                    <a:pt x="212966" y="354944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0" name="Freeform: Shape 2799">
              <a:extLst>
                <a:ext uri="{FF2B5EF4-FFF2-40B4-BE49-F238E27FC236}">
                  <a16:creationId xmlns:a16="http://schemas.microsoft.com/office/drawing/2014/main" id="{23F8BD8D-7804-4825-9CAC-9A3AB12FE46D}"/>
                </a:ext>
              </a:extLst>
            </p:cNvPr>
            <p:cNvSpPr/>
            <p:nvPr/>
          </p:nvSpPr>
          <p:spPr>
            <a:xfrm>
              <a:off x="4468544" y="6403083"/>
              <a:ext cx="387212" cy="645353"/>
            </a:xfrm>
            <a:custGeom>
              <a:avLst/>
              <a:gdLst>
                <a:gd name="connsiteX0" fmla="*/ 303316 w 387211"/>
                <a:gd name="connsiteY0" fmla="*/ 587271 h 645353"/>
                <a:gd name="connsiteX1" fmla="*/ 96803 w 387211"/>
                <a:gd name="connsiteY1" fmla="*/ 96803 h 645353"/>
                <a:gd name="connsiteX2" fmla="*/ 277502 w 387211"/>
                <a:gd name="connsiteY2" fmla="*/ 212967 h 645353"/>
                <a:gd name="connsiteX3" fmla="*/ 303316 w 387211"/>
                <a:gd name="connsiteY3" fmla="*/ 587271 h 645353"/>
                <a:gd name="connsiteX4" fmla="*/ 109710 w 387211"/>
                <a:gd name="connsiteY4" fmla="*/ 122617 h 645353"/>
                <a:gd name="connsiteX5" fmla="*/ 290409 w 387211"/>
                <a:gd name="connsiteY5" fmla="*/ 561458 h 645353"/>
                <a:gd name="connsiteX6" fmla="*/ 277502 w 387211"/>
                <a:gd name="connsiteY6" fmla="*/ 238781 h 645353"/>
                <a:gd name="connsiteX7" fmla="*/ 109710 w 387211"/>
                <a:gd name="connsiteY7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303316" y="587271"/>
                  </a:moveTo>
                  <a:lnTo>
                    <a:pt x="96803" y="96803"/>
                  </a:lnTo>
                  <a:lnTo>
                    <a:pt x="277502" y="212967"/>
                  </a:lnTo>
                  <a:lnTo>
                    <a:pt x="303316" y="587271"/>
                  </a:lnTo>
                  <a:close/>
                  <a:moveTo>
                    <a:pt x="109710" y="122617"/>
                  </a:moveTo>
                  <a:lnTo>
                    <a:pt x="290409" y="561458"/>
                  </a:lnTo>
                  <a:lnTo>
                    <a:pt x="277502" y="238781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1" name="Freeform: Shape 2800">
              <a:extLst>
                <a:ext uri="{FF2B5EF4-FFF2-40B4-BE49-F238E27FC236}">
                  <a16:creationId xmlns:a16="http://schemas.microsoft.com/office/drawing/2014/main" id="{97F0DA6E-DC36-4BF9-B1FC-8364811904A3}"/>
                </a:ext>
              </a:extLst>
            </p:cNvPr>
            <p:cNvSpPr/>
            <p:nvPr/>
          </p:nvSpPr>
          <p:spPr>
            <a:xfrm>
              <a:off x="4662150" y="6764481"/>
              <a:ext cx="258141" cy="387212"/>
            </a:xfrm>
            <a:custGeom>
              <a:avLst/>
              <a:gdLst>
                <a:gd name="connsiteX0" fmla="*/ 238781 w 258141"/>
                <a:gd name="connsiteY0" fmla="*/ 303316 h 387211"/>
                <a:gd name="connsiteX1" fmla="*/ 96803 w 258141"/>
                <a:gd name="connsiteY1" fmla="*/ 212967 h 387211"/>
                <a:gd name="connsiteX2" fmla="*/ 200059 w 258141"/>
                <a:gd name="connsiteY2" fmla="*/ 96803 h 387211"/>
                <a:gd name="connsiteX3" fmla="*/ 238781 w 258141"/>
                <a:gd name="connsiteY3" fmla="*/ 303316 h 387211"/>
                <a:gd name="connsiteX4" fmla="*/ 109710 w 258141"/>
                <a:gd name="connsiteY4" fmla="*/ 212967 h 387211"/>
                <a:gd name="connsiteX5" fmla="*/ 225874 w 258141"/>
                <a:gd name="connsiteY5" fmla="*/ 290409 h 387211"/>
                <a:gd name="connsiteX6" fmla="*/ 187152 w 258141"/>
                <a:gd name="connsiteY6" fmla="*/ 122617 h 387211"/>
                <a:gd name="connsiteX7" fmla="*/ 109710 w 258141"/>
                <a:gd name="connsiteY7" fmla="*/ 21296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38781" y="303316"/>
                  </a:moveTo>
                  <a:lnTo>
                    <a:pt x="96803" y="212967"/>
                  </a:lnTo>
                  <a:lnTo>
                    <a:pt x="200059" y="96803"/>
                  </a:lnTo>
                  <a:lnTo>
                    <a:pt x="238781" y="303316"/>
                  </a:lnTo>
                  <a:close/>
                  <a:moveTo>
                    <a:pt x="109710" y="212967"/>
                  </a:moveTo>
                  <a:lnTo>
                    <a:pt x="225874" y="290409"/>
                  </a:lnTo>
                  <a:lnTo>
                    <a:pt x="187152" y="122617"/>
                  </a:lnTo>
                  <a:lnTo>
                    <a:pt x="109710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2" name="Freeform: Shape 2801">
              <a:extLst>
                <a:ext uri="{FF2B5EF4-FFF2-40B4-BE49-F238E27FC236}">
                  <a16:creationId xmlns:a16="http://schemas.microsoft.com/office/drawing/2014/main" id="{A57265D3-99BE-44EB-901A-10E9BFA19517}"/>
                </a:ext>
              </a:extLst>
            </p:cNvPr>
            <p:cNvSpPr/>
            <p:nvPr/>
          </p:nvSpPr>
          <p:spPr>
            <a:xfrm>
              <a:off x="4791221" y="8210072"/>
              <a:ext cx="258141" cy="645353"/>
            </a:xfrm>
            <a:custGeom>
              <a:avLst/>
              <a:gdLst>
                <a:gd name="connsiteX0" fmla="*/ 109710 w 258141"/>
                <a:gd name="connsiteY0" fmla="*/ 651807 h 645353"/>
                <a:gd name="connsiteX1" fmla="*/ 96803 w 258141"/>
                <a:gd name="connsiteY1" fmla="*/ 96803 h 645353"/>
                <a:gd name="connsiteX2" fmla="*/ 200059 w 258141"/>
                <a:gd name="connsiteY2" fmla="*/ 367852 h 645353"/>
                <a:gd name="connsiteX3" fmla="*/ 200059 w 258141"/>
                <a:gd name="connsiteY3" fmla="*/ 367852 h 645353"/>
                <a:gd name="connsiteX4" fmla="*/ 109710 w 258141"/>
                <a:gd name="connsiteY4" fmla="*/ 651807 h 645353"/>
                <a:gd name="connsiteX5" fmla="*/ 96803 w 258141"/>
                <a:gd name="connsiteY5" fmla="*/ 148431 h 645353"/>
                <a:gd name="connsiteX6" fmla="*/ 109710 w 258141"/>
                <a:gd name="connsiteY6" fmla="*/ 613086 h 645353"/>
                <a:gd name="connsiteX7" fmla="*/ 174245 w 258141"/>
                <a:gd name="connsiteY7" fmla="*/ 380759 h 645353"/>
                <a:gd name="connsiteX8" fmla="*/ 96803 w 258141"/>
                <a:gd name="connsiteY8" fmla="*/ 148431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645353">
                  <a:moveTo>
                    <a:pt x="109710" y="651807"/>
                  </a:moveTo>
                  <a:lnTo>
                    <a:pt x="96803" y="96803"/>
                  </a:lnTo>
                  <a:lnTo>
                    <a:pt x="200059" y="367852"/>
                  </a:lnTo>
                  <a:lnTo>
                    <a:pt x="200059" y="367852"/>
                  </a:lnTo>
                  <a:lnTo>
                    <a:pt x="109710" y="651807"/>
                  </a:lnTo>
                  <a:close/>
                  <a:moveTo>
                    <a:pt x="96803" y="148431"/>
                  </a:moveTo>
                  <a:lnTo>
                    <a:pt x="109710" y="613086"/>
                  </a:lnTo>
                  <a:lnTo>
                    <a:pt x="174245" y="380759"/>
                  </a:lnTo>
                  <a:lnTo>
                    <a:pt x="96803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3" name="Freeform: Shape 2802">
              <a:extLst>
                <a:ext uri="{FF2B5EF4-FFF2-40B4-BE49-F238E27FC236}">
                  <a16:creationId xmlns:a16="http://schemas.microsoft.com/office/drawing/2014/main" id="{7478180C-A485-4A1E-99A4-413067640BC2}"/>
                </a:ext>
              </a:extLst>
            </p:cNvPr>
            <p:cNvSpPr/>
            <p:nvPr/>
          </p:nvSpPr>
          <p:spPr>
            <a:xfrm>
              <a:off x="4687964" y="8235887"/>
              <a:ext cx="258141" cy="903494"/>
            </a:xfrm>
            <a:custGeom>
              <a:avLst/>
              <a:gdLst>
                <a:gd name="connsiteX0" fmla="*/ 96803 w 258141"/>
                <a:gd name="connsiteY0" fmla="*/ 845413 h 903494"/>
                <a:gd name="connsiteX1" fmla="*/ 200060 w 258141"/>
                <a:gd name="connsiteY1" fmla="*/ 96803 h 903494"/>
                <a:gd name="connsiteX2" fmla="*/ 200060 w 258141"/>
                <a:gd name="connsiteY2" fmla="*/ 96803 h 903494"/>
                <a:gd name="connsiteX3" fmla="*/ 212967 w 258141"/>
                <a:gd name="connsiteY3" fmla="*/ 613086 h 903494"/>
                <a:gd name="connsiteX4" fmla="*/ 212967 w 258141"/>
                <a:gd name="connsiteY4" fmla="*/ 613086 h 903494"/>
                <a:gd name="connsiteX5" fmla="*/ 96803 w 258141"/>
                <a:gd name="connsiteY5" fmla="*/ 845413 h 903494"/>
                <a:gd name="connsiteX6" fmla="*/ 200060 w 258141"/>
                <a:gd name="connsiteY6" fmla="*/ 135524 h 903494"/>
                <a:gd name="connsiteX7" fmla="*/ 109710 w 258141"/>
                <a:gd name="connsiteY7" fmla="*/ 806692 h 903494"/>
                <a:gd name="connsiteX8" fmla="*/ 212967 w 258141"/>
                <a:gd name="connsiteY8" fmla="*/ 613086 h 903494"/>
                <a:gd name="connsiteX9" fmla="*/ 200060 w 258141"/>
                <a:gd name="connsiteY9" fmla="*/ 135524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903494">
                  <a:moveTo>
                    <a:pt x="96803" y="845413"/>
                  </a:moveTo>
                  <a:lnTo>
                    <a:pt x="200060" y="96803"/>
                  </a:lnTo>
                  <a:lnTo>
                    <a:pt x="200060" y="96803"/>
                  </a:lnTo>
                  <a:lnTo>
                    <a:pt x="212967" y="613086"/>
                  </a:lnTo>
                  <a:lnTo>
                    <a:pt x="212967" y="613086"/>
                  </a:lnTo>
                  <a:lnTo>
                    <a:pt x="96803" y="845413"/>
                  </a:lnTo>
                  <a:close/>
                  <a:moveTo>
                    <a:pt x="200060" y="135524"/>
                  </a:moveTo>
                  <a:lnTo>
                    <a:pt x="109710" y="806692"/>
                  </a:lnTo>
                  <a:lnTo>
                    <a:pt x="212967" y="613086"/>
                  </a:lnTo>
                  <a:lnTo>
                    <a:pt x="20006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4" name="Freeform: Shape 2803">
              <a:extLst>
                <a:ext uri="{FF2B5EF4-FFF2-40B4-BE49-F238E27FC236}">
                  <a16:creationId xmlns:a16="http://schemas.microsoft.com/office/drawing/2014/main" id="{E37A5C2D-BEA6-48C1-A2CE-8CB450E22752}"/>
                </a:ext>
              </a:extLst>
            </p:cNvPr>
            <p:cNvSpPr/>
            <p:nvPr/>
          </p:nvSpPr>
          <p:spPr>
            <a:xfrm>
              <a:off x="4765407" y="9139381"/>
              <a:ext cx="387212" cy="258141"/>
            </a:xfrm>
            <a:custGeom>
              <a:avLst/>
              <a:gdLst>
                <a:gd name="connsiteX0" fmla="*/ 251688 w 387211"/>
                <a:gd name="connsiteY0" fmla="*/ 225874 h 258141"/>
                <a:gd name="connsiteX1" fmla="*/ 96803 w 387211"/>
                <a:gd name="connsiteY1" fmla="*/ 135524 h 258141"/>
                <a:gd name="connsiteX2" fmla="*/ 367851 w 387211"/>
                <a:gd name="connsiteY2" fmla="*/ 96803 h 258141"/>
                <a:gd name="connsiteX3" fmla="*/ 251688 w 387211"/>
                <a:gd name="connsiteY3" fmla="*/ 225874 h 258141"/>
                <a:gd name="connsiteX4" fmla="*/ 109710 w 387211"/>
                <a:gd name="connsiteY4" fmla="*/ 135524 h 258141"/>
                <a:gd name="connsiteX5" fmla="*/ 251688 w 387211"/>
                <a:gd name="connsiteY5" fmla="*/ 212967 h 258141"/>
                <a:gd name="connsiteX6" fmla="*/ 354944 w 387211"/>
                <a:gd name="connsiteY6" fmla="*/ 96803 h 258141"/>
                <a:gd name="connsiteX7" fmla="*/ 109710 w 387211"/>
                <a:gd name="connsiteY7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251688" y="225874"/>
                  </a:moveTo>
                  <a:lnTo>
                    <a:pt x="96803" y="135524"/>
                  </a:lnTo>
                  <a:lnTo>
                    <a:pt x="367851" y="96803"/>
                  </a:lnTo>
                  <a:lnTo>
                    <a:pt x="251688" y="225874"/>
                  </a:lnTo>
                  <a:close/>
                  <a:moveTo>
                    <a:pt x="109710" y="135524"/>
                  </a:moveTo>
                  <a:lnTo>
                    <a:pt x="251688" y="212967"/>
                  </a:lnTo>
                  <a:lnTo>
                    <a:pt x="354944" y="96803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5" name="Freeform: Shape 2804">
              <a:extLst>
                <a:ext uri="{FF2B5EF4-FFF2-40B4-BE49-F238E27FC236}">
                  <a16:creationId xmlns:a16="http://schemas.microsoft.com/office/drawing/2014/main" id="{828F16D0-811D-4597-B8FC-A2D9BF543D61}"/>
                </a:ext>
              </a:extLst>
            </p:cNvPr>
            <p:cNvSpPr/>
            <p:nvPr/>
          </p:nvSpPr>
          <p:spPr>
            <a:xfrm>
              <a:off x="4907384" y="9139381"/>
              <a:ext cx="516283" cy="258141"/>
            </a:xfrm>
            <a:custGeom>
              <a:avLst/>
              <a:gdLst>
                <a:gd name="connsiteX0" fmla="*/ 96803 w 516282"/>
                <a:gd name="connsiteY0" fmla="*/ 225874 h 258141"/>
                <a:gd name="connsiteX1" fmla="*/ 212967 w 516282"/>
                <a:gd name="connsiteY1" fmla="*/ 96803 h 258141"/>
                <a:gd name="connsiteX2" fmla="*/ 419480 w 516282"/>
                <a:gd name="connsiteY2" fmla="*/ 187153 h 258141"/>
                <a:gd name="connsiteX3" fmla="*/ 96803 w 516282"/>
                <a:gd name="connsiteY3" fmla="*/ 225874 h 258141"/>
                <a:gd name="connsiteX4" fmla="*/ 212967 w 516282"/>
                <a:gd name="connsiteY4" fmla="*/ 109710 h 258141"/>
                <a:gd name="connsiteX5" fmla="*/ 109710 w 516282"/>
                <a:gd name="connsiteY5" fmla="*/ 225874 h 258141"/>
                <a:gd name="connsiteX6" fmla="*/ 393665 w 516282"/>
                <a:gd name="connsiteY6" fmla="*/ 200059 h 258141"/>
                <a:gd name="connsiteX7" fmla="*/ 212967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96803" y="225874"/>
                  </a:moveTo>
                  <a:lnTo>
                    <a:pt x="212967" y="96803"/>
                  </a:lnTo>
                  <a:lnTo>
                    <a:pt x="419480" y="187153"/>
                  </a:lnTo>
                  <a:lnTo>
                    <a:pt x="96803" y="225874"/>
                  </a:lnTo>
                  <a:close/>
                  <a:moveTo>
                    <a:pt x="212967" y="109710"/>
                  </a:moveTo>
                  <a:lnTo>
                    <a:pt x="109710" y="225874"/>
                  </a:lnTo>
                  <a:lnTo>
                    <a:pt x="393665" y="200059"/>
                  </a:lnTo>
                  <a:lnTo>
                    <a:pt x="21296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6" name="Freeform: Shape 2805">
              <a:extLst>
                <a:ext uri="{FF2B5EF4-FFF2-40B4-BE49-F238E27FC236}">
                  <a16:creationId xmlns:a16="http://schemas.microsoft.com/office/drawing/2014/main" id="{A2B461B7-0442-4533-8254-7B395E34152D}"/>
                </a:ext>
              </a:extLst>
            </p:cNvPr>
            <p:cNvSpPr/>
            <p:nvPr/>
          </p:nvSpPr>
          <p:spPr>
            <a:xfrm>
              <a:off x="4687964" y="8752169"/>
              <a:ext cx="516283" cy="387212"/>
            </a:xfrm>
            <a:custGeom>
              <a:avLst/>
              <a:gdLst>
                <a:gd name="connsiteX0" fmla="*/ 419480 w 516282"/>
                <a:gd name="connsiteY0" fmla="*/ 316223 h 387211"/>
                <a:gd name="connsiteX1" fmla="*/ 96803 w 516282"/>
                <a:gd name="connsiteY1" fmla="*/ 316223 h 387211"/>
                <a:gd name="connsiteX2" fmla="*/ 212967 w 516282"/>
                <a:gd name="connsiteY2" fmla="*/ 96803 h 387211"/>
                <a:gd name="connsiteX3" fmla="*/ 419480 w 516282"/>
                <a:gd name="connsiteY3" fmla="*/ 316223 h 387211"/>
                <a:gd name="connsiteX4" fmla="*/ 109710 w 516282"/>
                <a:gd name="connsiteY4" fmla="*/ 303316 h 387211"/>
                <a:gd name="connsiteX5" fmla="*/ 406573 w 516282"/>
                <a:gd name="connsiteY5" fmla="*/ 303316 h 387211"/>
                <a:gd name="connsiteX6" fmla="*/ 212967 w 516282"/>
                <a:gd name="connsiteY6" fmla="*/ 96803 h 387211"/>
                <a:gd name="connsiteX7" fmla="*/ 109710 w 516282"/>
                <a:gd name="connsiteY7" fmla="*/ 303316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19480" y="316223"/>
                  </a:moveTo>
                  <a:lnTo>
                    <a:pt x="96803" y="316223"/>
                  </a:lnTo>
                  <a:lnTo>
                    <a:pt x="212967" y="96803"/>
                  </a:lnTo>
                  <a:lnTo>
                    <a:pt x="419480" y="316223"/>
                  </a:lnTo>
                  <a:close/>
                  <a:moveTo>
                    <a:pt x="109710" y="303316"/>
                  </a:moveTo>
                  <a:lnTo>
                    <a:pt x="406573" y="303316"/>
                  </a:lnTo>
                  <a:lnTo>
                    <a:pt x="212967" y="96803"/>
                  </a:lnTo>
                  <a:lnTo>
                    <a:pt x="109710" y="3033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7" name="Freeform: Shape 2806">
              <a:extLst>
                <a:ext uri="{FF2B5EF4-FFF2-40B4-BE49-F238E27FC236}">
                  <a16:creationId xmlns:a16="http://schemas.microsoft.com/office/drawing/2014/main" id="{18C42127-F1AB-4B48-80BF-CA8ED734DD5A}"/>
                </a:ext>
              </a:extLst>
            </p:cNvPr>
            <p:cNvSpPr/>
            <p:nvPr/>
          </p:nvSpPr>
          <p:spPr>
            <a:xfrm>
              <a:off x="4687964" y="8958682"/>
              <a:ext cx="516283" cy="387212"/>
            </a:xfrm>
            <a:custGeom>
              <a:avLst/>
              <a:gdLst>
                <a:gd name="connsiteX0" fmla="*/ 174246 w 516282"/>
                <a:gd name="connsiteY0" fmla="*/ 329131 h 387211"/>
                <a:gd name="connsiteX1" fmla="*/ 96803 w 516282"/>
                <a:gd name="connsiteY1" fmla="*/ 96803 h 387211"/>
                <a:gd name="connsiteX2" fmla="*/ 419480 w 516282"/>
                <a:gd name="connsiteY2" fmla="*/ 96803 h 387211"/>
                <a:gd name="connsiteX3" fmla="*/ 174246 w 516282"/>
                <a:gd name="connsiteY3" fmla="*/ 329131 h 387211"/>
                <a:gd name="connsiteX4" fmla="*/ 109710 w 516282"/>
                <a:gd name="connsiteY4" fmla="*/ 109710 h 387211"/>
                <a:gd name="connsiteX5" fmla="*/ 187153 w 516282"/>
                <a:gd name="connsiteY5" fmla="*/ 316223 h 387211"/>
                <a:gd name="connsiteX6" fmla="*/ 406573 w 516282"/>
                <a:gd name="connsiteY6" fmla="*/ 109710 h 387211"/>
                <a:gd name="connsiteX7" fmla="*/ 109710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174246" y="329131"/>
                  </a:moveTo>
                  <a:lnTo>
                    <a:pt x="96803" y="96803"/>
                  </a:lnTo>
                  <a:lnTo>
                    <a:pt x="419480" y="96803"/>
                  </a:lnTo>
                  <a:lnTo>
                    <a:pt x="174246" y="329131"/>
                  </a:lnTo>
                  <a:close/>
                  <a:moveTo>
                    <a:pt x="109710" y="109710"/>
                  </a:moveTo>
                  <a:lnTo>
                    <a:pt x="187153" y="316223"/>
                  </a:lnTo>
                  <a:lnTo>
                    <a:pt x="406573" y="10971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8" name="Freeform: Shape 2807">
              <a:extLst>
                <a:ext uri="{FF2B5EF4-FFF2-40B4-BE49-F238E27FC236}">
                  <a16:creationId xmlns:a16="http://schemas.microsoft.com/office/drawing/2014/main" id="{5E95071C-55DE-40CA-9B75-9D6ED0824C68}"/>
                </a:ext>
              </a:extLst>
            </p:cNvPr>
            <p:cNvSpPr/>
            <p:nvPr/>
          </p:nvSpPr>
          <p:spPr>
            <a:xfrm>
              <a:off x="4752499" y="8971589"/>
              <a:ext cx="387212" cy="387212"/>
            </a:xfrm>
            <a:custGeom>
              <a:avLst/>
              <a:gdLst>
                <a:gd name="connsiteX0" fmla="*/ 96803 w 387211"/>
                <a:gd name="connsiteY0" fmla="*/ 316223 h 387211"/>
                <a:gd name="connsiteX1" fmla="*/ 342037 w 387211"/>
                <a:gd name="connsiteY1" fmla="*/ 96803 h 387211"/>
                <a:gd name="connsiteX2" fmla="*/ 367852 w 387211"/>
                <a:gd name="connsiteY2" fmla="*/ 290409 h 387211"/>
                <a:gd name="connsiteX3" fmla="*/ 96803 w 387211"/>
                <a:gd name="connsiteY3" fmla="*/ 316223 h 387211"/>
                <a:gd name="connsiteX4" fmla="*/ 342037 w 387211"/>
                <a:gd name="connsiteY4" fmla="*/ 96803 h 387211"/>
                <a:gd name="connsiteX5" fmla="*/ 122617 w 387211"/>
                <a:gd name="connsiteY5" fmla="*/ 303316 h 387211"/>
                <a:gd name="connsiteX6" fmla="*/ 367852 w 387211"/>
                <a:gd name="connsiteY6" fmla="*/ 277502 h 387211"/>
                <a:gd name="connsiteX7" fmla="*/ 342037 w 38721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16223"/>
                  </a:moveTo>
                  <a:lnTo>
                    <a:pt x="342037" y="96803"/>
                  </a:lnTo>
                  <a:lnTo>
                    <a:pt x="367852" y="290409"/>
                  </a:lnTo>
                  <a:lnTo>
                    <a:pt x="96803" y="316223"/>
                  </a:lnTo>
                  <a:close/>
                  <a:moveTo>
                    <a:pt x="342037" y="96803"/>
                  </a:moveTo>
                  <a:lnTo>
                    <a:pt x="122617" y="303316"/>
                  </a:lnTo>
                  <a:lnTo>
                    <a:pt x="367852" y="277502"/>
                  </a:lnTo>
                  <a:lnTo>
                    <a:pt x="342037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09" name="Freeform: Shape 2808">
              <a:extLst>
                <a:ext uri="{FF2B5EF4-FFF2-40B4-BE49-F238E27FC236}">
                  <a16:creationId xmlns:a16="http://schemas.microsoft.com/office/drawing/2014/main" id="{09356404-D8A0-4FB8-9D8C-6713F9928B19}"/>
                </a:ext>
              </a:extLst>
            </p:cNvPr>
            <p:cNvSpPr/>
            <p:nvPr/>
          </p:nvSpPr>
          <p:spPr>
            <a:xfrm>
              <a:off x="4791221" y="8726355"/>
              <a:ext cx="387212" cy="387212"/>
            </a:xfrm>
            <a:custGeom>
              <a:avLst/>
              <a:gdLst>
                <a:gd name="connsiteX0" fmla="*/ 303316 w 387211"/>
                <a:gd name="connsiteY0" fmla="*/ 342037 h 387211"/>
                <a:gd name="connsiteX1" fmla="*/ 96803 w 387211"/>
                <a:gd name="connsiteY1" fmla="*/ 109710 h 387211"/>
                <a:gd name="connsiteX2" fmla="*/ 354944 w 387211"/>
                <a:gd name="connsiteY2" fmla="*/ 96803 h 387211"/>
                <a:gd name="connsiteX3" fmla="*/ 303316 w 387211"/>
                <a:gd name="connsiteY3" fmla="*/ 342037 h 387211"/>
                <a:gd name="connsiteX4" fmla="*/ 109710 w 387211"/>
                <a:gd name="connsiteY4" fmla="*/ 122617 h 387211"/>
                <a:gd name="connsiteX5" fmla="*/ 303316 w 387211"/>
                <a:gd name="connsiteY5" fmla="*/ 329130 h 387211"/>
                <a:gd name="connsiteX6" fmla="*/ 354944 w 387211"/>
                <a:gd name="connsiteY6" fmla="*/ 109710 h 387211"/>
                <a:gd name="connsiteX7" fmla="*/ 109710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03316" y="342037"/>
                  </a:moveTo>
                  <a:lnTo>
                    <a:pt x="96803" y="109710"/>
                  </a:lnTo>
                  <a:lnTo>
                    <a:pt x="354944" y="96803"/>
                  </a:lnTo>
                  <a:lnTo>
                    <a:pt x="303316" y="342037"/>
                  </a:lnTo>
                  <a:close/>
                  <a:moveTo>
                    <a:pt x="109710" y="122617"/>
                  </a:moveTo>
                  <a:lnTo>
                    <a:pt x="303316" y="329130"/>
                  </a:lnTo>
                  <a:lnTo>
                    <a:pt x="354944" y="109710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0" name="Freeform: Shape 2809">
              <a:extLst>
                <a:ext uri="{FF2B5EF4-FFF2-40B4-BE49-F238E27FC236}">
                  <a16:creationId xmlns:a16="http://schemas.microsoft.com/office/drawing/2014/main" id="{FBA5F8FA-792E-4114-A98E-F4910B0228B8}"/>
                </a:ext>
              </a:extLst>
            </p:cNvPr>
            <p:cNvSpPr/>
            <p:nvPr/>
          </p:nvSpPr>
          <p:spPr>
            <a:xfrm>
              <a:off x="4997734" y="8726355"/>
              <a:ext cx="258141" cy="387212"/>
            </a:xfrm>
            <a:custGeom>
              <a:avLst/>
              <a:gdLst>
                <a:gd name="connsiteX0" fmla="*/ 96803 w 258141"/>
                <a:gd name="connsiteY0" fmla="*/ 342037 h 387211"/>
                <a:gd name="connsiteX1" fmla="*/ 148431 w 258141"/>
                <a:gd name="connsiteY1" fmla="*/ 96803 h 387211"/>
                <a:gd name="connsiteX2" fmla="*/ 251688 w 258141"/>
                <a:gd name="connsiteY2" fmla="*/ 161338 h 387211"/>
                <a:gd name="connsiteX3" fmla="*/ 96803 w 258141"/>
                <a:gd name="connsiteY3" fmla="*/ 342037 h 387211"/>
                <a:gd name="connsiteX4" fmla="*/ 148431 w 258141"/>
                <a:gd name="connsiteY4" fmla="*/ 109710 h 387211"/>
                <a:gd name="connsiteX5" fmla="*/ 109710 w 258141"/>
                <a:gd name="connsiteY5" fmla="*/ 316223 h 387211"/>
                <a:gd name="connsiteX6" fmla="*/ 238781 w 258141"/>
                <a:gd name="connsiteY6" fmla="*/ 161338 h 387211"/>
                <a:gd name="connsiteX7" fmla="*/ 148431 w 25814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42037"/>
                  </a:moveTo>
                  <a:lnTo>
                    <a:pt x="148431" y="96803"/>
                  </a:lnTo>
                  <a:lnTo>
                    <a:pt x="251688" y="161338"/>
                  </a:lnTo>
                  <a:lnTo>
                    <a:pt x="96803" y="342037"/>
                  </a:lnTo>
                  <a:close/>
                  <a:moveTo>
                    <a:pt x="148431" y="109710"/>
                  </a:moveTo>
                  <a:lnTo>
                    <a:pt x="109710" y="316223"/>
                  </a:lnTo>
                  <a:lnTo>
                    <a:pt x="238781" y="161338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1" name="Freeform: Shape 2810">
              <a:extLst>
                <a:ext uri="{FF2B5EF4-FFF2-40B4-BE49-F238E27FC236}">
                  <a16:creationId xmlns:a16="http://schemas.microsoft.com/office/drawing/2014/main" id="{DD1DD428-8D5A-4864-B161-47242348E96E}"/>
                </a:ext>
              </a:extLst>
            </p:cNvPr>
            <p:cNvSpPr/>
            <p:nvPr/>
          </p:nvSpPr>
          <p:spPr>
            <a:xfrm>
              <a:off x="5165525" y="8300422"/>
              <a:ext cx="258141" cy="258141"/>
            </a:xfrm>
            <a:custGeom>
              <a:avLst/>
              <a:gdLst>
                <a:gd name="connsiteX0" fmla="*/ 251688 w 258141"/>
                <a:gd name="connsiteY0" fmla="*/ 212967 h 258141"/>
                <a:gd name="connsiteX1" fmla="*/ 96803 w 258141"/>
                <a:gd name="connsiteY1" fmla="*/ 200059 h 258141"/>
                <a:gd name="connsiteX2" fmla="*/ 264595 w 258141"/>
                <a:gd name="connsiteY2" fmla="*/ 96803 h 258141"/>
                <a:gd name="connsiteX3" fmla="*/ 251688 w 258141"/>
                <a:gd name="connsiteY3" fmla="*/ 212967 h 258141"/>
                <a:gd name="connsiteX4" fmla="*/ 109710 w 258141"/>
                <a:gd name="connsiteY4" fmla="*/ 200059 h 258141"/>
                <a:gd name="connsiteX5" fmla="*/ 238781 w 258141"/>
                <a:gd name="connsiteY5" fmla="*/ 212967 h 258141"/>
                <a:gd name="connsiteX6" fmla="*/ 238781 w 258141"/>
                <a:gd name="connsiteY6" fmla="*/ 109710 h 258141"/>
                <a:gd name="connsiteX7" fmla="*/ 109710 w 258141"/>
                <a:gd name="connsiteY7" fmla="*/ 200059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251688" y="212967"/>
                  </a:moveTo>
                  <a:lnTo>
                    <a:pt x="96803" y="200059"/>
                  </a:lnTo>
                  <a:lnTo>
                    <a:pt x="264595" y="96803"/>
                  </a:lnTo>
                  <a:lnTo>
                    <a:pt x="251688" y="212967"/>
                  </a:lnTo>
                  <a:close/>
                  <a:moveTo>
                    <a:pt x="109710" y="200059"/>
                  </a:moveTo>
                  <a:lnTo>
                    <a:pt x="238781" y="212967"/>
                  </a:lnTo>
                  <a:lnTo>
                    <a:pt x="238781" y="109710"/>
                  </a:lnTo>
                  <a:lnTo>
                    <a:pt x="109710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2" name="Freeform: Shape 2811">
              <a:extLst>
                <a:ext uri="{FF2B5EF4-FFF2-40B4-BE49-F238E27FC236}">
                  <a16:creationId xmlns:a16="http://schemas.microsoft.com/office/drawing/2014/main" id="{DD48536B-2723-4486-92F5-B9ABBE8CDBD0}"/>
                </a:ext>
              </a:extLst>
            </p:cNvPr>
            <p:cNvSpPr/>
            <p:nvPr/>
          </p:nvSpPr>
          <p:spPr>
            <a:xfrm>
              <a:off x="6365882" y="6144942"/>
              <a:ext cx="387212" cy="516283"/>
            </a:xfrm>
            <a:custGeom>
              <a:avLst/>
              <a:gdLst>
                <a:gd name="connsiteX0" fmla="*/ 316223 w 387211"/>
                <a:gd name="connsiteY0" fmla="*/ 522736 h 516282"/>
                <a:gd name="connsiteX1" fmla="*/ 96803 w 387211"/>
                <a:gd name="connsiteY1" fmla="*/ 96803 h 516282"/>
                <a:gd name="connsiteX2" fmla="*/ 329131 w 387211"/>
                <a:gd name="connsiteY2" fmla="*/ 251688 h 516282"/>
                <a:gd name="connsiteX3" fmla="*/ 329131 w 387211"/>
                <a:gd name="connsiteY3" fmla="*/ 251688 h 516282"/>
                <a:gd name="connsiteX4" fmla="*/ 316223 w 387211"/>
                <a:gd name="connsiteY4" fmla="*/ 522736 h 516282"/>
                <a:gd name="connsiteX5" fmla="*/ 109710 w 387211"/>
                <a:gd name="connsiteY5" fmla="*/ 122617 h 516282"/>
                <a:gd name="connsiteX6" fmla="*/ 316223 w 387211"/>
                <a:gd name="connsiteY6" fmla="*/ 509829 h 516282"/>
                <a:gd name="connsiteX7" fmla="*/ 329131 w 387211"/>
                <a:gd name="connsiteY7" fmla="*/ 264595 h 516282"/>
                <a:gd name="connsiteX8" fmla="*/ 109710 w 387211"/>
                <a:gd name="connsiteY8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516282">
                  <a:moveTo>
                    <a:pt x="316223" y="522736"/>
                  </a:moveTo>
                  <a:lnTo>
                    <a:pt x="96803" y="96803"/>
                  </a:lnTo>
                  <a:lnTo>
                    <a:pt x="329131" y="251688"/>
                  </a:lnTo>
                  <a:lnTo>
                    <a:pt x="329131" y="251688"/>
                  </a:lnTo>
                  <a:lnTo>
                    <a:pt x="316223" y="522736"/>
                  </a:lnTo>
                  <a:close/>
                  <a:moveTo>
                    <a:pt x="109710" y="122617"/>
                  </a:moveTo>
                  <a:lnTo>
                    <a:pt x="316223" y="509829"/>
                  </a:lnTo>
                  <a:lnTo>
                    <a:pt x="329131" y="264595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3" name="Freeform: Shape 2812">
              <a:extLst>
                <a:ext uri="{FF2B5EF4-FFF2-40B4-BE49-F238E27FC236}">
                  <a16:creationId xmlns:a16="http://schemas.microsoft.com/office/drawing/2014/main" id="{6A40E099-7796-4193-8447-4C142123DDB2}"/>
                </a:ext>
              </a:extLst>
            </p:cNvPr>
            <p:cNvSpPr/>
            <p:nvPr/>
          </p:nvSpPr>
          <p:spPr>
            <a:xfrm>
              <a:off x="5823786" y="5912615"/>
              <a:ext cx="387212" cy="258141"/>
            </a:xfrm>
            <a:custGeom>
              <a:avLst/>
              <a:gdLst>
                <a:gd name="connsiteX0" fmla="*/ 303316 w 387211"/>
                <a:gd name="connsiteY0" fmla="*/ 212967 h 258141"/>
                <a:gd name="connsiteX1" fmla="*/ 96803 w 387211"/>
                <a:gd name="connsiteY1" fmla="*/ 212967 h 258141"/>
                <a:gd name="connsiteX2" fmla="*/ 174245 w 387211"/>
                <a:gd name="connsiteY2" fmla="*/ 96803 h 258141"/>
                <a:gd name="connsiteX3" fmla="*/ 303316 w 387211"/>
                <a:gd name="connsiteY3" fmla="*/ 212967 h 258141"/>
                <a:gd name="connsiteX4" fmla="*/ 96803 w 387211"/>
                <a:gd name="connsiteY4" fmla="*/ 200059 h 258141"/>
                <a:gd name="connsiteX5" fmla="*/ 277502 w 387211"/>
                <a:gd name="connsiteY5" fmla="*/ 200059 h 258141"/>
                <a:gd name="connsiteX6" fmla="*/ 174245 w 387211"/>
                <a:gd name="connsiteY6" fmla="*/ 96803 h 258141"/>
                <a:gd name="connsiteX7" fmla="*/ 96803 w 387211"/>
                <a:gd name="connsiteY7" fmla="*/ 200059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03316" y="212967"/>
                  </a:moveTo>
                  <a:lnTo>
                    <a:pt x="96803" y="212967"/>
                  </a:lnTo>
                  <a:lnTo>
                    <a:pt x="174245" y="96803"/>
                  </a:lnTo>
                  <a:lnTo>
                    <a:pt x="303316" y="212967"/>
                  </a:lnTo>
                  <a:close/>
                  <a:moveTo>
                    <a:pt x="96803" y="200059"/>
                  </a:moveTo>
                  <a:lnTo>
                    <a:pt x="277502" y="200059"/>
                  </a:lnTo>
                  <a:lnTo>
                    <a:pt x="174245" y="96803"/>
                  </a:lnTo>
                  <a:lnTo>
                    <a:pt x="96803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4" name="Freeform: Shape 2813">
              <a:extLst>
                <a:ext uri="{FF2B5EF4-FFF2-40B4-BE49-F238E27FC236}">
                  <a16:creationId xmlns:a16="http://schemas.microsoft.com/office/drawing/2014/main" id="{453D9A17-33AA-4B7C-B0AE-4123723CFEC6}"/>
                </a:ext>
              </a:extLst>
            </p:cNvPr>
            <p:cNvSpPr/>
            <p:nvPr/>
          </p:nvSpPr>
          <p:spPr>
            <a:xfrm>
              <a:off x="5655994" y="5731916"/>
              <a:ext cx="258141" cy="387212"/>
            </a:xfrm>
            <a:custGeom>
              <a:avLst/>
              <a:gdLst>
                <a:gd name="connsiteX0" fmla="*/ 264595 w 258141"/>
                <a:gd name="connsiteY0" fmla="*/ 393666 h 387211"/>
                <a:gd name="connsiteX1" fmla="*/ 96803 w 258141"/>
                <a:gd name="connsiteY1" fmla="*/ 122617 h 387211"/>
                <a:gd name="connsiteX2" fmla="*/ 277502 w 258141"/>
                <a:gd name="connsiteY2" fmla="*/ 96803 h 387211"/>
                <a:gd name="connsiteX3" fmla="*/ 264595 w 258141"/>
                <a:gd name="connsiteY3" fmla="*/ 393666 h 387211"/>
                <a:gd name="connsiteX4" fmla="*/ 109710 w 258141"/>
                <a:gd name="connsiteY4" fmla="*/ 122617 h 387211"/>
                <a:gd name="connsiteX5" fmla="*/ 264595 w 258141"/>
                <a:gd name="connsiteY5" fmla="*/ 367852 h 387211"/>
                <a:gd name="connsiteX6" fmla="*/ 264595 w 258141"/>
                <a:gd name="connsiteY6" fmla="*/ 96803 h 387211"/>
                <a:gd name="connsiteX7" fmla="*/ 109710 w 25814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64595" y="393666"/>
                  </a:moveTo>
                  <a:lnTo>
                    <a:pt x="96803" y="122617"/>
                  </a:lnTo>
                  <a:lnTo>
                    <a:pt x="277502" y="96803"/>
                  </a:lnTo>
                  <a:lnTo>
                    <a:pt x="264595" y="393666"/>
                  </a:lnTo>
                  <a:close/>
                  <a:moveTo>
                    <a:pt x="109710" y="122617"/>
                  </a:moveTo>
                  <a:lnTo>
                    <a:pt x="264595" y="367852"/>
                  </a:lnTo>
                  <a:lnTo>
                    <a:pt x="264595" y="96803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5" name="Freeform: Shape 2814">
              <a:extLst>
                <a:ext uri="{FF2B5EF4-FFF2-40B4-BE49-F238E27FC236}">
                  <a16:creationId xmlns:a16="http://schemas.microsoft.com/office/drawing/2014/main" id="{03350061-26B8-4804-AA61-0BFEE27234F1}"/>
                </a:ext>
              </a:extLst>
            </p:cNvPr>
            <p:cNvSpPr/>
            <p:nvPr/>
          </p:nvSpPr>
          <p:spPr>
            <a:xfrm>
              <a:off x="5823786" y="5719009"/>
              <a:ext cx="258141" cy="387212"/>
            </a:xfrm>
            <a:custGeom>
              <a:avLst/>
              <a:gdLst>
                <a:gd name="connsiteX0" fmla="*/ 96803 w 258141"/>
                <a:gd name="connsiteY0" fmla="*/ 406573 h 387211"/>
                <a:gd name="connsiteX1" fmla="*/ 109710 w 258141"/>
                <a:gd name="connsiteY1" fmla="*/ 96803 h 387211"/>
                <a:gd name="connsiteX2" fmla="*/ 187152 w 258141"/>
                <a:gd name="connsiteY2" fmla="*/ 290409 h 387211"/>
                <a:gd name="connsiteX3" fmla="*/ 96803 w 258141"/>
                <a:gd name="connsiteY3" fmla="*/ 406573 h 387211"/>
                <a:gd name="connsiteX4" fmla="*/ 109710 w 258141"/>
                <a:gd name="connsiteY4" fmla="*/ 135524 h 387211"/>
                <a:gd name="connsiteX5" fmla="*/ 109710 w 258141"/>
                <a:gd name="connsiteY5" fmla="*/ 393665 h 387211"/>
                <a:gd name="connsiteX6" fmla="*/ 174245 w 258141"/>
                <a:gd name="connsiteY6" fmla="*/ 303316 h 387211"/>
                <a:gd name="connsiteX7" fmla="*/ 109710 w 25814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406573"/>
                  </a:moveTo>
                  <a:lnTo>
                    <a:pt x="109710" y="96803"/>
                  </a:lnTo>
                  <a:lnTo>
                    <a:pt x="187152" y="290409"/>
                  </a:lnTo>
                  <a:lnTo>
                    <a:pt x="96803" y="406573"/>
                  </a:lnTo>
                  <a:close/>
                  <a:moveTo>
                    <a:pt x="109710" y="135524"/>
                  </a:moveTo>
                  <a:lnTo>
                    <a:pt x="109710" y="393665"/>
                  </a:lnTo>
                  <a:lnTo>
                    <a:pt x="174245" y="303316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6" name="Freeform: Shape 2815">
              <a:extLst>
                <a:ext uri="{FF2B5EF4-FFF2-40B4-BE49-F238E27FC236}">
                  <a16:creationId xmlns:a16="http://schemas.microsoft.com/office/drawing/2014/main" id="{A5E8CECB-BD1B-430C-904D-5228936BC236}"/>
                </a:ext>
              </a:extLst>
            </p:cNvPr>
            <p:cNvSpPr/>
            <p:nvPr/>
          </p:nvSpPr>
          <p:spPr>
            <a:xfrm>
              <a:off x="5488202" y="5615753"/>
              <a:ext cx="258141" cy="258141"/>
            </a:xfrm>
            <a:custGeom>
              <a:avLst/>
              <a:gdLst>
                <a:gd name="connsiteX0" fmla="*/ 277502 w 258141"/>
                <a:gd name="connsiteY0" fmla="*/ 238780 h 258141"/>
                <a:gd name="connsiteX1" fmla="*/ 96803 w 258141"/>
                <a:gd name="connsiteY1" fmla="*/ 148431 h 258141"/>
                <a:gd name="connsiteX2" fmla="*/ 264595 w 258141"/>
                <a:gd name="connsiteY2" fmla="*/ 96803 h 258141"/>
                <a:gd name="connsiteX3" fmla="*/ 277502 w 258141"/>
                <a:gd name="connsiteY3" fmla="*/ 238780 h 258141"/>
                <a:gd name="connsiteX4" fmla="*/ 109710 w 258141"/>
                <a:gd name="connsiteY4" fmla="*/ 161338 h 258141"/>
                <a:gd name="connsiteX5" fmla="*/ 264595 w 258141"/>
                <a:gd name="connsiteY5" fmla="*/ 238780 h 258141"/>
                <a:gd name="connsiteX6" fmla="*/ 251688 w 258141"/>
                <a:gd name="connsiteY6" fmla="*/ 122617 h 258141"/>
                <a:gd name="connsiteX7" fmla="*/ 109710 w 258141"/>
                <a:gd name="connsiteY7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277502" y="238780"/>
                  </a:moveTo>
                  <a:lnTo>
                    <a:pt x="96803" y="148431"/>
                  </a:lnTo>
                  <a:lnTo>
                    <a:pt x="264595" y="96803"/>
                  </a:lnTo>
                  <a:lnTo>
                    <a:pt x="277502" y="238780"/>
                  </a:lnTo>
                  <a:close/>
                  <a:moveTo>
                    <a:pt x="109710" y="161338"/>
                  </a:moveTo>
                  <a:lnTo>
                    <a:pt x="264595" y="238780"/>
                  </a:lnTo>
                  <a:lnTo>
                    <a:pt x="251688" y="122617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7" name="Freeform: Shape 2816">
              <a:extLst>
                <a:ext uri="{FF2B5EF4-FFF2-40B4-BE49-F238E27FC236}">
                  <a16:creationId xmlns:a16="http://schemas.microsoft.com/office/drawing/2014/main" id="{1C3F47BA-B053-4C55-92B9-EE5A4E1817F7}"/>
                </a:ext>
              </a:extLst>
            </p:cNvPr>
            <p:cNvSpPr/>
            <p:nvPr/>
          </p:nvSpPr>
          <p:spPr>
            <a:xfrm>
              <a:off x="5643087" y="5628660"/>
              <a:ext cx="387212" cy="258141"/>
            </a:xfrm>
            <a:custGeom>
              <a:avLst/>
              <a:gdLst>
                <a:gd name="connsiteX0" fmla="*/ 109710 w 387211"/>
                <a:gd name="connsiteY0" fmla="*/ 225874 h 258141"/>
                <a:gd name="connsiteX1" fmla="*/ 96803 w 387211"/>
                <a:gd name="connsiteY1" fmla="*/ 96803 h 258141"/>
                <a:gd name="connsiteX2" fmla="*/ 290409 w 387211"/>
                <a:gd name="connsiteY2" fmla="*/ 212967 h 258141"/>
                <a:gd name="connsiteX3" fmla="*/ 109710 w 387211"/>
                <a:gd name="connsiteY3" fmla="*/ 225874 h 258141"/>
                <a:gd name="connsiteX4" fmla="*/ 109710 w 387211"/>
                <a:gd name="connsiteY4" fmla="*/ 109710 h 258141"/>
                <a:gd name="connsiteX5" fmla="*/ 122617 w 387211"/>
                <a:gd name="connsiteY5" fmla="*/ 225874 h 258141"/>
                <a:gd name="connsiteX6" fmla="*/ 277502 w 387211"/>
                <a:gd name="connsiteY6" fmla="*/ 200059 h 258141"/>
                <a:gd name="connsiteX7" fmla="*/ 109710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109710" y="225874"/>
                  </a:moveTo>
                  <a:lnTo>
                    <a:pt x="96803" y="96803"/>
                  </a:lnTo>
                  <a:lnTo>
                    <a:pt x="290409" y="212967"/>
                  </a:lnTo>
                  <a:lnTo>
                    <a:pt x="109710" y="225874"/>
                  </a:lnTo>
                  <a:close/>
                  <a:moveTo>
                    <a:pt x="109710" y="109710"/>
                  </a:moveTo>
                  <a:lnTo>
                    <a:pt x="122617" y="225874"/>
                  </a:lnTo>
                  <a:lnTo>
                    <a:pt x="277502" y="200059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8" name="Freeform: Shape 2817">
              <a:extLst>
                <a:ext uri="{FF2B5EF4-FFF2-40B4-BE49-F238E27FC236}">
                  <a16:creationId xmlns:a16="http://schemas.microsoft.com/office/drawing/2014/main" id="{EAB63D1C-655E-4600-B009-8E29A7527131}"/>
                </a:ext>
              </a:extLst>
            </p:cNvPr>
            <p:cNvSpPr/>
            <p:nvPr/>
          </p:nvSpPr>
          <p:spPr>
            <a:xfrm>
              <a:off x="4597615" y="5615753"/>
              <a:ext cx="645353" cy="258141"/>
            </a:xfrm>
            <a:custGeom>
              <a:avLst/>
              <a:gdLst>
                <a:gd name="connsiteX0" fmla="*/ 109710 w 645353"/>
                <a:gd name="connsiteY0" fmla="*/ 264595 h 258141"/>
                <a:gd name="connsiteX1" fmla="*/ 96803 w 645353"/>
                <a:gd name="connsiteY1" fmla="*/ 96803 h 258141"/>
                <a:gd name="connsiteX2" fmla="*/ 96803 w 645353"/>
                <a:gd name="connsiteY2" fmla="*/ 96803 h 258141"/>
                <a:gd name="connsiteX3" fmla="*/ 548550 w 645353"/>
                <a:gd name="connsiteY3" fmla="*/ 225874 h 258141"/>
                <a:gd name="connsiteX4" fmla="*/ 109710 w 645353"/>
                <a:gd name="connsiteY4" fmla="*/ 264595 h 258141"/>
                <a:gd name="connsiteX5" fmla="*/ 109710 w 645353"/>
                <a:gd name="connsiteY5" fmla="*/ 109710 h 258141"/>
                <a:gd name="connsiteX6" fmla="*/ 122617 w 645353"/>
                <a:gd name="connsiteY6" fmla="*/ 264595 h 258141"/>
                <a:gd name="connsiteX7" fmla="*/ 522736 w 645353"/>
                <a:gd name="connsiteY7" fmla="*/ 238780 h 258141"/>
                <a:gd name="connsiteX8" fmla="*/ 109710 w 645353"/>
                <a:gd name="connsiteY8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258141">
                  <a:moveTo>
                    <a:pt x="109710" y="264595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548550" y="225874"/>
                  </a:lnTo>
                  <a:lnTo>
                    <a:pt x="109710" y="264595"/>
                  </a:lnTo>
                  <a:close/>
                  <a:moveTo>
                    <a:pt x="109710" y="109710"/>
                  </a:moveTo>
                  <a:lnTo>
                    <a:pt x="122617" y="264595"/>
                  </a:lnTo>
                  <a:lnTo>
                    <a:pt x="522736" y="23878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19" name="Freeform: Shape 2818">
              <a:extLst>
                <a:ext uri="{FF2B5EF4-FFF2-40B4-BE49-F238E27FC236}">
                  <a16:creationId xmlns:a16="http://schemas.microsoft.com/office/drawing/2014/main" id="{E6692B72-DB5A-4235-8047-DD6B9069A7BF}"/>
                </a:ext>
              </a:extLst>
            </p:cNvPr>
            <p:cNvSpPr/>
            <p:nvPr/>
          </p:nvSpPr>
          <p:spPr>
            <a:xfrm>
              <a:off x="4597615" y="5460868"/>
              <a:ext cx="516283" cy="387212"/>
            </a:xfrm>
            <a:custGeom>
              <a:avLst/>
              <a:gdLst>
                <a:gd name="connsiteX0" fmla="*/ 535643 w 516282"/>
                <a:gd name="connsiteY0" fmla="*/ 393665 h 387211"/>
                <a:gd name="connsiteX1" fmla="*/ 96803 w 516282"/>
                <a:gd name="connsiteY1" fmla="*/ 264595 h 387211"/>
                <a:gd name="connsiteX2" fmla="*/ 354944 w 516282"/>
                <a:gd name="connsiteY2" fmla="*/ 96803 h 387211"/>
                <a:gd name="connsiteX3" fmla="*/ 535643 w 516282"/>
                <a:gd name="connsiteY3" fmla="*/ 393665 h 387211"/>
                <a:gd name="connsiteX4" fmla="*/ 109710 w 516282"/>
                <a:gd name="connsiteY4" fmla="*/ 264595 h 387211"/>
                <a:gd name="connsiteX5" fmla="*/ 522736 w 516282"/>
                <a:gd name="connsiteY5" fmla="*/ 380759 h 387211"/>
                <a:gd name="connsiteX6" fmla="*/ 354944 w 516282"/>
                <a:gd name="connsiteY6" fmla="*/ 96803 h 387211"/>
                <a:gd name="connsiteX7" fmla="*/ 109710 w 516282"/>
                <a:gd name="connsiteY7" fmla="*/ 26459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535643" y="393665"/>
                  </a:moveTo>
                  <a:lnTo>
                    <a:pt x="96803" y="264595"/>
                  </a:lnTo>
                  <a:lnTo>
                    <a:pt x="354944" y="96803"/>
                  </a:lnTo>
                  <a:lnTo>
                    <a:pt x="535643" y="393665"/>
                  </a:lnTo>
                  <a:close/>
                  <a:moveTo>
                    <a:pt x="109710" y="264595"/>
                  </a:moveTo>
                  <a:lnTo>
                    <a:pt x="522736" y="380759"/>
                  </a:lnTo>
                  <a:lnTo>
                    <a:pt x="354944" y="96803"/>
                  </a:lnTo>
                  <a:lnTo>
                    <a:pt x="109710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0" name="Freeform: Shape 2819">
              <a:extLst>
                <a:ext uri="{FF2B5EF4-FFF2-40B4-BE49-F238E27FC236}">
                  <a16:creationId xmlns:a16="http://schemas.microsoft.com/office/drawing/2014/main" id="{82260B4C-56CA-4348-892E-041C31AE334B}"/>
                </a:ext>
              </a:extLst>
            </p:cNvPr>
            <p:cNvSpPr/>
            <p:nvPr/>
          </p:nvSpPr>
          <p:spPr>
            <a:xfrm>
              <a:off x="4855756" y="5396332"/>
              <a:ext cx="387212" cy="516283"/>
            </a:xfrm>
            <a:custGeom>
              <a:avLst/>
              <a:gdLst>
                <a:gd name="connsiteX0" fmla="*/ 277502 w 387211"/>
                <a:gd name="connsiteY0" fmla="*/ 458201 h 516282"/>
                <a:gd name="connsiteX1" fmla="*/ 96803 w 387211"/>
                <a:gd name="connsiteY1" fmla="*/ 161338 h 516282"/>
                <a:gd name="connsiteX2" fmla="*/ 96803 w 387211"/>
                <a:gd name="connsiteY2" fmla="*/ 161338 h 516282"/>
                <a:gd name="connsiteX3" fmla="*/ 406572 w 387211"/>
                <a:gd name="connsiteY3" fmla="*/ 96803 h 516282"/>
                <a:gd name="connsiteX4" fmla="*/ 277502 w 387211"/>
                <a:gd name="connsiteY4" fmla="*/ 458201 h 516282"/>
                <a:gd name="connsiteX5" fmla="*/ 96803 w 387211"/>
                <a:gd name="connsiteY5" fmla="*/ 161338 h 516282"/>
                <a:gd name="connsiteX6" fmla="*/ 264595 w 387211"/>
                <a:gd name="connsiteY6" fmla="*/ 445294 h 516282"/>
                <a:gd name="connsiteX7" fmla="*/ 393665 w 387211"/>
                <a:gd name="connsiteY7" fmla="*/ 109710 h 516282"/>
                <a:gd name="connsiteX8" fmla="*/ 96803 w 387211"/>
                <a:gd name="connsiteY8" fmla="*/ 16133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516282">
                  <a:moveTo>
                    <a:pt x="277502" y="458201"/>
                  </a:moveTo>
                  <a:lnTo>
                    <a:pt x="96803" y="161338"/>
                  </a:lnTo>
                  <a:lnTo>
                    <a:pt x="96803" y="161338"/>
                  </a:lnTo>
                  <a:lnTo>
                    <a:pt x="406572" y="96803"/>
                  </a:lnTo>
                  <a:lnTo>
                    <a:pt x="277502" y="458201"/>
                  </a:lnTo>
                  <a:close/>
                  <a:moveTo>
                    <a:pt x="96803" y="161338"/>
                  </a:moveTo>
                  <a:lnTo>
                    <a:pt x="264595" y="445294"/>
                  </a:lnTo>
                  <a:lnTo>
                    <a:pt x="393665" y="109710"/>
                  </a:lnTo>
                  <a:lnTo>
                    <a:pt x="96803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1" name="Freeform: Shape 2820">
              <a:extLst>
                <a:ext uri="{FF2B5EF4-FFF2-40B4-BE49-F238E27FC236}">
                  <a16:creationId xmlns:a16="http://schemas.microsoft.com/office/drawing/2014/main" id="{4E8313FE-116E-4D80-B262-83FE633ABC7A}"/>
                </a:ext>
              </a:extLst>
            </p:cNvPr>
            <p:cNvSpPr/>
            <p:nvPr/>
          </p:nvSpPr>
          <p:spPr>
            <a:xfrm>
              <a:off x="5023548" y="5396332"/>
              <a:ext cx="516283" cy="516283"/>
            </a:xfrm>
            <a:custGeom>
              <a:avLst/>
              <a:gdLst>
                <a:gd name="connsiteX0" fmla="*/ 96803 w 516282"/>
                <a:gd name="connsiteY0" fmla="*/ 458201 h 516282"/>
                <a:gd name="connsiteX1" fmla="*/ 238781 w 516282"/>
                <a:gd name="connsiteY1" fmla="*/ 96803 h 516282"/>
                <a:gd name="connsiteX2" fmla="*/ 496922 w 516282"/>
                <a:gd name="connsiteY2" fmla="*/ 174245 h 516282"/>
                <a:gd name="connsiteX3" fmla="*/ 96803 w 516282"/>
                <a:gd name="connsiteY3" fmla="*/ 458201 h 516282"/>
                <a:gd name="connsiteX4" fmla="*/ 238781 w 516282"/>
                <a:gd name="connsiteY4" fmla="*/ 109710 h 516282"/>
                <a:gd name="connsiteX5" fmla="*/ 109710 w 516282"/>
                <a:gd name="connsiteY5" fmla="*/ 445294 h 516282"/>
                <a:gd name="connsiteX6" fmla="*/ 471108 w 516282"/>
                <a:gd name="connsiteY6" fmla="*/ 187153 h 516282"/>
                <a:gd name="connsiteX7" fmla="*/ 238781 w 516282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96803" y="458201"/>
                  </a:moveTo>
                  <a:lnTo>
                    <a:pt x="238781" y="96803"/>
                  </a:lnTo>
                  <a:lnTo>
                    <a:pt x="496922" y="174245"/>
                  </a:lnTo>
                  <a:lnTo>
                    <a:pt x="96803" y="458201"/>
                  </a:lnTo>
                  <a:close/>
                  <a:moveTo>
                    <a:pt x="238781" y="109710"/>
                  </a:moveTo>
                  <a:lnTo>
                    <a:pt x="109710" y="445294"/>
                  </a:lnTo>
                  <a:lnTo>
                    <a:pt x="471108" y="187153"/>
                  </a:lnTo>
                  <a:lnTo>
                    <a:pt x="23878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2" name="Freeform: Shape 2821">
              <a:extLst>
                <a:ext uri="{FF2B5EF4-FFF2-40B4-BE49-F238E27FC236}">
                  <a16:creationId xmlns:a16="http://schemas.microsoft.com/office/drawing/2014/main" id="{60CB9632-C4CF-48E3-AEE4-4DB8BF4EEC15}"/>
                </a:ext>
              </a:extLst>
            </p:cNvPr>
            <p:cNvSpPr/>
            <p:nvPr/>
          </p:nvSpPr>
          <p:spPr>
            <a:xfrm>
              <a:off x="5023548" y="5473775"/>
              <a:ext cx="645353" cy="387212"/>
            </a:xfrm>
            <a:custGeom>
              <a:avLst/>
              <a:gdLst>
                <a:gd name="connsiteX0" fmla="*/ 96803 w 645353"/>
                <a:gd name="connsiteY0" fmla="*/ 380759 h 387211"/>
                <a:gd name="connsiteX1" fmla="*/ 496922 w 645353"/>
                <a:gd name="connsiteY1" fmla="*/ 96803 h 387211"/>
                <a:gd name="connsiteX2" fmla="*/ 587271 w 645353"/>
                <a:gd name="connsiteY2" fmla="*/ 303316 h 387211"/>
                <a:gd name="connsiteX3" fmla="*/ 587271 w 645353"/>
                <a:gd name="connsiteY3" fmla="*/ 303316 h 387211"/>
                <a:gd name="connsiteX4" fmla="*/ 96803 w 645353"/>
                <a:gd name="connsiteY4" fmla="*/ 380759 h 387211"/>
                <a:gd name="connsiteX5" fmla="*/ 484015 w 645353"/>
                <a:gd name="connsiteY5" fmla="*/ 109710 h 387211"/>
                <a:gd name="connsiteX6" fmla="*/ 122617 w 645353"/>
                <a:gd name="connsiteY6" fmla="*/ 367852 h 387211"/>
                <a:gd name="connsiteX7" fmla="*/ 561457 w 645353"/>
                <a:gd name="connsiteY7" fmla="*/ 303316 h 387211"/>
                <a:gd name="connsiteX8" fmla="*/ 484015 w 645353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96803" y="380759"/>
                  </a:moveTo>
                  <a:lnTo>
                    <a:pt x="496922" y="96803"/>
                  </a:lnTo>
                  <a:lnTo>
                    <a:pt x="587271" y="303316"/>
                  </a:lnTo>
                  <a:lnTo>
                    <a:pt x="587271" y="303316"/>
                  </a:lnTo>
                  <a:lnTo>
                    <a:pt x="96803" y="380759"/>
                  </a:lnTo>
                  <a:close/>
                  <a:moveTo>
                    <a:pt x="484015" y="109710"/>
                  </a:moveTo>
                  <a:lnTo>
                    <a:pt x="122617" y="367852"/>
                  </a:lnTo>
                  <a:lnTo>
                    <a:pt x="561457" y="303316"/>
                  </a:lnTo>
                  <a:lnTo>
                    <a:pt x="48401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3" name="Freeform: Shape 2822">
              <a:extLst>
                <a:ext uri="{FF2B5EF4-FFF2-40B4-BE49-F238E27FC236}">
                  <a16:creationId xmlns:a16="http://schemas.microsoft.com/office/drawing/2014/main" id="{0E71A881-7CE9-4DF7-9CD3-1E1938BEFB91}"/>
                </a:ext>
              </a:extLst>
            </p:cNvPr>
            <p:cNvSpPr/>
            <p:nvPr/>
          </p:nvSpPr>
          <p:spPr>
            <a:xfrm>
              <a:off x="5449481" y="5680288"/>
              <a:ext cx="387212" cy="516283"/>
            </a:xfrm>
            <a:custGeom>
              <a:avLst/>
              <a:gdLst>
                <a:gd name="connsiteX0" fmla="*/ 96803 w 387211"/>
                <a:gd name="connsiteY0" fmla="*/ 445294 h 516282"/>
                <a:gd name="connsiteX1" fmla="*/ 135524 w 387211"/>
                <a:gd name="connsiteY1" fmla="*/ 96803 h 516282"/>
                <a:gd name="connsiteX2" fmla="*/ 316223 w 387211"/>
                <a:gd name="connsiteY2" fmla="*/ 174245 h 516282"/>
                <a:gd name="connsiteX3" fmla="*/ 96803 w 387211"/>
                <a:gd name="connsiteY3" fmla="*/ 445294 h 516282"/>
                <a:gd name="connsiteX4" fmla="*/ 148431 w 387211"/>
                <a:gd name="connsiteY4" fmla="*/ 96803 h 516282"/>
                <a:gd name="connsiteX5" fmla="*/ 122617 w 387211"/>
                <a:gd name="connsiteY5" fmla="*/ 419480 h 516282"/>
                <a:gd name="connsiteX6" fmla="*/ 316223 w 387211"/>
                <a:gd name="connsiteY6" fmla="*/ 174245 h 516282"/>
                <a:gd name="connsiteX7" fmla="*/ 148431 w 387211"/>
                <a:gd name="connsiteY7" fmla="*/ 9680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96803" y="445294"/>
                  </a:moveTo>
                  <a:lnTo>
                    <a:pt x="135524" y="96803"/>
                  </a:lnTo>
                  <a:lnTo>
                    <a:pt x="316223" y="174245"/>
                  </a:lnTo>
                  <a:lnTo>
                    <a:pt x="96803" y="445294"/>
                  </a:lnTo>
                  <a:close/>
                  <a:moveTo>
                    <a:pt x="148431" y="96803"/>
                  </a:moveTo>
                  <a:lnTo>
                    <a:pt x="122617" y="419480"/>
                  </a:lnTo>
                  <a:lnTo>
                    <a:pt x="316223" y="174245"/>
                  </a:lnTo>
                  <a:lnTo>
                    <a:pt x="148431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4" name="Freeform: Shape 2823">
              <a:extLst>
                <a:ext uri="{FF2B5EF4-FFF2-40B4-BE49-F238E27FC236}">
                  <a16:creationId xmlns:a16="http://schemas.microsoft.com/office/drawing/2014/main" id="{C8580DF2-AFB2-4D29-9766-CCE2607ABDE5}"/>
                </a:ext>
              </a:extLst>
            </p:cNvPr>
            <p:cNvSpPr/>
            <p:nvPr/>
          </p:nvSpPr>
          <p:spPr>
            <a:xfrm>
              <a:off x="5449481" y="5744823"/>
              <a:ext cx="516283" cy="387212"/>
            </a:xfrm>
            <a:custGeom>
              <a:avLst/>
              <a:gdLst>
                <a:gd name="connsiteX0" fmla="*/ 471108 w 516282"/>
                <a:gd name="connsiteY0" fmla="*/ 380759 h 387211"/>
                <a:gd name="connsiteX1" fmla="*/ 96803 w 516282"/>
                <a:gd name="connsiteY1" fmla="*/ 367851 h 387211"/>
                <a:gd name="connsiteX2" fmla="*/ 303316 w 516282"/>
                <a:gd name="connsiteY2" fmla="*/ 96803 h 387211"/>
                <a:gd name="connsiteX3" fmla="*/ 471108 w 516282"/>
                <a:gd name="connsiteY3" fmla="*/ 380759 h 387211"/>
                <a:gd name="connsiteX4" fmla="*/ 109710 w 516282"/>
                <a:gd name="connsiteY4" fmla="*/ 367851 h 387211"/>
                <a:gd name="connsiteX5" fmla="*/ 458201 w 516282"/>
                <a:gd name="connsiteY5" fmla="*/ 367851 h 387211"/>
                <a:gd name="connsiteX6" fmla="*/ 303316 w 516282"/>
                <a:gd name="connsiteY6" fmla="*/ 109710 h 387211"/>
                <a:gd name="connsiteX7" fmla="*/ 109710 w 516282"/>
                <a:gd name="connsiteY7" fmla="*/ 36785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71108" y="380759"/>
                  </a:moveTo>
                  <a:lnTo>
                    <a:pt x="96803" y="367851"/>
                  </a:lnTo>
                  <a:lnTo>
                    <a:pt x="303316" y="96803"/>
                  </a:lnTo>
                  <a:lnTo>
                    <a:pt x="471108" y="380759"/>
                  </a:lnTo>
                  <a:close/>
                  <a:moveTo>
                    <a:pt x="109710" y="367851"/>
                  </a:moveTo>
                  <a:lnTo>
                    <a:pt x="458201" y="367851"/>
                  </a:lnTo>
                  <a:lnTo>
                    <a:pt x="303316" y="109710"/>
                  </a:lnTo>
                  <a:lnTo>
                    <a:pt x="109710" y="367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5" name="Freeform: Shape 2824">
              <a:extLst>
                <a:ext uri="{FF2B5EF4-FFF2-40B4-BE49-F238E27FC236}">
                  <a16:creationId xmlns:a16="http://schemas.microsoft.com/office/drawing/2014/main" id="{66387BF9-205A-4DDE-AC0C-EBBDB409ADA3}"/>
                </a:ext>
              </a:extLst>
            </p:cNvPr>
            <p:cNvSpPr/>
            <p:nvPr/>
          </p:nvSpPr>
          <p:spPr>
            <a:xfrm>
              <a:off x="5023548" y="5667381"/>
              <a:ext cx="645353" cy="516283"/>
            </a:xfrm>
            <a:custGeom>
              <a:avLst/>
              <a:gdLst>
                <a:gd name="connsiteX0" fmla="*/ 535643 w 645353"/>
                <a:gd name="connsiteY0" fmla="*/ 445294 h 516282"/>
                <a:gd name="connsiteX1" fmla="*/ 535643 w 645353"/>
                <a:gd name="connsiteY1" fmla="*/ 445294 h 516282"/>
                <a:gd name="connsiteX2" fmla="*/ 96803 w 645353"/>
                <a:gd name="connsiteY2" fmla="*/ 174246 h 516282"/>
                <a:gd name="connsiteX3" fmla="*/ 574365 w 645353"/>
                <a:gd name="connsiteY3" fmla="*/ 96803 h 516282"/>
                <a:gd name="connsiteX4" fmla="*/ 535643 w 645353"/>
                <a:gd name="connsiteY4" fmla="*/ 445294 h 516282"/>
                <a:gd name="connsiteX5" fmla="*/ 109710 w 645353"/>
                <a:gd name="connsiteY5" fmla="*/ 187153 h 516282"/>
                <a:gd name="connsiteX6" fmla="*/ 522736 w 645353"/>
                <a:gd name="connsiteY6" fmla="*/ 445294 h 516282"/>
                <a:gd name="connsiteX7" fmla="*/ 548550 w 645353"/>
                <a:gd name="connsiteY7" fmla="*/ 122617 h 516282"/>
                <a:gd name="connsiteX8" fmla="*/ 109710 w 645353"/>
                <a:gd name="connsiteY8" fmla="*/ 18715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516282">
                  <a:moveTo>
                    <a:pt x="535643" y="445294"/>
                  </a:moveTo>
                  <a:lnTo>
                    <a:pt x="535643" y="445294"/>
                  </a:lnTo>
                  <a:lnTo>
                    <a:pt x="96803" y="174246"/>
                  </a:lnTo>
                  <a:lnTo>
                    <a:pt x="574365" y="96803"/>
                  </a:lnTo>
                  <a:lnTo>
                    <a:pt x="535643" y="445294"/>
                  </a:lnTo>
                  <a:close/>
                  <a:moveTo>
                    <a:pt x="109710" y="187153"/>
                  </a:moveTo>
                  <a:lnTo>
                    <a:pt x="522736" y="445294"/>
                  </a:lnTo>
                  <a:lnTo>
                    <a:pt x="548550" y="122617"/>
                  </a:lnTo>
                  <a:lnTo>
                    <a:pt x="109710" y="1871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6" name="Freeform: Shape 2825">
              <a:extLst>
                <a:ext uri="{FF2B5EF4-FFF2-40B4-BE49-F238E27FC236}">
                  <a16:creationId xmlns:a16="http://schemas.microsoft.com/office/drawing/2014/main" id="{5AD3BE9E-D000-4022-89FC-905F620EFD62}"/>
                </a:ext>
              </a:extLst>
            </p:cNvPr>
            <p:cNvSpPr/>
            <p:nvPr/>
          </p:nvSpPr>
          <p:spPr>
            <a:xfrm>
              <a:off x="5023548" y="5731916"/>
              <a:ext cx="645353" cy="516283"/>
            </a:xfrm>
            <a:custGeom>
              <a:avLst/>
              <a:gdLst>
                <a:gd name="connsiteX0" fmla="*/ 290409 w 645353"/>
                <a:gd name="connsiteY0" fmla="*/ 445294 h 516282"/>
                <a:gd name="connsiteX1" fmla="*/ 290409 w 645353"/>
                <a:gd name="connsiteY1" fmla="*/ 445294 h 516282"/>
                <a:gd name="connsiteX2" fmla="*/ 96803 w 645353"/>
                <a:gd name="connsiteY2" fmla="*/ 96803 h 516282"/>
                <a:gd name="connsiteX3" fmla="*/ 109710 w 645353"/>
                <a:gd name="connsiteY3" fmla="*/ 96803 h 516282"/>
                <a:gd name="connsiteX4" fmla="*/ 548550 w 645353"/>
                <a:gd name="connsiteY4" fmla="*/ 367852 h 516282"/>
                <a:gd name="connsiteX5" fmla="*/ 290409 w 645353"/>
                <a:gd name="connsiteY5" fmla="*/ 445294 h 516282"/>
                <a:gd name="connsiteX6" fmla="*/ 109710 w 645353"/>
                <a:gd name="connsiteY6" fmla="*/ 122617 h 516282"/>
                <a:gd name="connsiteX7" fmla="*/ 290409 w 645353"/>
                <a:gd name="connsiteY7" fmla="*/ 445294 h 516282"/>
                <a:gd name="connsiteX8" fmla="*/ 522736 w 645353"/>
                <a:gd name="connsiteY8" fmla="*/ 380759 h 516282"/>
                <a:gd name="connsiteX9" fmla="*/ 109710 w 645353"/>
                <a:gd name="connsiteY9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516282">
                  <a:moveTo>
                    <a:pt x="290409" y="445294"/>
                  </a:moveTo>
                  <a:lnTo>
                    <a:pt x="290409" y="445294"/>
                  </a:lnTo>
                  <a:lnTo>
                    <a:pt x="96803" y="96803"/>
                  </a:lnTo>
                  <a:lnTo>
                    <a:pt x="109710" y="96803"/>
                  </a:lnTo>
                  <a:lnTo>
                    <a:pt x="548550" y="367852"/>
                  </a:lnTo>
                  <a:lnTo>
                    <a:pt x="290409" y="445294"/>
                  </a:lnTo>
                  <a:close/>
                  <a:moveTo>
                    <a:pt x="109710" y="122617"/>
                  </a:moveTo>
                  <a:lnTo>
                    <a:pt x="290409" y="445294"/>
                  </a:lnTo>
                  <a:lnTo>
                    <a:pt x="522736" y="380759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7" name="Freeform: Shape 2826">
              <a:extLst>
                <a:ext uri="{FF2B5EF4-FFF2-40B4-BE49-F238E27FC236}">
                  <a16:creationId xmlns:a16="http://schemas.microsoft.com/office/drawing/2014/main" id="{284D4B14-F66A-4179-895B-9C5E548A431A}"/>
                </a:ext>
              </a:extLst>
            </p:cNvPr>
            <p:cNvSpPr/>
            <p:nvPr/>
          </p:nvSpPr>
          <p:spPr>
            <a:xfrm>
              <a:off x="4649243" y="6390177"/>
              <a:ext cx="387212" cy="516283"/>
            </a:xfrm>
            <a:custGeom>
              <a:avLst/>
              <a:gdLst>
                <a:gd name="connsiteX0" fmla="*/ 212967 w 387211"/>
                <a:gd name="connsiteY0" fmla="*/ 496922 h 516282"/>
                <a:gd name="connsiteX1" fmla="*/ 96803 w 387211"/>
                <a:gd name="connsiteY1" fmla="*/ 238780 h 516282"/>
                <a:gd name="connsiteX2" fmla="*/ 380759 w 387211"/>
                <a:gd name="connsiteY2" fmla="*/ 96803 h 516282"/>
                <a:gd name="connsiteX3" fmla="*/ 212967 w 387211"/>
                <a:gd name="connsiteY3" fmla="*/ 496922 h 516282"/>
                <a:gd name="connsiteX4" fmla="*/ 96803 w 387211"/>
                <a:gd name="connsiteY4" fmla="*/ 238780 h 516282"/>
                <a:gd name="connsiteX5" fmla="*/ 200059 w 387211"/>
                <a:gd name="connsiteY5" fmla="*/ 471108 h 516282"/>
                <a:gd name="connsiteX6" fmla="*/ 354944 w 387211"/>
                <a:gd name="connsiteY6" fmla="*/ 96803 h 516282"/>
                <a:gd name="connsiteX7" fmla="*/ 96803 w 387211"/>
                <a:gd name="connsiteY7" fmla="*/ 23878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12967" y="496922"/>
                  </a:moveTo>
                  <a:lnTo>
                    <a:pt x="96803" y="238780"/>
                  </a:lnTo>
                  <a:lnTo>
                    <a:pt x="380759" y="96803"/>
                  </a:lnTo>
                  <a:lnTo>
                    <a:pt x="212967" y="496922"/>
                  </a:lnTo>
                  <a:close/>
                  <a:moveTo>
                    <a:pt x="96803" y="238780"/>
                  </a:moveTo>
                  <a:lnTo>
                    <a:pt x="200059" y="471108"/>
                  </a:lnTo>
                  <a:lnTo>
                    <a:pt x="354944" y="96803"/>
                  </a:lnTo>
                  <a:lnTo>
                    <a:pt x="96803" y="2387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8" name="Freeform: Shape 2827">
              <a:extLst>
                <a:ext uri="{FF2B5EF4-FFF2-40B4-BE49-F238E27FC236}">
                  <a16:creationId xmlns:a16="http://schemas.microsoft.com/office/drawing/2014/main" id="{CDF510B5-4440-47EB-8E80-8955EB6CE0FB}"/>
                </a:ext>
              </a:extLst>
            </p:cNvPr>
            <p:cNvSpPr/>
            <p:nvPr/>
          </p:nvSpPr>
          <p:spPr>
            <a:xfrm>
              <a:off x="4468544" y="6390177"/>
              <a:ext cx="645353" cy="258141"/>
            </a:xfrm>
            <a:custGeom>
              <a:avLst/>
              <a:gdLst>
                <a:gd name="connsiteX0" fmla="*/ 277502 w 645353"/>
                <a:gd name="connsiteY0" fmla="*/ 238780 h 258141"/>
                <a:gd name="connsiteX1" fmla="*/ 96803 w 645353"/>
                <a:gd name="connsiteY1" fmla="*/ 122617 h 258141"/>
                <a:gd name="connsiteX2" fmla="*/ 574364 w 645353"/>
                <a:gd name="connsiteY2" fmla="*/ 96803 h 258141"/>
                <a:gd name="connsiteX3" fmla="*/ 277502 w 645353"/>
                <a:gd name="connsiteY3" fmla="*/ 238780 h 258141"/>
                <a:gd name="connsiteX4" fmla="*/ 109710 w 645353"/>
                <a:gd name="connsiteY4" fmla="*/ 122617 h 258141"/>
                <a:gd name="connsiteX5" fmla="*/ 277502 w 645353"/>
                <a:gd name="connsiteY5" fmla="*/ 225874 h 258141"/>
                <a:gd name="connsiteX6" fmla="*/ 535643 w 645353"/>
                <a:gd name="connsiteY6" fmla="*/ 96803 h 258141"/>
                <a:gd name="connsiteX7" fmla="*/ 109710 w 645353"/>
                <a:gd name="connsiteY7" fmla="*/ 12261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258141">
                  <a:moveTo>
                    <a:pt x="277502" y="238780"/>
                  </a:moveTo>
                  <a:lnTo>
                    <a:pt x="96803" y="122617"/>
                  </a:lnTo>
                  <a:lnTo>
                    <a:pt x="574364" y="96803"/>
                  </a:lnTo>
                  <a:lnTo>
                    <a:pt x="277502" y="238780"/>
                  </a:lnTo>
                  <a:close/>
                  <a:moveTo>
                    <a:pt x="109710" y="122617"/>
                  </a:moveTo>
                  <a:lnTo>
                    <a:pt x="277502" y="225874"/>
                  </a:lnTo>
                  <a:lnTo>
                    <a:pt x="535643" y="96803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29" name="Freeform: Shape 2828">
              <a:extLst>
                <a:ext uri="{FF2B5EF4-FFF2-40B4-BE49-F238E27FC236}">
                  <a16:creationId xmlns:a16="http://schemas.microsoft.com/office/drawing/2014/main" id="{8FFB8C8B-309A-404E-9A27-064CD4229181}"/>
                </a:ext>
              </a:extLst>
            </p:cNvPr>
            <p:cNvSpPr/>
            <p:nvPr/>
          </p:nvSpPr>
          <p:spPr>
            <a:xfrm>
              <a:off x="4468544" y="6183663"/>
              <a:ext cx="645353" cy="387212"/>
            </a:xfrm>
            <a:custGeom>
              <a:avLst/>
              <a:gdLst>
                <a:gd name="connsiteX0" fmla="*/ 96803 w 645353"/>
                <a:gd name="connsiteY0" fmla="*/ 342037 h 387211"/>
                <a:gd name="connsiteX1" fmla="*/ 200059 w 645353"/>
                <a:gd name="connsiteY1" fmla="*/ 96803 h 387211"/>
                <a:gd name="connsiteX2" fmla="*/ 561457 w 645353"/>
                <a:gd name="connsiteY2" fmla="*/ 316223 h 387211"/>
                <a:gd name="connsiteX3" fmla="*/ 96803 w 645353"/>
                <a:gd name="connsiteY3" fmla="*/ 342037 h 387211"/>
                <a:gd name="connsiteX4" fmla="*/ 200059 w 645353"/>
                <a:gd name="connsiteY4" fmla="*/ 96803 h 387211"/>
                <a:gd name="connsiteX5" fmla="*/ 109710 w 645353"/>
                <a:gd name="connsiteY5" fmla="*/ 329131 h 387211"/>
                <a:gd name="connsiteX6" fmla="*/ 548550 w 645353"/>
                <a:gd name="connsiteY6" fmla="*/ 303316 h 387211"/>
                <a:gd name="connsiteX7" fmla="*/ 200059 w 645353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96803" y="342037"/>
                  </a:moveTo>
                  <a:lnTo>
                    <a:pt x="200059" y="96803"/>
                  </a:lnTo>
                  <a:lnTo>
                    <a:pt x="561457" y="316223"/>
                  </a:lnTo>
                  <a:lnTo>
                    <a:pt x="96803" y="342037"/>
                  </a:lnTo>
                  <a:close/>
                  <a:moveTo>
                    <a:pt x="200059" y="96803"/>
                  </a:moveTo>
                  <a:lnTo>
                    <a:pt x="109710" y="329131"/>
                  </a:lnTo>
                  <a:lnTo>
                    <a:pt x="548550" y="303316"/>
                  </a:lnTo>
                  <a:lnTo>
                    <a:pt x="200059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0" name="Freeform: Shape 2829">
              <a:extLst>
                <a:ext uri="{FF2B5EF4-FFF2-40B4-BE49-F238E27FC236}">
                  <a16:creationId xmlns:a16="http://schemas.microsoft.com/office/drawing/2014/main" id="{CAC1B711-443A-4100-8161-7FEDA44F2961}"/>
                </a:ext>
              </a:extLst>
            </p:cNvPr>
            <p:cNvSpPr/>
            <p:nvPr/>
          </p:nvSpPr>
          <p:spPr>
            <a:xfrm>
              <a:off x="4765407" y="6777388"/>
              <a:ext cx="645353" cy="387212"/>
            </a:xfrm>
            <a:custGeom>
              <a:avLst/>
              <a:gdLst>
                <a:gd name="connsiteX0" fmla="*/ 135524 w 645353"/>
                <a:gd name="connsiteY0" fmla="*/ 290409 h 387211"/>
                <a:gd name="connsiteX1" fmla="*/ 96803 w 645353"/>
                <a:gd name="connsiteY1" fmla="*/ 96803 h 387211"/>
                <a:gd name="connsiteX2" fmla="*/ 96803 w 645353"/>
                <a:gd name="connsiteY2" fmla="*/ 96803 h 387211"/>
                <a:gd name="connsiteX3" fmla="*/ 574365 w 645353"/>
                <a:gd name="connsiteY3" fmla="*/ 109710 h 387211"/>
                <a:gd name="connsiteX4" fmla="*/ 135524 w 645353"/>
                <a:gd name="connsiteY4" fmla="*/ 290409 h 387211"/>
                <a:gd name="connsiteX5" fmla="*/ 96803 w 645353"/>
                <a:gd name="connsiteY5" fmla="*/ 96803 h 387211"/>
                <a:gd name="connsiteX6" fmla="*/ 135524 w 645353"/>
                <a:gd name="connsiteY6" fmla="*/ 277502 h 387211"/>
                <a:gd name="connsiteX7" fmla="*/ 535643 w 645353"/>
                <a:gd name="connsiteY7" fmla="*/ 109710 h 387211"/>
                <a:gd name="connsiteX8" fmla="*/ 96803 w 645353"/>
                <a:gd name="connsiteY8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135524" y="290409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574365" y="109710"/>
                  </a:lnTo>
                  <a:lnTo>
                    <a:pt x="135524" y="290409"/>
                  </a:lnTo>
                  <a:close/>
                  <a:moveTo>
                    <a:pt x="96803" y="96803"/>
                  </a:moveTo>
                  <a:lnTo>
                    <a:pt x="135524" y="277502"/>
                  </a:lnTo>
                  <a:lnTo>
                    <a:pt x="535643" y="109710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1" name="Freeform: Shape 2830">
              <a:extLst>
                <a:ext uri="{FF2B5EF4-FFF2-40B4-BE49-F238E27FC236}">
                  <a16:creationId xmlns:a16="http://schemas.microsoft.com/office/drawing/2014/main" id="{7CC0B3B9-F645-4ACC-861F-09617046A692}"/>
                </a:ext>
              </a:extLst>
            </p:cNvPr>
            <p:cNvSpPr/>
            <p:nvPr/>
          </p:nvSpPr>
          <p:spPr>
            <a:xfrm>
              <a:off x="4752499" y="6390177"/>
              <a:ext cx="645353" cy="516283"/>
            </a:xfrm>
            <a:custGeom>
              <a:avLst/>
              <a:gdLst>
                <a:gd name="connsiteX0" fmla="*/ 574365 w 645353"/>
                <a:gd name="connsiteY0" fmla="*/ 496922 h 516282"/>
                <a:gd name="connsiteX1" fmla="*/ 96803 w 645353"/>
                <a:gd name="connsiteY1" fmla="*/ 484015 h 516282"/>
                <a:gd name="connsiteX2" fmla="*/ 264595 w 645353"/>
                <a:gd name="connsiteY2" fmla="*/ 96803 h 516282"/>
                <a:gd name="connsiteX3" fmla="*/ 574365 w 645353"/>
                <a:gd name="connsiteY3" fmla="*/ 496922 h 516282"/>
                <a:gd name="connsiteX4" fmla="*/ 109710 w 645353"/>
                <a:gd name="connsiteY4" fmla="*/ 484015 h 516282"/>
                <a:gd name="connsiteX5" fmla="*/ 561458 w 645353"/>
                <a:gd name="connsiteY5" fmla="*/ 484015 h 516282"/>
                <a:gd name="connsiteX6" fmla="*/ 264595 w 645353"/>
                <a:gd name="connsiteY6" fmla="*/ 96803 h 516282"/>
                <a:gd name="connsiteX7" fmla="*/ 109710 w 645353"/>
                <a:gd name="connsiteY7" fmla="*/ 48401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574365" y="496922"/>
                  </a:moveTo>
                  <a:lnTo>
                    <a:pt x="96803" y="484015"/>
                  </a:lnTo>
                  <a:lnTo>
                    <a:pt x="264595" y="96803"/>
                  </a:lnTo>
                  <a:lnTo>
                    <a:pt x="574365" y="496922"/>
                  </a:lnTo>
                  <a:close/>
                  <a:moveTo>
                    <a:pt x="109710" y="484015"/>
                  </a:moveTo>
                  <a:lnTo>
                    <a:pt x="561458" y="484015"/>
                  </a:lnTo>
                  <a:lnTo>
                    <a:pt x="264595" y="96803"/>
                  </a:lnTo>
                  <a:lnTo>
                    <a:pt x="109710" y="4840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2" name="Freeform: Shape 2831">
              <a:extLst>
                <a:ext uri="{FF2B5EF4-FFF2-40B4-BE49-F238E27FC236}">
                  <a16:creationId xmlns:a16="http://schemas.microsoft.com/office/drawing/2014/main" id="{D7F094DA-2DB4-4FD6-B773-CB9FDE1F9E95}"/>
                </a:ext>
              </a:extLst>
            </p:cNvPr>
            <p:cNvSpPr/>
            <p:nvPr/>
          </p:nvSpPr>
          <p:spPr>
            <a:xfrm>
              <a:off x="4791221" y="6790295"/>
              <a:ext cx="516283" cy="387212"/>
            </a:xfrm>
            <a:custGeom>
              <a:avLst/>
              <a:gdLst>
                <a:gd name="connsiteX0" fmla="*/ 238781 w 516282"/>
                <a:gd name="connsiteY0" fmla="*/ 393665 h 387211"/>
                <a:gd name="connsiteX1" fmla="*/ 96803 w 516282"/>
                <a:gd name="connsiteY1" fmla="*/ 277502 h 387211"/>
                <a:gd name="connsiteX2" fmla="*/ 96803 w 516282"/>
                <a:gd name="connsiteY2" fmla="*/ 277502 h 387211"/>
                <a:gd name="connsiteX3" fmla="*/ 535643 w 516282"/>
                <a:gd name="connsiteY3" fmla="*/ 96803 h 387211"/>
                <a:gd name="connsiteX4" fmla="*/ 238781 w 516282"/>
                <a:gd name="connsiteY4" fmla="*/ 393665 h 387211"/>
                <a:gd name="connsiteX5" fmla="*/ 109710 w 516282"/>
                <a:gd name="connsiteY5" fmla="*/ 277502 h 387211"/>
                <a:gd name="connsiteX6" fmla="*/ 238781 w 516282"/>
                <a:gd name="connsiteY6" fmla="*/ 393665 h 387211"/>
                <a:gd name="connsiteX7" fmla="*/ 509829 w 516282"/>
                <a:gd name="connsiteY7" fmla="*/ 109710 h 387211"/>
                <a:gd name="connsiteX8" fmla="*/ 109710 w 516282"/>
                <a:gd name="connsiteY8" fmla="*/ 277502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238781" y="393665"/>
                  </a:moveTo>
                  <a:lnTo>
                    <a:pt x="96803" y="277502"/>
                  </a:lnTo>
                  <a:lnTo>
                    <a:pt x="96803" y="277502"/>
                  </a:lnTo>
                  <a:lnTo>
                    <a:pt x="535643" y="96803"/>
                  </a:lnTo>
                  <a:lnTo>
                    <a:pt x="238781" y="393665"/>
                  </a:lnTo>
                  <a:close/>
                  <a:moveTo>
                    <a:pt x="109710" y="277502"/>
                  </a:moveTo>
                  <a:lnTo>
                    <a:pt x="238781" y="393665"/>
                  </a:lnTo>
                  <a:lnTo>
                    <a:pt x="509829" y="109710"/>
                  </a:lnTo>
                  <a:lnTo>
                    <a:pt x="109710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3" name="Freeform: Shape 2832">
              <a:extLst>
                <a:ext uri="{FF2B5EF4-FFF2-40B4-BE49-F238E27FC236}">
                  <a16:creationId xmlns:a16="http://schemas.microsoft.com/office/drawing/2014/main" id="{CC474E78-AD5F-46CF-A710-55E8A949F2A1}"/>
                </a:ext>
              </a:extLst>
            </p:cNvPr>
            <p:cNvSpPr/>
            <p:nvPr/>
          </p:nvSpPr>
          <p:spPr>
            <a:xfrm>
              <a:off x="4920292" y="6080407"/>
              <a:ext cx="645353" cy="516283"/>
            </a:xfrm>
            <a:custGeom>
              <a:avLst/>
              <a:gdLst>
                <a:gd name="connsiteX0" fmla="*/ 96803 w 645353"/>
                <a:gd name="connsiteY0" fmla="*/ 419480 h 516282"/>
                <a:gd name="connsiteX1" fmla="*/ 393665 w 645353"/>
                <a:gd name="connsiteY1" fmla="*/ 96803 h 516282"/>
                <a:gd name="connsiteX2" fmla="*/ 638899 w 645353"/>
                <a:gd name="connsiteY2" fmla="*/ 367852 h 516282"/>
                <a:gd name="connsiteX3" fmla="*/ 96803 w 645353"/>
                <a:gd name="connsiteY3" fmla="*/ 419480 h 516282"/>
                <a:gd name="connsiteX4" fmla="*/ 393665 w 645353"/>
                <a:gd name="connsiteY4" fmla="*/ 109710 h 516282"/>
                <a:gd name="connsiteX5" fmla="*/ 109710 w 645353"/>
                <a:gd name="connsiteY5" fmla="*/ 406573 h 516282"/>
                <a:gd name="connsiteX6" fmla="*/ 625992 w 645353"/>
                <a:gd name="connsiteY6" fmla="*/ 354944 h 516282"/>
                <a:gd name="connsiteX7" fmla="*/ 393665 w 645353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96803" y="419480"/>
                  </a:moveTo>
                  <a:lnTo>
                    <a:pt x="393665" y="96803"/>
                  </a:lnTo>
                  <a:lnTo>
                    <a:pt x="638899" y="367852"/>
                  </a:lnTo>
                  <a:lnTo>
                    <a:pt x="96803" y="419480"/>
                  </a:lnTo>
                  <a:close/>
                  <a:moveTo>
                    <a:pt x="393665" y="109710"/>
                  </a:moveTo>
                  <a:lnTo>
                    <a:pt x="109710" y="406573"/>
                  </a:lnTo>
                  <a:lnTo>
                    <a:pt x="625992" y="354944"/>
                  </a:lnTo>
                  <a:lnTo>
                    <a:pt x="39366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4" name="Freeform: Shape 2833">
              <a:extLst>
                <a:ext uri="{FF2B5EF4-FFF2-40B4-BE49-F238E27FC236}">
                  <a16:creationId xmlns:a16="http://schemas.microsoft.com/office/drawing/2014/main" id="{6DE3F302-7F69-4210-A8CE-43E988904F49}"/>
                </a:ext>
              </a:extLst>
            </p:cNvPr>
            <p:cNvSpPr/>
            <p:nvPr/>
          </p:nvSpPr>
          <p:spPr>
            <a:xfrm>
              <a:off x="4907384" y="6338548"/>
              <a:ext cx="645353" cy="645353"/>
            </a:xfrm>
            <a:custGeom>
              <a:avLst/>
              <a:gdLst>
                <a:gd name="connsiteX0" fmla="*/ 406573 w 645353"/>
                <a:gd name="connsiteY0" fmla="*/ 548550 h 645353"/>
                <a:gd name="connsiteX1" fmla="*/ 406573 w 645353"/>
                <a:gd name="connsiteY1" fmla="*/ 548550 h 645353"/>
                <a:gd name="connsiteX2" fmla="*/ 96803 w 645353"/>
                <a:gd name="connsiteY2" fmla="*/ 148431 h 645353"/>
                <a:gd name="connsiteX3" fmla="*/ 638900 w 645353"/>
                <a:gd name="connsiteY3" fmla="*/ 96803 h 645353"/>
                <a:gd name="connsiteX4" fmla="*/ 406573 w 645353"/>
                <a:gd name="connsiteY4" fmla="*/ 548550 h 645353"/>
                <a:gd name="connsiteX5" fmla="*/ 122617 w 645353"/>
                <a:gd name="connsiteY5" fmla="*/ 161338 h 645353"/>
                <a:gd name="connsiteX6" fmla="*/ 419480 w 645353"/>
                <a:gd name="connsiteY6" fmla="*/ 548550 h 645353"/>
                <a:gd name="connsiteX7" fmla="*/ 638900 w 645353"/>
                <a:gd name="connsiteY7" fmla="*/ 122617 h 645353"/>
                <a:gd name="connsiteX8" fmla="*/ 122617 w 645353"/>
                <a:gd name="connsiteY8" fmla="*/ 161338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645353">
                  <a:moveTo>
                    <a:pt x="406573" y="548550"/>
                  </a:moveTo>
                  <a:lnTo>
                    <a:pt x="406573" y="548550"/>
                  </a:lnTo>
                  <a:lnTo>
                    <a:pt x="96803" y="148431"/>
                  </a:lnTo>
                  <a:lnTo>
                    <a:pt x="638900" y="96803"/>
                  </a:lnTo>
                  <a:lnTo>
                    <a:pt x="406573" y="548550"/>
                  </a:lnTo>
                  <a:close/>
                  <a:moveTo>
                    <a:pt x="122617" y="161338"/>
                  </a:moveTo>
                  <a:lnTo>
                    <a:pt x="419480" y="548550"/>
                  </a:lnTo>
                  <a:lnTo>
                    <a:pt x="638900" y="122617"/>
                  </a:lnTo>
                  <a:lnTo>
                    <a:pt x="122617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5" name="Freeform: Shape 2834">
              <a:extLst>
                <a:ext uri="{FF2B5EF4-FFF2-40B4-BE49-F238E27FC236}">
                  <a16:creationId xmlns:a16="http://schemas.microsoft.com/office/drawing/2014/main" id="{3B5D98FA-564A-4E78-928E-8B9262EB76CD}"/>
                </a:ext>
              </a:extLst>
            </p:cNvPr>
            <p:cNvSpPr/>
            <p:nvPr/>
          </p:nvSpPr>
          <p:spPr>
            <a:xfrm>
              <a:off x="5217154" y="6015871"/>
              <a:ext cx="387212" cy="516283"/>
            </a:xfrm>
            <a:custGeom>
              <a:avLst/>
              <a:gdLst>
                <a:gd name="connsiteX0" fmla="*/ 342037 w 387211"/>
                <a:gd name="connsiteY0" fmla="*/ 432387 h 516282"/>
                <a:gd name="connsiteX1" fmla="*/ 96803 w 387211"/>
                <a:gd name="connsiteY1" fmla="*/ 161338 h 516282"/>
                <a:gd name="connsiteX2" fmla="*/ 354944 w 387211"/>
                <a:gd name="connsiteY2" fmla="*/ 96803 h 516282"/>
                <a:gd name="connsiteX3" fmla="*/ 342037 w 387211"/>
                <a:gd name="connsiteY3" fmla="*/ 432387 h 516282"/>
                <a:gd name="connsiteX4" fmla="*/ 96803 w 387211"/>
                <a:gd name="connsiteY4" fmla="*/ 161338 h 516282"/>
                <a:gd name="connsiteX5" fmla="*/ 329130 w 387211"/>
                <a:gd name="connsiteY5" fmla="*/ 419480 h 516282"/>
                <a:gd name="connsiteX6" fmla="*/ 329130 w 387211"/>
                <a:gd name="connsiteY6" fmla="*/ 96803 h 516282"/>
                <a:gd name="connsiteX7" fmla="*/ 96803 w 387211"/>
                <a:gd name="connsiteY7" fmla="*/ 16133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42037" y="432387"/>
                  </a:moveTo>
                  <a:lnTo>
                    <a:pt x="96803" y="161338"/>
                  </a:lnTo>
                  <a:lnTo>
                    <a:pt x="354944" y="96803"/>
                  </a:lnTo>
                  <a:lnTo>
                    <a:pt x="342037" y="432387"/>
                  </a:lnTo>
                  <a:close/>
                  <a:moveTo>
                    <a:pt x="96803" y="161338"/>
                  </a:moveTo>
                  <a:lnTo>
                    <a:pt x="329130" y="419480"/>
                  </a:lnTo>
                  <a:lnTo>
                    <a:pt x="329130" y="96803"/>
                  </a:lnTo>
                  <a:lnTo>
                    <a:pt x="96803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6" name="Freeform: Shape 2835">
              <a:extLst>
                <a:ext uri="{FF2B5EF4-FFF2-40B4-BE49-F238E27FC236}">
                  <a16:creationId xmlns:a16="http://schemas.microsoft.com/office/drawing/2014/main" id="{F3F51713-F9D1-4381-AFD3-AF3C57CF24FA}"/>
                </a:ext>
              </a:extLst>
            </p:cNvPr>
            <p:cNvSpPr/>
            <p:nvPr/>
          </p:nvSpPr>
          <p:spPr>
            <a:xfrm>
              <a:off x="5449481" y="6015871"/>
              <a:ext cx="516283" cy="516283"/>
            </a:xfrm>
            <a:custGeom>
              <a:avLst/>
              <a:gdLst>
                <a:gd name="connsiteX0" fmla="*/ 96803 w 516282"/>
                <a:gd name="connsiteY0" fmla="*/ 432387 h 516282"/>
                <a:gd name="connsiteX1" fmla="*/ 109710 w 516282"/>
                <a:gd name="connsiteY1" fmla="*/ 96803 h 516282"/>
                <a:gd name="connsiteX2" fmla="*/ 109710 w 516282"/>
                <a:gd name="connsiteY2" fmla="*/ 96803 h 516282"/>
                <a:gd name="connsiteX3" fmla="*/ 484015 w 516282"/>
                <a:gd name="connsiteY3" fmla="*/ 109710 h 516282"/>
                <a:gd name="connsiteX4" fmla="*/ 96803 w 516282"/>
                <a:gd name="connsiteY4" fmla="*/ 432387 h 516282"/>
                <a:gd name="connsiteX5" fmla="*/ 109710 w 516282"/>
                <a:gd name="connsiteY5" fmla="*/ 96803 h 516282"/>
                <a:gd name="connsiteX6" fmla="*/ 109710 w 516282"/>
                <a:gd name="connsiteY6" fmla="*/ 419480 h 516282"/>
                <a:gd name="connsiteX7" fmla="*/ 471108 w 516282"/>
                <a:gd name="connsiteY7" fmla="*/ 109710 h 516282"/>
                <a:gd name="connsiteX8" fmla="*/ 109710 w 516282"/>
                <a:gd name="connsiteY8" fmla="*/ 9680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96803" y="432387"/>
                  </a:moveTo>
                  <a:lnTo>
                    <a:pt x="109710" y="96803"/>
                  </a:lnTo>
                  <a:lnTo>
                    <a:pt x="109710" y="96803"/>
                  </a:lnTo>
                  <a:lnTo>
                    <a:pt x="484015" y="109710"/>
                  </a:lnTo>
                  <a:lnTo>
                    <a:pt x="96803" y="432387"/>
                  </a:lnTo>
                  <a:close/>
                  <a:moveTo>
                    <a:pt x="109710" y="96803"/>
                  </a:moveTo>
                  <a:lnTo>
                    <a:pt x="109710" y="419480"/>
                  </a:lnTo>
                  <a:lnTo>
                    <a:pt x="471108" y="109710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7" name="Freeform: Shape 2836">
              <a:extLst>
                <a:ext uri="{FF2B5EF4-FFF2-40B4-BE49-F238E27FC236}">
                  <a16:creationId xmlns:a16="http://schemas.microsoft.com/office/drawing/2014/main" id="{6BED60D5-F90D-42B0-83FE-383257A431D9}"/>
                </a:ext>
              </a:extLst>
            </p:cNvPr>
            <p:cNvSpPr/>
            <p:nvPr/>
          </p:nvSpPr>
          <p:spPr>
            <a:xfrm>
              <a:off x="6043206" y="6144942"/>
              <a:ext cx="516283" cy="516283"/>
            </a:xfrm>
            <a:custGeom>
              <a:avLst/>
              <a:gdLst>
                <a:gd name="connsiteX0" fmla="*/ 96803 w 516282"/>
                <a:gd name="connsiteY0" fmla="*/ 471108 h 516282"/>
                <a:gd name="connsiteX1" fmla="*/ 200060 w 516282"/>
                <a:gd name="connsiteY1" fmla="*/ 109710 h 516282"/>
                <a:gd name="connsiteX2" fmla="*/ 432387 w 516282"/>
                <a:gd name="connsiteY2" fmla="*/ 96803 h 516282"/>
                <a:gd name="connsiteX3" fmla="*/ 96803 w 516282"/>
                <a:gd name="connsiteY3" fmla="*/ 471108 h 516282"/>
                <a:gd name="connsiteX4" fmla="*/ 200060 w 516282"/>
                <a:gd name="connsiteY4" fmla="*/ 122617 h 516282"/>
                <a:gd name="connsiteX5" fmla="*/ 109710 w 516282"/>
                <a:gd name="connsiteY5" fmla="*/ 445294 h 516282"/>
                <a:gd name="connsiteX6" fmla="*/ 406573 w 516282"/>
                <a:gd name="connsiteY6" fmla="*/ 109710 h 516282"/>
                <a:gd name="connsiteX7" fmla="*/ 200060 w 516282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96803" y="471108"/>
                  </a:moveTo>
                  <a:lnTo>
                    <a:pt x="200060" y="109710"/>
                  </a:lnTo>
                  <a:lnTo>
                    <a:pt x="432387" y="96803"/>
                  </a:lnTo>
                  <a:lnTo>
                    <a:pt x="96803" y="471108"/>
                  </a:lnTo>
                  <a:close/>
                  <a:moveTo>
                    <a:pt x="200060" y="122617"/>
                  </a:moveTo>
                  <a:lnTo>
                    <a:pt x="109710" y="445294"/>
                  </a:lnTo>
                  <a:lnTo>
                    <a:pt x="406573" y="109710"/>
                  </a:lnTo>
                  <a:lnTo>
                    <a:pt x="20006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8" name="Freeform: Shape 2837">
              <a:extLst>
                <a:ext uri="{FF2B5EF4-FFF2-40B4-BE49-F238E27FC236}">
                  <a16:creationId xmlns:a16="http://schemas.microsoft.com/office/drawing/2014/main" id="{115F324A-31A1-4B4E-BA76-7015CB3AD2A4}"/>
                </a:ext>
              </a:extLst>
            </p:cNvPr>
            <p:cNvSpPr/>
            <p:nvPr/>
          </p:nvSpPr>
          <p:spPr>
            <a:xfrm>
              <a:off x="6043206" y="6157849"/>
              <a:ext cx="645353" cy="516283"/>
            </a:xfrm>
            <a:custGeom>
              <a:avLst/>
              <a:gdLst>
                <a:gd name="connsiteX0" fmla="*/ 638900 w 645353"/>
                <a:gd name="connsiteY0" fmla="*/ 509829 h 516282"/>
                <a:gd name="connsiteX1" fmla="*/ 96803 w 645353"/>
                <a:gd name="connsiteY1" fmla="*/ 458201 h 516282"/>
                <a:gd name="connsiteX2" fmla="*/ 419480 w 645353"/>
                <a:gd name="connsiteY2" fmla="*/ 96803 h 516282"/>
                <a:gd name="connsiteX3" fmla="*/ 419480 w 645353"/>
                <a:gd name="connsiteY3" fmla="*/ 96803 h 516282"/>
                <a:gd name="connsiteX4" fmla="*/ 638900 w 645353"/>
                <a:gd name="connsiteY4" fmla="*/ 509829 h 516282"/>
                <a:gd name="connsiteX5" fmla="*/ 109710 w 645353"/>
                <a:gd name="connsiteY5" fmla="*/ 445293 h 516282"/>
                <a:gd name="connsiteX6" fmla="*/ 625993 w 645353"/>
                <a:gd name="connsiteY6" fmla="*/ 496922 h 516282"/>
                <a:gd name="connsiteX7" fmla="*/ 419480 w 645353"/>
                <a:gd name="connsiteY7" fmla="*/ 96803 h 516282"/>
                <a:gd name="connsiteX8" fmla="*/ 109710 w 645353"/>
                <a:gd name="connsiteY8" fmla="*/ 44529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516282">
                  <a:moveTo>
                    <a:pt x="638900" y="509829"/>
                  </a:moveTo>
                  <a:lnTo>
                    <a:pt x="96803" y="458201"/>
                  </a:lnTo>
                  <a:lnTo>
                    <a:pt x="419480" y="96803"/>
                  </a:lnTo>
                  <a:lnTo>
                    <a:pt x="419480" y="96803"/>
                  </a:lnTo>
                  <a:lnTo>
                    <a:pt x="638900" y="509829"/>
                  </a:lnTo>
                  <a:close/>
                  <a:moveTo>
                    <a:pt x="109710" y="445293"/>
                  </a:moveTo>
                  <a:lnTo>
                    <a:pt x="625993" y="496922"/>
                  </a:lnTo>
                  <a:lnTo>
                    <a:pt x="419480" y="96803"/>
                  </a:lnTo>
                  <a:lnTo>
                    <a:pt x="109710" y="4452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39" name="Freeform: Shape 2838">
              <a:extLst>
                <a:ext uri="{FF2B5EF4-FFF2-40B4-BE49-F238E27FC236}">
                  <a16:creationId xmlns:a16="http://schemas.microsoft.com/office/drawing/2014/main" id="{22B4B773-4AAE-44E5-ACDE-2D8493D6BC36}"/>
                </a:ext>
              </a:extLst>
            </p:cNvPr>
            <p:cNvSpPr/>
            <p:nvPr/>
          </p:nvSpPr>
          <p:spPr>
            <a:xfrm>
              <a:off x="6043206" y="6493433"/>
              <a:ext cx="645353" cy="387212"/>
            </a:xfrm>
            <a:custGeom>
              <a:avLst/>
              <a:gdLst>
                <a:gd name="connsiteX0" fmla="*/ 484015 w 645353"/>
                <a:gd name="connsiteY0" fmla="*/ 342037 h 387211"/>
                <a:gd name="connsiteX1" fmla="*/ 96803 w 645353"/>
                <a:gd name="connsiteY1" fmla="*/ 96803 h 387211"/>
                <a:gd name="connsiteX2" fmla="*/ 638900 w 645353"/>
                <a:gd name="connsiteY2" fmla="*/ 148431 h 387211"/>
                <a:gd name="connsiteX3" fmla="*/ 484015 w 645353"/>
                <a:gd name="connsiteY3" fmla="*/ 342037 h 387211"/>
                <a:gd name="connsiteX4" fmla="*/ 122617 w 645353"/>
                <a:gd name="connsiteY4" fmla="*/ 122617 h 387211"/>
                <a:gd name="connsiteX5" fmla="*/ 484015 w 645353"/>
                <a:gd name="connsiteY5" fmla="*/ 342037 h 387211"/>
                <a:gd name="connsiteX6" fmla="*/ 625993 w 645353"/>
                <a:gd name="connsiteY6" fmla="*/ 174245 h 387211"/>
                <a:gd name="connsiteX7" fmla="*/ 122617 w 645353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484015" y="342037"/>
                  </a:moveTo>
                  <a:lnTo>
                    <a:pt x="96803" y="96803"/>
                  </a:lnTo>
                  <a:lnTo>
                    <a:pt x="638900" y="148431"/>
                  </a:lnTo>
                  <a:lnTo>
                    <a:pt x="484015" y="342037"/>
                  </a:lnTo>
                  <a:close/>
                  <a:moveTo>
                    <a:pt x="122617" y="122617"/>
                  </a:moveTo>
                  <a:lnTo>
                    <a:pt x="484015" y="342037"/>
                  </a:lnTo>
                  <a:lnTo>
                    <a:pt x="625993" y="174245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0" name="Freeform: Shape 2839">
              <a:extLst>
                <a:ext uri="{FF2B5EF4-FFF2-40B4-BE49-F238E27FC236}">
                  <a16:creationId xmlns:a16="http://schemas.microsoft.com/office/drawing/2014/main" id="{3D59FC29-2C5D-4BC9-ACC9-F1FCBE55D036}"/>
                </a:ext>
              </a:extLst>
            </p:cNvPr>
            <p:cNvSpPr/>
            <p:nvPr/>
          </p:nvSpPr>
          <p:spPr>
            <a:xfrm>
              <a:off x="6056113" y="6506340"/>
              <a:ext cx="516283" cy="645353"/>
            </a:xfrm>
            <a:custGeom>
              <a:avLst/>
              <a:gdLst>
                <a:gd name="connsiteX0" fmla="*/ 174245 w 516282"/>
                <a:gd name="connsiteY0" fmla="*/ 613086 h 645353"/>
                <a:gd name="connsiteX1" fmla="*/ 96803 w 516282"/>
                <a:gd name="connsiteY1" fmla="*/ 96803 h 645353"/>
                <a:gd name="connsiteX2" fmla="*/ 484015 w 516282"/>
                <a:gd name="connsiteY2" fmla="*/ 329131 h 645353"/>
                <a:gd name="connsiteX3" fmla="*/ 174245 w 516282"/>
                <a:gd name="connsiteY3" fmla="*/ 613086 h 645353"/>
                <a:gd name="connsiteX4" fmla="*/ 96803 w 516282"/>
                <a:gd name="connsiteY4" fmla="*/ 109710 h 645353"/>
                <a:gd name="connsiteX5" fmla="*/ 174245 w 516282"/>
                <a:gd name="connsiteY5" fmla="*/ 600179 h 645353"/>
                <a:gd name="connsiteX6" fmla="*/ 458201 w 516282"/>
                <a:gd name="connsiteY6" fmla="*/ 329131 h 645353"/>
                <a:gd name="connsiteX7" fmla="*/ 96803 w 516282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174245" y="613086"/>
                  </a:moveTo>
                  <a:lnTo>
                    <a:pt x="96803" y="96803"/>
                  </a:lnTo>
                  <a:lnTo>
                    <a:pt x="484015" y="329131"/>
                  </a:lnTo>
                  <a:lnTo>
                    <a:pt x="174245" y="613086"/>
                  </a:lnTo>
                  <a:close/>
                  <a:moveTo>
                    <a:pt x="96803" y="109710"/>
                  </a:moveTo>
                  <a:lnTo>
                    <a:pt x="174245" y="600179"/>
                  </a:lnTo>
                  <a:lnTo>
                    <a:pt x="458201" y="329131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1" name="Freeform: Shape 2840">
              <a:extLst>
                <a:ext uri="{FF2B5EF4-FFF2-40B4-BE49-F238E27FC236}">
                  <a16:creationId xmlns:a16="http://schemas.microsoft.com/office/drawing/2014/main" id="{657DBC29-7ED4-4577-A1BF-F14D5B8AEDFF}"/>
                </a:ext>
              </a:extLst>
            </p:cNvPr>
            <p:cNvSpPr/>
            <p:nvPr/>
          </p:nvSpPr>
          <p:spPr>
            <a:xfrm>
              <a:off x="6120648" y="6996809"/>
              <a:ext cx="258141" cy="516283"/>
            </a:xfrm>
            <a:custGeom>
              <a:avLst/>
              <a:gdLst>
                <a:gd name="connsiteX0" fmla="*/ 96803 w 258141"/>
                <a:gd name="connsiteY0" fmla="*/ 471108 h 516282"/>
                <a:gd name="connsiteX1" fmla="*/ 109710 w 258141"/>
                <a:gd name="connsiteY1" fmla="*/ 96803 h 516282"/>
                <a:gd name="connsiteX2" fmla="*/ 264595 w 258141"/>
                <a:gd name="connsiteY2" fmla="*/ 458201 h 516282"/>
                <a:gd name="connsiteX3" fmla="*/ 96803 w 258141"/>
                <a:gd name="connsiteY3" fmla="*/ 471108 h 516282"/>
                <a:gd name="connsiteX4" fmla="*/ 109710 w 258141"/>
                <a:gd name="connsiteY4" fmla="*/ 135524 h 516282"/>
                <a:gd name="connsiteX5" fmla="*/ 109710 w 258141"/>
                <a:gd name="connsiteY5" fmla="*/ 471108 h 516282"/>
                <a:gd name="connsiteX6" fmla="*/ 251688 w 258141"/>
                <a:gd name="connsiteY6" fmla="*/ 471108 h 516282"/>
                <a:gd name="connsiteX7" fmla="*/ 109710 w 258141"/>
                <a:gd name="connsiteY7" fmla="*/ 13552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96803" y="471108"/>
                  </a:moveTo>
                  <a:lnTo>
                    <a:pt x="109710" y="96803"/>
                  </a:lnTo>
                  <a:lnTo>
                    <a:pt x="264595" y="458201"/>
                  </a:lnTo>
                  <a:lnTo>
                    <a:pt x="96803" y="471108"/>
                  </a:lnTo>
                  <a:close/>
                  <a:moveTo>
                    <a:pt x="109710" y="135524"/>
                  </a:moveTo>
                  <a:lnTo>
                    <a:pt x="109710" y="471108"/>
                  </a:lnTo>
                  <a:lnTo>
                    <a:pt x="251688" y="471108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2" name="Freeform: Shape 2841">
              <a:extLst>
                <a:ext uri="{FF2B5EF4-FFF2-40B4-BE49-F238E27FC236}">
                  <a16:creationId xmlns:a16="http://schemas.microsoft.com/office/drawing/2014/main" id="{D2EFB3FB-2B4E-4220-8729-2F529E29DD98}"/>
                </a:ext>
              </a:extLst>
            </p:cNvPr>
            <p:cNvSpPr/>
            <p:nvPr/>
          </p:nvSpPr>
          <p:spPr>
            <a:xfrm>
              <a:off x="6133555" y="7009715"/>
              <a:ext cx="387212" cy="516283"/>
            </a:xfrm>
            <a:custGeom>
              <a:avLst/>
              <a:gdLst>
                <a:gd name="connsiteX0" fmla="*/ 238781 w 387211"/>
                <a:gd name="connsiteY0" fmla="*/ 458201 h 516282"/>
                <a:gd name="connsiteX1" fmla="*/ 96803 w 387211"/>
                <a:gd name="connsiteY1" fmla="*/ 96803 h 516282"/>
                <a:gd name="connsiteX2" fmla="*/ 367852 w 387211"/>
                <a:gd name="connsiteY2" fmla="*/ 96803 h 516282"/>
                <a:gd name="connsiteX3" fmla="*/ 238781 w 387211"/>
                <a:gd name="connsiteY3" fmla="*/ 458201 h 516282"/>
                <a:gd name="connsiteX4" fmla="*/ 109710 w 387211"/>
                <a:gd name="connsiteY4" fmla="*/ 109710 h 516282"/>
                <a:gd name="connsiteX5" fmla="*/ 251688 w 387211"/>
                <a:gd name="connsiteY5" fmla="*/ 445294 h 516282"/>
                <a:gd name="connsiteX6" fmla="*/ 367852 w 387211"/>
                <a:gd name="connsiteY6" fmla="*/ 109710 h 516282"/>
                <a:gd name="connsiteX7" fmla="*/ 109710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38781" y="458201"/>
                  </a:moveTo>
                  <a:lnTo>
                    <a:pt x="96803" y="96803"/>
                  </a:lnTo>
                  <a:lnTo>
                    <a:pt x="367852" y="96803"/>
                  </a:lnTo>
                  <a:lnTo>
                    <a:pt x="238781" y="458201"/>
                  </a:lnTo>
                  <a:close/>
                  <a:moveTo>
                    <a:pt x="109710" y="109710"/>
                  </a:moveTo>
                  <a:lnTo>
                    <a:pt x="251688" y="445294"/>
                  </a:lnTo>
                  <a:lnTo>
                    <a:pt x="367852" y="10971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3" name="Freeform: Shape 2842">
              <a:extLst>
                <a:ext uri="{FF2B5EF4-FFF2-40B4-BE49-F238E27FC236}">
                  <a16:creationId xmlns:a16="http://schemas.microsoft.com/office/drawing/2014/main" id="{2F38330D-97B3-493F-8048-6B980BCFF38B}"/>
                </a:ext>
              </a:extLst>
            </p:cNvPr>
            <p:cNvSpPr/>
            <p:nvPr/>
          </p:nvSpPr>
          <p:spPr>
            <a:xfrm>
              <a:off x="6133555" y="6738667"/>
              <a:ext cx="387212" cy="387212"/>
            </a:xfrm>
            <a:custGeom>
              <a:avLst/>
              <a:gdLst>
                <a:gd name="connsiteX0" fmla="*/ 367852 w 387211"/>
                <a:gd name="connsiteY0" fmla="*/ 380758 h 387211"/>
                <a:gd name="connsiteX1" fmla="*/ 96803 w 387211"/>
                <a:gd name="connsiteY1" fmla="*/ 380758 h 387211"/>
                <a:gd name="connsiteX2" fmla="*/ 406573 w 387211"/>
                <a:gd name="connsiteY2" fmla="*/ 96803 h 387211"/>
                <a:gd name="connsiteX3" fmla="*/ 367852 w 387211"/>
                <a:gd name="connsiteY3" fmla="*/ 380758 h 387211"/>
                <a:gd name="connsiteX4" fmla="*/ 109710 w 387211"/>
                <a:gd name="connsiteY4" fmla="*/ 367851 h 387211"/>
                <a:gd name="connsiteX5" fmla="*/ 367852 w 387211"/>
                <a:gd name="connsiteY5" fmla="*/ 367851 h 387211"/>
                <a:gd name="connsiteX6" fmla="*/ 393665 w 387211"/>
                <a:gd name="connsiteY6" fmla="*/ 96803 h 387211"/>
                <a:gd name="connsiteX7" fmla="*/ 109710 w 387211"/>
                <a:gd name="connsiteY7" fmla="*/ 36785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67852" y="380758"/>
                  </a:moveTo>
                  <a:lnTo>
                    <a:pt x="96803" y="380758"/>
                  </a:lnTo>
                  <a:lnTo>
                    <a:pt x="406573" y="96803"/>
                  </a:lnTo>
                  <a:lnTo>
                    <a:pt x="367852" y="380758"/>
                  </a:lnTo>
                  <a:close/>
                  <a:moveTo>
                    <a:pt x="109710" y="367851"/>
                  </a:moveTo>
                  <a:lnTo>
                    <a:pt x="367852" y="367851"/>
                  </a:lnTo>
                  <a:lnTo>
                    <a:pt x="393665" y="96803"/>
                  </a:lnTo>
                  <a:lnTo>
                    <a:pt x="109710" y="367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4" name="Freeform: Shape 2843">
              <a:extLst>
                <a:ext uri="{FF2B5EF4-FFF2-40B4-BE49-F238E27FC236}">
                  <a16:creationId xmlns:a16="http://schemas.microsoft.com/office/drawing/2014/main" id="{E35EC20D-61B8-4C35-A812-352654095BDA}"/>
                </a:ext>
              </a:extLst>
            </p:cNvPr>
            <p:cNvSpPr/>
            <p:nvPr/>
          </p:nvSpPr>
          <p:spPr>
            <a:xfrm>
              <a:off x="5217154" y="6338548"/>
              <a:ext cx="516283" cy="645353"/>
            </a:xfrm>
            <a:custGeom>
              <a:avLst/>
              <a:gdLst>
                <a:gd name="connsiteX0" fmla="*/ 96803 w 516282"/>
                <a:gd name="connsiteY0" fmla="*/ 548550 h 645353"/>
                <a:gd name="connsiteX1" fmla="*/ 329130 w 516282"/>
                <a:gd name="connsiteY1" fmla="*/ 96803 h 645353"/>
                <a:gd name="connsiteX2" fmla="*/ 522736 w 516282"/>
                <a:gd name="connsiteY2" fmla="*/ 445294 h 645353"/>
                <a:gd name="connsiteX3" fmla="*/ 96803 w 516282"/>
                <a:gd name="connsiteY3" fmla="*/ 548550 h 645353"/>
                <a:gd name="connsiteX4" fmla="*/ 329130 w 516282"/>
                <a:gd name="connsiteY4" fmla="*/ 109710 h 645353"/>
                <a:gd name="connsiteX5" fmla="*/ 109710 w 516282"/>
                <a:gd name="connsiteY5" fmla="*/ 535643 h 645353"/>
                <a:gd name="connsiteX6" fmla="*/ 522736 w 516282"/>
                <a:gd name="connsiteY6" fmla="*/ 445294 h 645353"/>
                <a:gd name="connsiteX7" fmla="*/ 329130 w 516282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96803" y="548550"/>
                  </a:moveTo>
                  <a:lnTo>
                    <a:pt x="329130" y="96803"/>
                  </a:lnTo>
                  <a:lnTo>
                    <a:pt x="522736" y="445294"/>
                  </a:lnTo>
                  <a:lnTo>
                    <a:pt x="96803" y="548550"/>
                  </a:lnTo>
                  <a:close/>
                  <a:moveTo>
                    <a:pt x="329130" y="109710"/>
                  </a:moveTo>
                  <a:lnTo>
                    <a:pt x="109710" y="535643"/>
                  </a:lnTo>
                  <a:lnTo>
                    <a:pt x="522736" y="445294"/>
                  </a:lnTo>
                  <a:lnTo>
                    <a:pt x="32913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5" name="Freeform: Shape 2844">
              <a:extLst>
                <a:ext uri="{FF2B5EF4-FFF2-40B4-BE49-F238E27FC236}">
                  <a16:creationId xmlns:a16="http://schemas.microsoft.com/office/drawing/2014/main" id="{7068108D-1D73-4BE8-936F-D29CF6B45FEC}"/>
                </a:ext>
              </a:extLst>
            </p:cNvPr>
            <p:cNvSpPr/>
            <p:nvPr/>
          </p:nvSpPr>
          <p:spPr>
            <a:xfrm>
              <a:off x="4933198" y="7048437"/>
              <a:ext cx="387212" cy="387212"/>
            </a:xfrm>
            <a:custGeom>
              <a:avLst/>
              <a:gdLst>
                <a:gd name="connsiteX0" fmla="*/ 109710 w 387211"/>
                <a:gd name="connsiteY0" fmla="*/ 316223 h 387211"/>
                <a:gd name="connsiteX1" fmla="*/ 96803 w 387211"/>
                <a:gd name="connsiteY1" fmla="*/ 122617 h 387211"/>
                <a:gd name="connsiteX2" fmla="*/ 96803 w 387211"/>
                <a:gd name="connsiteY2" fmla="*/ 122617 h 387211"/>
                <a:gd name="connsiteX3" fmla="*/ 406573 w 387211"/>
                <a:gd name="connsiteY3" fmla="*/ 96803 h 387211"/>
                <a:gd name="connsiteX4" fmla="*/ 109710 w 387211"/>
                <a:gd name="connsiteY4" fmla="*/ 316223 h 387211"/>
                <a:gd name="connsiteX5" fmla="*/ 109710 w 387211"/>
                <a:gd name="connsiteY5" fmla="*/ 135524 h 387211"/>
                <a:gd name="connsiteX6" fmla="*/ 122617 w 387211"/>
                <a:gd name="connsiteY6" fmla="*/ 316223 h 387211"/>
                <a:gd name="connsiteX7" fmla="*/ 393665 w 387211"/>
                <a:gd name="connsiteY7" fmla="*/ 122617 h 387211"/>
                <a:gd name="connsiteX8" fmla="*/ 109710 w 387211"/>
                <a:gd name="connsiteY8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109710" y="316223"/>
                  </a:moveTo>
                  <a:lnTo>
                    <a:pt x="96803" y="122617"/>
                  </a:lnTo>
                  <a:lnTo>
                    <a:pt x="96803" y="122617"/>
                  </a:lnTo>
                  <a:lnTo>
                    <a:pt x="406573" y="96803"/>
                  </a:lnTo>
                  <a:lnTo>
                    <a:pt x="109710" y="316223"/>
                  </a:lnTo>
                  <a:close/>
                  <a:moveTo>
                    <a:pt x="109710" y="135524"/>
                  </a:moveTo>
                  <a:lnTo>
                    <a:pt x="122617" y="316223"/>
                  </a:lnTo>
                  <a:lnTo>
                    <a:pt x="393665" y="122617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6" name="Freeform: Shape 2845">
              <a:extLst>
                <a:ext uri="{FF2B5EF4-FFF2-40B4-BE49-F238E27FC236}">
                  <a16:creationId xmlns:a16="http://schemas.microsoft.com/office/drawing/2014/main" id="{4DAC6C50-4EE7-46C4-9181-897D49598A1E}"/>
                </a:ext>
              </a:extLst>
            </p:cNvPr>
            <p:cNvSpPr/>
            <p:nvPr/>
          </p:nvSpPr>
          <p:spPr>
            <a:xfrm>
              <a:off x="4933198" y="6777388"/>
              <a:ext cx="387212" cy="387212"/>
            </a:xfrm>
            <a:custGeom>
              <a:avLst/>
              <a:gdLst>
                <a:gd name="connsiteX0" fmla="*/ 96803 w 387211"/>
                <a:gd name="connsiteY0" fmla="*/ 406572 h 387211"/>
                <a:gd name="connsiteX1" fmla="*/ 393665 w 387211"/>
                <a:gd name="connsiteY1" fmla="*/ 96803 h 387211"/>
                <a:gd name="connsiteX2" fmla="*/ 406573 w 387211"/>
                <a:gd name="connsiteY2" fmla="*/ 380759 h 387211"/>
                <a:gd name="connsiteX3" fmla="*/ 96803 w 387211"/>
                <a:gd name="connsiteY3" fmla="*/ 406572 h 387211"/>
                <a:gd name="connsiteX4" fmla="*/ 380759 w 387211"/>
                <a:gd name="connsiteY4" fmla="*/ 109710 h 387211"/>
                <a:gd name="connsiteX5" fmla="*/ 109710 w 387211"/>
                <a:gd name="connsiteY5" fmla="*/ 393665 h 387211"/>
                <a:gd name="connsiteX6" fmla="*/ 393665 w 387211"/>
                <a:gd name="connsiteY6" fmla="*/ 380759 h 387211"/>
                <a:gd name="connsiteX7" fmla="*/ 380759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406572"/>
                  </a:moveTo>
                  <a:lnTo>
                    <a:pt x="393665" y="96803"/>
                  </a:lnTo>
                  <a:lnTo>
                    <a:pt x="406573" y="380759"/>
                  </a:lnTo>
                  <a:lnTo>
                    <a:pt x="96803" y="406572"/>
                  </a:lnTo>
                  <a:close/>
                  <a:moveTo>
                    <a:pt x="380759" y="109710"/>
                  </a:moveTo>
                  <a:lnTo>
                    <a:pt x="109710" y="393665"/>
                  </a:lnTo>
                  <a:lnTo>
                    <a:pt x="393665" y="380759"/>
                  </a:lnTo>
                  <a:lnTo>
                    <a:pt x="380759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7" name="Freeform: Shape 2846">
              <a:extLst>
                <a:ext uri="{FF2B5EF4-FFF2-40B4-BE49-F238E27FC236}">
                  <a16:creationId xmlns:a16="http://schemas.microsoft.com/office/drawing/2014/main" id="{1329502A-1D20-4BD9-9AB8-CC57F49A172F}"/>
                </a:ext>
              </a:extLst>
            </p:cNvPr>
            <p:cNvSpPr/>
            <p:nvPr/>
          </p:nvSpPr>
          <p:spPr>
            <a:xfrm>
              <a:off x="5630180" y="6506340"/>
              <a:ext cx="516283" cy="645353"/>
            </a:xfrm>
            <a:custGeom>
              <a:avLst/>
              <a:gdLst>
                <a:gd name="connsiteX0" fmla="*/ 354944 w 516282"/>
                <a:gd name="connsiteY0" fmla="*/ 638900 h 645353"/>
                <a:gd name="connsiteX1" fmla="*/ 96803 w 516282"/>
                <a:gd name="connsiteY1" fmla="*/ 277502 h 645353"/>
                <a:gd name="connsiteX2" fmla="*/ 522736 w 516282"/>
                <a:gd name="connsiteY2" fmla="*/ 96803 h 645353"/>
                <a:gd name="connsiteX3" fmla="*/ 354944 w 516282"/>
                <a:gd name="connsiteY3" fmla="*/ 638900 h 645353"/>
                <a:gd name="connsiteX4" fmla="*/ 109710 w 516282"/>
                <a:gd name="connsiteY4" fmla="*/ 277502 h 645353"/>
                <a:gd name="connsiteX5" fmla="*/ 354944 w 516282"/>
                <a:gd name="connsiteY5" fmla="*/ 625993 h 645353"/>
                <a:gd name="connsiteX6" fmla="*/ 509829 w 516282"/>
                <a:gd name="connsiteY6" fmla="*/ 109710 h 645353"/>
                <a:gd name="connsiteX7" fmla="*/ 109710 w 516282"/>
                <a:gd name="connsiteY7" fmla="*/ 277502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354944" y="638900"/>
                  </a:moveTo>
                  <a:lnTo>
                    <a:pt x="96803" y="277502"/>
                  </a:lnTo>
                  <a:lnTo>
                    <a:pt x="522736" y="96803"/>
                  </a:lnTo>
                  <a:lnTo>
                    <a:pt x="354944" y="638900"/>
                  </a:lnTo>
                  <a:close/>
                  <a:moveTo>
                    <a:pt x="109710" y="277502"/>
                  </a:moveTo>
                  <a:lnTo>
                    <a:pt x="354944" y="625993"/>
                  </a:lnTo>
                  <a:lnTo>
                    <a:pt x="509829" y="109710"/>
                  </a:lnTo>
                  <a:lnTo>
                    <a:pt x="109710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8" name="Freeform: Shape 2847">
              <a:extLst>
                <a:ext uri="{FF2B5EF4-FFF2-40B4-BE49-F238E27FC236}">
                  <a16:creationId xmlns:a16="http://schemas.microsoft.com/office/drawing/2014/main" id="{BDC2A21B-00DD-481E-A121-A8A80C942CAB}"/>
                </a:ext>
              </a:extLst>
            </p:cNvPr>
            <p:cNvSpPr/>
            <p:nvPr/>
          </p:nvSpPr>
          <p:spPr>
            <a:xfrm>
              <a:off x="5888321" y="7035530"/>
              <a:ext cx="387212" cy="516283"/>
            </a:xfrm>
            <a:custGeom>
              <a:avLst/>
              <a:gdLst>
                <a:gd name="connsiteX0" fmla="*/ 161338 w 387211"/>
                <a:gd name="connsiteY0" fmla="*/ 535643 h 516282"/>
                <a:gd name="connsiteX1" fmla="*/ 96803 w 387211"/>
                <a:gd name="connsiteY1" fmla="*/ 96803 h 516282"/>
                <a:gd name="connsiteX2" fmla="*/ 342037 w 387211"/>
                <a:gd name="connsiteY2" fmla="*/ 432386 h 516282"/>
                <a:gd name="connsiteX3" fmla="*/ 161338 w 387211"/>
                <a:gd name="connsiteY3" fmla="*/ 535643 h 516282"/>
                <a:gd name="connsiteX4" fmla="*/ 109710 w 387211"/>
                <a:gd name="connsiteY4" fmla="*/ 122617 h 516282"/>
                <a:gd name="connsiteX5" fmla="*/ 174245 w 387211"/>
                <a:gd name="connsiteY5" fmla="*/ 535643 h 516282"/>
                <a:gd name="connsiteX6" fmla="*/ 342037 w 387211"/>
                <a:gd name="connsiteY6" fmla="*/ 432386 h 516282"/>
                <a:gd name="connsiteX7" fmla="*/ 109710 w 387211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161338" y="535643"/>
                  </a:moveTo>
                  <a:lnTo>
                    <a:pt x="96803" y="96803"/>
                  </a:lnTo>
                  <a:lnTo>
                    <a:pt x="342037" y="432386"/>
                  </a:lnTo>
                  <a:lnTo>
                    <a:pt x="161338" y="535643"/>
                  </a:lnTo>
                  <a:close/>
                  <a:moveTo>
                    <a:pt x="109710" y="122617"/>
                  </a:moveTo>
                  <a:lnTo>
                    <a:pt x="174245" y="535643"/>
                  </a:lnTo>
                  <a:lnTo>
                    <a:pt x="342037" y="432386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49" name="Freeform: Shape 2848">
              <a:extLst>
                <a:ext uri="{FF2B5EF4-FFF2-40B4-BE49-F238E27FC236}">
                  <a16:creationId xmlns:a16="http://schemas.microsoft.com/office/drawing/2014/main" id="{665A657B-7AE9-43A4-BD51-FFA966FF0F6A}"/>
                </a:ext>
              </a:extLst>
            </p:cNvPr>
            <p:cNvSpPr/>
            <p:nvPr/>
          </p:nvSpPr>
          <p:spPr>
            <a:xfrm>
              <a:off x="5888321" y="6493433"/>
              <a:ext cx="387212" cy="645353"/>
            </a:xfrm>
            <a:custGeom>
              <a:avLst/>
              <a:gdLst>
                <a:gd name="connsiteX0" fmla="*/ 96803 w 387211"/>
                <a:gd name="connsiteY0" fmla="*/ 651807 h 645353"/>
                <a:gd name="connsiteX1" fmla="*/ 264595 w 387211"/>
                <a:gd name="connsiteY1" fmla="*/ 96803 h 645353"/>
                <a:gd name="connsiteX2" fmla="*/ 342037 w 387211"/>
                <a:gd name="connsiteY2" fmla="*/ 613086 h 645353"/>
                <a:gd name="connsiteX3" fmla="*/ 96803 w 387211"/>
                <a:gd name="connsiteY3" fmla="*/ 651807 h 645353"/>
                <a:gd name="connsiteX4" fmla="*/ 264595 w 387211"/>
                <a:gd name="connsiteY4" fmla="*/ 122617 h 645353"/>
                <a:gd name="connsiteX5" fmla="*/ 109710 w 387211"/>
                <a:gd name="connsiteY5" fmla="*/ 638900 h 645353"/>
                <a:gd name="connsiteX6" fmla="*/ 342037 w 387211"/>
                <a:gd name="connsiteY6" fmla="*/ 613086 h 645353"/>
                <a:gd name="connsiteX7" fmla="*/ 264595 w 387211"/>
                <a:gd name="connsiteY7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96803" y="651807"/>
                  </a:moveTo>
                  <a:lnTo>
                    <a:pt x="264595" y="96803"/>
                  </a:lnTo>
                  <a:lnTo>
                    <a:pt x="342037" y="613086"/>
                  </a:lnTo>
                  <a:lnTo>
                    <a:pt x="96803" y="651807"/>
                  </a:lnTo>
                  <a:close/>
                  <a:moveTo>
                    <a:pt x="264595" y="122617"/>
                  </a:moveTo>
                  <a:lnTo>
                    <a:pt x="109710" y="638900"/>
                  </a:lnTo>
                  <a:lnTo>
                    <a:pt x="342037" y="613086"/>
                  </a:lnTo>
                  <a:lnTo>
                    <a:pt x="264595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0" name="Freeform: Shape 2849">
              <a:extLst>
                <a:ext uri="{FF2B5EF4-FFF2-40B4-BE49-F238E27FC236}">
                  <a16:creationId xmlns:a16="http://schemas.microsoft.com/office/drawing/2014/main" id="{C1CD202E-1E7B-4FDB-9137-A3652680CEDA}"/>
                </a:ext>
              </a:extLst>
            </p:cNvPr>
            <p:cNvSpPr/>
            <p:nvPr/>
          </p:nvSpPr>
          <p:spPr>
            <a:xfrm>
              <a:off x="5888321" y="7009715"/>
              <a:ext cx="387212" cy="516283"/>
            </a:xfrm>
            <a:custGeom>
              <a:avLst/>
              <a:gdLst>
                <a:gd name="connsiteX0" fmla="*/ 342037 w 387211"/>
                <a:gd name="connsiteY0" fmla="*/ 458201 h 516282"/>
                <a:gd name="connsiteX1" fmla="*/ 96803 w 387211"/>
                <a:gd name="connsiteY1" fmla="*/ 122617 h 516282"/>
                <a:gd name="connsiteX2" fmla="*/ 354944 w 387211"/>
                <a:gd name="connsiteY2" fmla="*/ 96803 h 516282"/>
                <a:gd name="connsiteX3" fmla="*/ 342037 w 387211"/>
                <a:gd name="connsiteY3" fmla="*/ 458201 h 516282"/>
                <a:gd name="connsiteX4" fmla="*/ 109710 w 387211"/>
                <a:gd name="connsiteY4" fmla="*/ 135524 h 516282"/>
                <a:gd name="connsiteX5" fmla="*/ 342037 w 387211"/>
                <a:gd name="connsiteY5" fmla="*/ 445294 h 516282"/>
                <a:gd name="connsiteX6" fmla="*/ 342037 w 387211"/>
                <a:gd name="connsiteY6" fmla="*/ 109710 h 516282"/>
                <a:gd name="connsiteX7" fmla="*/ 109710 w 387211"/>
                <a:gd name="connsiteY7" fmla="*/ 13552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42037" y="458201"/>
                  </a:moveTo>
                  <a:lnTo>
                    <a:pt x="96803" y="122617"/>
                  </a:lnTo>
                  <a:lnTo>
                    <a:pt x="354944" y="96803"/>
                  </a:lnTo>
                  <a:lnTo>
                    <a:pt x="342037" y="458201"/>
                  </a:lnTo>
                  <a:close/>
                  <a:moveTo>
                    <a:pt x="109710" y="135524"/>
                  </a:moveTo>
                  <a:lnTo>
                    <a:pt x="342037" y="445294"/>
                  </a:lnTo>
                  <a:lnTo>
                    <a:pt x="342037" y="109710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1" name="Freeform: Shape 2850">
              <a:extLst>
                <a:ext uri="{FF2B5EF4-FFF2-40B4-BE49-F238E27FC236}">
                  <a16:creationId xmlns:a16="http://schemas.microsoft.com/office/drawing/2014/main" id="{96652A70-D0E2-47C6-8F72-10E95BAA3F47}"/>
                </a:ext>
              </a:extLst>
            </p:cNvPr>
            <p:cNvSpPr/>
            <p:nvPr/>
          </p:nvSpPr>
          <p:spPr>
            <a:xfrm>
              <a:off x="5565645" y="6687039"/>
              <a:ext cx="516283" cy="516283"/>
            </a:xfrm>
            <a:custGeom>
              <a:avLst/>
              <a:gdLst>
                <a:gd name="connsiteX0" fmla="*/ 432386 w 516282"/>
                <a:gd name="connsiteY0" fmla="*/ 458201 h 516282"/>
                <a:gd name="connsiteX1" fmla="*/ 96803 w 516282"/>
                <a:gd name="connsiteY1" fmla="*/ 367851 h 516282"/>
                <a:gd name="connsiteX2" fmla="*/ 174245 w 516282"/>
                <a:gd name="connsiteY2" fmla="*/ 96803 h 516282"/>
                <a:gd name="connsiteX3" fmla="*/ 432386 w 516282"/>
                <a:gd name="connsiteY3" fmla="*/ 458201 h 516282"/>
                <a:gd name="connsiteX4" fmla="*/ 96803 w 516282"/>
                <a:gd name="connsiteY4" fmla="*/ 354944 h 516282"/>
                <a:gd name="connsiteX5" fmla="*/ 406572 w 516282"/>
                <a:gd name="connsiteY5" fmla="*/ 445294 h 516282"/>
                <a:gd name="connsiteX6" fmla="*/ 161338 w 516282"/>
                <a:gd name="connsiteY6" fmla="*/ 96803 h 516282"/>
                <a:gd name="connsiteX7" fmla="*/ 96803 w 516282"/>
                <a:gd name="connsiteY7" fmla="*/ 35494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432386" y="458201"/>
                  </a:moveTo>
                  <a:lnTo>
                    <a:pt x="96803" y="367851"/>
                  </a:lnTo>
                  <a:lnTo>
                    <a:pt x="174245" y="96803"/>
                  </a:lnTo>
                  <a:lnTo>
                    <a:pt x="432386" y="458201"/>
                  </a:lnTo>
                  <a:close/>
                  <a:moveTo>
                    <a:pt x="96803" y="354944"/>
                  </a:moveTo>
                  <a:lnTo>
                    <a:pt x="406572" y="445294"/>
                  </a:lnTo>
                  <a:lnTo>
                    <a:pt x="161338" y="96803"/>
                  </a:lnTo>
                  <a:lnTo>
                    <a:pt x="96803" y="3549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2" name="Freeform: Shape 2851">
              <a:extLst>
                <a:ext uri="{FF2B5EF4-FFF2-40B4-BE49-F238E27FC236}">
                  <a16:creationId xmlns:a16="http://schemas.microsoft.com/office/drawing/2014/main" id="{410704B5-E058-4184-9826-79A4175AFDAE}"/>
                </a:ext>
              </a:extLst>
            </p:cNvPr>
            <p:cNvSpPr/>
            <p:nvPr/>
          </p:nvSpPr>
          <p:spPr>
            <a:xfrm>
              <a:off x="5217154" y="6687039"/>
              <a:ext cx="516283" cy="387212"/>
            </a:xfrm>
            <a:custGeom>
              <a:avLst/>
              <a:gdLst>
                <a:gd name="connsiteX0" fmla="*/ 445294 w 516282"/>
                <a:gd name="connsiteY0" fmla="*/ 367851 h 387211"/>
                <a:gd name="connsiteX1" fmla="*/ 96803 w 516282"/>
                <a:gd name="connsiteY1" fmla="*/ 200059 h 387211"/>
                <a:gd name="connsiteX2" fmla="*/ 109710 w 516282"/>
                <a:gd name="connsiteY2" fmla="*/ 200059 h 387211"/>
                <a:gd name="connsiteX3" fmla="*/ 535643 w 516282"/>
                <a:gd name="connsiteY3" fmla="*/ 96803 h 387211"/>
                <a:gd name="connsiteX4" fmla="*/ 445294 w 516282"/>
                <a:gd name="connsiteY4" fmla="*/ 367851 h 387211"/>
                <a:gd name="connsiteX5" fmla="*/ 109710 w 516282"/>
                <a:gd name="connsiteY5" fmla="*/ 200059 h 387211"/>
                <a:gd name="connsiteX6" fmla="*/ 445294 w 516282"/>
                <a:gd name="connsiteY6" fmla="*/ 354944 h 387211"/>
                <a:gd name="connsiteX7" fmla="*/ 522736 w 516282"/>
                <a:gd name="connsiteY7" fmla="*/ 96803 h 387211"/>
                <a:gd name="connsiteX8" fmla="*/ 109710 w 516282"/>
                <a:gd name="connsiteY8" fmla="*/ 20005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445294" y="367851"/>
                  </a:moveTo>
                  <a:lnTo>
                    <a:pt x="96803" y="200059"/>
                  </a:lnTo>
                  <a:lnTo>
                    <a:pt x="109710" y="200059"/>
                  </a:lnTo>
                  <a:lnTo>
                    <a:pt x="535643" y="96803"/>
                  </a:lnTo>
                  <a:lnTo>
                    <a:pt x="445294" y="367851"/>
                  </a:lnTo>
                  <a:close/>
                  <a:moveTo>
                    <a:pt x="109710" y="200059"/>
                  </a:moveTo>
                  <a:lnTo>
                    <a:pt x="445294" y="354944"/>
                  </a:lnTo>
                  <a:lnTo>
                    <a:pt x="522736" y="96803"/>
                  </a:lnTo>
                  <a:lnTo>
                    <a:pt x="109710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3" name="Freeform: Shape 2852">
              <a:extLst>
                <a:ext uri="{FF2B5EF4-FFF2-40B4-BE49-F238E27FC236}">
                  <a16:creationId xmlns:a16="http://schemas.microsoft.com/office/drawing/2014/main" id="{CFE0EBF9-22B3-4C52-8B1C-174A5E36690E}"/>
                </a:ext>
              </a:extLst>
            </p:cNvPr>
            <p:cNvSpPr/>
            <p:nvPr/>
          </p:nvSpPr>
          <p:spPr>
            <a:xfrm>
              <a:off x="5217154" y="6777388"/>
              <a:ext cx="516283" cy="387212"/>
            </a:xfrm>
            <a:custGeom>
              <a:avLst/>
              <a:gdLst>
                <a:gd name="connsiteX0" fmla="*/ 109710 w 516282"/>
                <a:gd name="connsiteY0" fmla="*/ 380759 h 387211"/>
                <a:gd name="connsiteX1" fmla="*/ 96803 w 516282"/>
                <a:gd name="connsiteY1" fmla="*/ 96803 h 387211"/>
                <a:gd name="connsiteX2" fmla="*/ 96803 w 516282"/>
                <a:gd name="connsiteY2" fmla="*/ 96803 h 387211"/>
                <a:gd name="connsiteX3" fmla="*/ 445294 w 516282"/>
                <a:gd name="connsiteY3" fmla="*/ 264595 h 387211"/>
                <a:gd name="connsiteX4" fmla="*/ 109710 w 516282"/>
                <a:gd name="connsiteY4" fmla="*/ 380759 h 387211"/>
                <a:gd name="connsiteX5" fmla="*/ 109710 w 516282"/>
                <a:gd name="connsiteY5" fmla="*/ 109710 h 387211"/>
                <a:gd name="connsiteX6" fmla="*/ 122617 w 516282"/>
                <a:gd name="connsiteY6" fmla="*/ 380759 h 387211"/>
                <a:gd name="connsiteX7" fmla="*/ 445294 w 516282"/>
                <a:gd name="connsiteY7" fmla="*/ 277502 h 387211"/>
                <a:gd name="connsiteX8" fmla="*/ 109710 w 516282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109710" y="380759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445294" y="264595"/>
                  </a:lnTo>
                  <a:lnTo>
                    <a:pt x="109710" y="380759"/>
                  </a:lnTo>
                  <a:close/>
                  <a:moveTo>
                    <a:pt x="109710" y="109710"/>
                  </a:moveTo>
                  <a:lnTo>
                    <a:pt x="122617" y="380759"/>
                  </a:lnTo>
                  <a:lnTo>
                    <a:pt x="445294" y="277502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4" name="Freeform: Shape 2853">
              <a:extLst>
                <a:ext uri="{FF2B5EF4-FFF2-40B4-BE49-F238E27FC236}">
                  <a16:creationId xmlns:a16="http://schemas.microsoft.com/office/drawing/2014/main" id="{BF90B197-0ED6-4B6B-A18B-84A6A389630E}"/>
                </a:ext>
              </a:extLst>
            </p:cNvPr>
            <p:cNvSpPr/>
            <p:nvPr/>
          </p:nvSpPr>
          <p:spPr>
            <a:xfrm>
              <a:off x="5230061" y="6945180"/>
              <a:ext cx="516283" cy="774424"/>
            </a:xfrm>
            <a:custGeom>
              <a:avLst/>
              <a:gdLst>
                <a:gd name="connsiteX0" fmla="*/ 316223 w 516282"/>
                <a:gd name="connsiteY0" fmla="*/ 729249 h 774423"/>
                <a:gd name="connsiteX1" fmla="*/ 96803 w 516282"/>
                <a:gd name="connsiteY1" fmla="*/ 212967 h 774423"/>
                <a:gd name="connsiteX2" fmla="*/ 432387 w 516282"/>
                <a:gd name="connsiteY2" fmla="*/ 96803 h 774423"/>
                <a:gd name="connsiteX3" fmla="*/ 316223 w 516282"/>
                <a:gd name="connsiteY3" fmla="*/ 729249 h 774423"/>
                <a:gd name="connsiteX4" fmla="*/ 109710 w 516282"/>
                <a:gd name="connsiteY4" fmla="*/ 212967 h 774423"/>
                <a:gd name="connsiteX5" fmla="*/ 316223 w 516282"/>
                <a:gd name="connsiteY5" fmla="*/ 703435 h 774423"/>
                <a:gd name="connsiteX6" fmla="*/ 432387 w 516282"/>
                <a:gd name="connsiteY6" fmla="*/ 109710 h 774423"/>
                <a:gd name="connsiteX7" fmla="*/ 109710 w 516282"/>
                <a:gd name="connsiteY7" fmla="*/ 21296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774423">
                  <a:moveTo>
                    <a:pt x="316223" y="729249"/>
                  </a:moveTo>
                  <a:lnTo>
                    <a:pt x="96803" y="212967"/>
                  </a:lnTo>
                  <a:lnTo>
                    <a:pt x="432387" y="96803"/>
                  </a:lnTo>
                  <a:lnTo>
                    <a:pt x="316223" y="729249"/>
                  </a:lnTo>
                  <a:close/>
                  <a:moveTo>
                    <a:pt x="109710" y="212967"/>
                  </a:moveTo>
                  <a:lnTo>
                    <a:pt x="316223" y="703435"/>
                  </a:lnTo>
                  <a:lnTo>
                    <a:pt x="432387" y="109710"/>
                  </a:lnTo>
                  <a:lnTo>
                    <a:pt x="109710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5" name="Freeform: Shape 2854">
              <a:extLst>
                <a:ext uri="{FF2B5EF4-FFF2-40B4-BE49-F238E27FC236}">
                  <a16:creationId xmlns:a16="http://schemas.microsoft.com/office/drawing/2014/main" id="{9E1C1DB2-72A1-47D1-B432-60CDA6181B47}"/>
                </a:ext>
              </a:extLst>
            </p:cNvPr>
            <p:cNvSpPr/>
            <p:nvPr/>
          </p:nvSpPr>
          <p:spPr>
            <a:xfrm>
              <a:off x="4907384" y="7371113"/>
              <a:ext cx="387212" cy="387212"/>
            </a:xfrm>
            <a:custGeom>
              <a:avLst/>
              <a:gdLst>
                <a:gd name="connsiteX0" fmla="*/ 96803 w 387211"/>
                <a:gd name="connsiteY0" fmla="*/ 329130 h 387211"/>
                <a:gd name="connsiteX1" fmla="*/ 109710 w 387211"/>
                <a:gd name="connsiteY1" fmla="*/ 96803 h 387211"/>
                <a:gd name="connsiteX2" fmla="*/ 393665 w 387211"/>
                <a:gd name="connsiteY2" fmla="*/ 212967 h 387211"/>
                <a:gd name="connsiteX3" fmla="*/ 96803 w 387211"/>
                <a:gd name="connsiteY3" fmla="*/ 329130 h 387211"/>
                <a:gd name="connsiteX4" fmla="*/ 122617 w 387211"/>
                <a:gd name="connsiteY4" fmla="*/ 109710 h 387211"/>
                <a:gd name="connsiteX5" fmla="*/ 109710 w 387211"/>
                <a:gd name="connsiteY5" fmla="*/ 329130 h 387211"/>
                <a:gd name="connsiteX6" fmla="*/ 380759 w 387211"/>
                <a:gd name="connsiteY6" fmla="*/ 212967 h 387211"/>
                <a:gd name="connsiteX7" fmla="*/ 122617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29130"/>
                  </a:moveTo>
                  <a:lnTo>
                    <a:pt x="109710" y="96803"/>
                  </a:lnTo>
                  <a:lnTo>
                    <a:pt x="393665" y="212967"/>
                  </a:lnTo>
                  <a:lnTo>
                    <a:pt x="96803" y="329130"/>
                  </a:lnTo>
                  <a:close/>
                  <a:moveTo>
                    <a:pt x="122617" y="109710"/>
                  </a:moveTo>
                  <a:lnTo>
                    <a:pt x="109710" y="329130"/>
                  </a:lnTo>
                  <a:lnTo>
                    <a:pt x="380759" y="212967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6" name="Freeform: Shape 2855">
              <a:extLst>
                <a:ext uri="{FF2B5EF4-FFF2-40B4-BE49-F238E27FC236}">
                  <a16:creationId xmlns:a16="http://schemas.microsoft.com/office/drawing/2014/main" id="{60BAA8F8-FEC5-4FFD-8571-C8321FA413B4}"/>
                </a:ext>
              </a:extLst>
            </p:cNvPr>
            <p:cNvSpPr/>
            <p:nvPr/>
          </p:nvSpPr>
          <p:spPr>
            <a:xfrm>
              <a:off x="4933198" y="7267857"/>
              <a:ext cx="387212" cy="387212"/>
            </a:xfrm>
            <a:custGeom>
              <a:avLst/>
              <a:gdLst>
                <a:gd name="connsiteX0" fmla="*/ 380759 w 387211"/>
                <a:gd name="connsiteY0" fmla="*/ 329130 h 387211"/>
                <a:gd name="connsiteX1" fmla="*/ 96803 w 387211"/>
                <a:gd name="connsiteY1" fmla="*/ 212967 h 387211"/>
                <a:gd name="connsiteX2" fmla="*/ 122617 w 387211"/>
                <a:gd name="connsiteY2" fmla="*/ 96803 h 387211"/>
                <a:gd name="connsiteX3" fmla="*/ 380759 w 387211"/>
                <a:gd name="connsiteY3" fmla="*/ 329130 h 387211"/>
                <a:gd name="connsiteX4" fmla="*/ 96803 w 387211"/>
                <a:gd name="connsiteY4" fmla="*/ 212967 h 387211"/>
                <a:gd name="connsiteX5" fmla="*/ 354944 w 387211"/>
                <a:gd name="connsiteY5" fmla="*/ 316223 h 387211"/>
                <a:gd name="connsiteX6" fmla="*/ 122617 w 387211"/>
                <a:gd name="connsiteY6" fmla="*/ 96803 h 387211"/>
                <a:gd name="connsiteX7" fmla="*/ 96803 w 387211"/>
                <a:gd name="connsiteY7" fmla="*/ 21296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80759" y="329130"/>
                  </a:moveTo>
                  <a:lnTo>
                    <a:pt x="96803" y="212967"/>
                  </a:lnTo>
                  <a:lnTo>
                    <a:pt x="122617" y="96803"/>
                  </a:lnTo>
                  <a:lnTo>
                    <a:pt x="380759" y="329130"/>
                  </a:lnTo>
                  <a:close/>
                  <a:moveTo>
                    <a:pt x="96803" y="212967"/>
                  </a:moveTo>
                  <a:lnTo>
                    <a:pt x="354944" y="316223"/>
                  </a:lnTo>
                  <a:lnTo>
                    <a:pt x="122617" y="96803"/>
                  </a:lnTo>
                  <a:lnTo>
                    <a:pt x="96803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7" name="Freeform: Shape 2856">
              <a:extLst>
                <a:ext uri="{FF2B5EF4-FFF2-40B4-BE49-F238E27FC236}">
                  <a16:creationId xmlns:a16="http://schemas.microsoft.com/office/drawing/2014/main" id="{2AF2DB0B-1DB7-4A9F-90DD-226C27513AE4}"/>
                </a:ext>
              </a:extLst>
            </p:cNvPr>
            <p:cNvSpPr/>
            <p:nvPr/>
          </p:nvSpPr>
          <p:spPr>
            <a:xfrm>
              <a:off x="4946105" y="7048437"/>
              <a:ext cx="387212" cy="645353"/>
            </a:xfrm>
            <a:custGeom>
              <a:avLst/>
              <a:gdLst>
                <a:gd name="connsiteX0" fmla="*/ 354944 w 387211"/>
                <a:gd name="connsiteY0" fmla="*/ 548550 h 645353"/>
                <a:gd name="connsiteX1" fmla="*/ 96803 w 387211"/>
                <a:gd name="connsiteY1" fmla="*/ 316223 h 645353"/>
                <a:gd name="connsiteX2" fmla="*/ 393666 w 387211"/>
                <a:gd name="connsiteY2" fmla="*/ 96803 h 645353"/>
                <a:gd name="connsiteX3" fmla="*/ 354944 w 387211"/>
                <a:gd name="connsiteY3" fmla="*/ 548550 h 645353"/>
                <a:gd name="connsiteX4" fmla="*/ 109710 w 387211"/>
                <a:gd name="connsiteY4" fmla="*/ 316223 h 645353"/>
                <a:gd name="connsiteX5" fmla="*/ 354944 w 387211"/>
                <a:gd name="connsiteY5" fmla="*/ 535643 h 645353"/>
                <a:gd name="connsiteX6" fmla="*/ 393666 w 387211"/>
                <a:gd name="connsiteY6" fmla="*/ 122617 h 645353"/>
                <a:gd name="connsiteX7" fmla="*/ 109710 w 387211"/>
                <a:gd name="connsiteY7" fmla="*/ 31622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354944" y="548550"/>
                  </a:moveTo>
                  <a:lnTo>
                    <a:pt x="96803" y="316223"/>
                  </a:lnTo>
                  <a:lnTo>
                    <a:pt x="393666" y="96803"/>
                  </a:lnTo>
                  <a:lnTo>
                    <a:pt x="354944" y="548550"/>
                  </a:lnTo>
                  <a:close/>
                  <a:moveTo>
                    <a:pt x="109710" y="316223"/>
                  </a:moveTo>
                  <a:lnTo>
                    <a:pt x="354944" y="535643"/>
                  </a:lnTo>
                  <a:lnTo>
                    <a:pt x="393666" y="122617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8" name="Freeform: Shape 2857">
              <a:extLst>
                <a:ext uri="{FF2B5EF4-FFF2-40B4-BE49-F238E27FC236}">
                  <a16:creationId xmlns:a16="http://schemas.microsoft.com/office/drawing/2014/main" id="{12DB5257-E6CE-48E9-94B2-4BBDA674FA84}"/>
                </a:ext>
              </a:extLst>
            </p:cNvPr>
            <p:cNvSpPr/>
            <p:nvPr/>
          </p:nvSpPr>
          <p:spPr>
            <a:xfrm>
              <a:off x="5191340" y="7061344"/>
              <a:ext cx="387212" cy="645353"/>
            </a:xfrm>
            <a:custGeom>
              <a:avLst/>
              <a:gdLst>
                <a:gd name="connsiteX0" fmla="*/ 354944 w 387211"/>
                <a:gd name="connsiteY0" fmla="*/ 613086 h 645353"/>
                <a:gd name="connsiteX1" fmla="*/ 354944 w 387211"/>
                <a:gd name="connsiteY1" fmla="*/ 613086 h 645353"/>
                <a:gd name="connsiteX2" fmla="*/ 96803 w 387211"/>
                <a:gd name="connsiteY2" fmla="*/ 535643 h 645353"/>
                <a:gd name="connsiteX3" fmla="*/ 96803 w 387211"/>
                <a:gd name="connsiteY3" fmla="*/ 535643 h 645353"/>
                <a:gd name="connsiteX4" fmla="*/ 135524 w 387211"/>
                <a:gd name="connsiteY4" fmla="*/ 96803 h 645353"/>
                <a:gd name="connsiteX5" fmla="*/ 354944 w 387211"/>
                <a:gd name="connsiteY5" fmla="*/ 613086 h 645353"/>
                <a:gd name="connsiteX6" fmla="*/ 109710 w 387211"/>
                <a:gd name="connsiteY6" fmla="*/ 522736 h 645353"/>
                <a:gd name="connsiteX7" fmla="*/ 342037 w 387211"/>
                <a:gd name="connsiteY7" fmla="*/ 600178 h 645353"/>
                <a:gd name="connsiteX8" fmla="*/ 135524 w 387211"/>
                <a:gd name="connsiteY8" fmla="*/ 109710 h 645353"/>
                <a:gd name="connsiteX9" fmla="*/ 109710 w 387211"/>
                <a:gd name="connsiteY9" fmla="*/ 522736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645353">
                  <a:moveTo>
                    <a:pt x="354944" y="613086"/>
                  </a:moveTo>
                  <a:lnTo>
                    <a:pt x="354944" y="613086"/>
                  </a:lnTo>
                  <a:lnTo>
                    <a:pt x="96803" y="535643"/>
                  </a:lnTo>
                  <a:lnTo>
                    <a:pt x="96803" y="535643"/>
                  </a:lnTo>
                  <a:lnTo>
                    <a:pt x="135524" y="96803"/>
                  </a:lnTo>
                  <a:lnTo>
                    <a:pt x="354944" y="613086"/>
                  </a:lnTo>
                  <a:close/>
                  <a:moveTo>
                    <a:pt x="109710" y="522736"/>
                  </a:moveTo>
                  <a:lnTo>
                    <a:pt x="342037" y="600178"/>
                  </a:lnTo>
                  <a:lnTo>
                    <a:pt x="135524" y="109710"/>
                  </a:lnTo>
                  <a:lnTo>
                    <a:pt x="109710" y="5227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59" name="Freeform: Shape 2858">
              <a:extLst>
                <a:ext uri="{FF2B5EF4-FFF2-40B4-BE49-F238E27FC236}">
                  <a16:creationId xmlns:a16="http://schemas.microsoft.com/office/drawing/2014/main" id="{5D262002-2F6E-466D-A63C-9A661674F0CD}"/>
                </a:ext>
              </a:extLst>
            </p:cNvPr>
            <p:cNvSpPr/>
            <p:nvPr/>
          </p:nvSpPr>
          <p:spPr>
            <a:xfrm>
              <a:off x="5539831" y="7564719"/>
              <a:ext cx="258141" cy="645353"/>
            </a:xfrm>
            <a:custGeom>
              <a:avLst/>
              <a:gdLst>
                <a:gd name="connsiteX0" fmla="*/ 277502 w 258141"/>
                <a:gd name="connsiteY0" fmla="*/ 574364 h 645353"/>
                <a:gd name="connsiteX1" fmla="*/ 96803 w 258141"/>
                <a:gd name="connsiteY1" fmla="*/ 574364 h 645353"/>
                <a:gd name="connsiteX2" fmla="*/ 251688 w 258141"/>
                <a:gd name="connsiteY2" fmla="*/ 96803 h 645353"/>
                <a:gd name="connsiteX3" fmla="*/ 277502 w 258141"/>
                <a:gd name="connsiteY3" fmla="*/ 574364 h 645353"/>
                <a:gd name="connsiteX4" fmla="*/ 96803 w 258141"/>
                <a:gd name="connsiteY4" fmla="*/ 574364 h 645353"/>
                <a:gd name="connsiteX5" fmla="*/ 264595 w 258141"/>
                <a:gd name="connsiteY5" fmla="*/ 574364 h 645353"/>
                <a:gd name="connsiteX6" fmla="*/ 238781 w 258141"/>
                <a:gd name="connsiteY6" fmla="*/ 135524 h 645353"/>
                <a:gd name="connsiteX7" fmla="*/ 96803 w 258141"/>
                <a:gd name="connsiteY7" fmla="*/ 574364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645353">
                  <a:moveTo>
                    <a:pt x="277502" y="574364"/>
                  </a:moveTo>
                  <a:lnTo>
                    <a:pt x="96803" y="574364"/>
                  </a:lnTo>
                  <a:lnTo>
                    <a:pt x="251688" y="96803"/>
                  </a:lnTo>
                  <a:lnTo>
                    <a:pt x="277502" y="574364"/>
                  </a:lnTo>
                  <a:close/>
                  <a:moveTo>
                    <a:pt x="96803" y="574364"/>
                  </a:moveTo>
                  <a:lnTo>
                    <a:pt x="264595" y="574364"/>
                  </a:lnTo>
                  <a:lnTo>
                    <a:pt x="238781" y="135524"/>
                  </a:lnTo>
                  <a:lnTo>
                    <a:pt x="96803" y="57436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0" name="Freeform: Shape 2859">
              <a:extLst>
                <a:ext uri="{FF2B5EF4-FFF2-40B4-BE49-F238E27FC236}">
                  <a16:creationId xmlns:a16="http://schemas.microsoft.com/office/drawing/2014/main" id="{00643AD6-F7C1-446E-A127-89493245E1F9}"/>
                </a:ext>
              </a:extLst>
            </p:cNvPr>
            <p:cNvSpPr/>
            <p:nvPr/>
          </p:nvSpPr>
          <p:spPr>
            <a:xfrm>
              <a:off x="5552737" y="6945180"/>
              <a:ext cx="516283" cy="774424"/>
            </a:xfrm>
            <a:custGeom>
              <a:avLst/>
              <a:gdLst>
                <a:gd name="connsiteX0" fmla="*/ 225874 w 516282"/>
                <a:gd name="connsiteY0" fmla="*/ 742156 h 774423"/>
                <a:gd name="connsiteX1" fmla="*/ 96803 w 516282"/>
                <a:gd name="connsiteY1" fmla="*/ 96803 h 774423"/>
                <a:gd name="connsiteX2" fmla="*/ 432387 w 516282"/>
                <a:gd name="connsiteY2" fmla="*/ 187153 h 774423"/>
                <a:gd name="connsiteX3" fmla="*/ 432387 w 516282"/>
                <a:gd name="connsiteY3" fmla="*/ 187153 h 774423"/>
                <a:gd name="connsiteX4" fmla="*/ 225874 w 516282"/>
                <a:gd name="connsiteY4" fmla="*/ 742156 h 774423"/>
                <a:gd name="connsiteX5" fmla="*/ 109710 w 516282"/>
                <a:gd name="connsiteY5" fmla="*/ 109710 h 774423"/>
                <a:gd name="connsiteX6" fmla="*/ 225874 w 516282"/>
                <a:gd name="connsiteY6" fmla="*/ 729249 h 774423"/>
                <a:gd name="connsiteX7" fmla="*/ 419480 w 516282"/>
                <a:gd name="connsiteY7" fmla="*/ 200059 h 774423"/>
                <a:gd name="connsiteX8" fmla="*/ 109710 w 516282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774423">
                  <a:moveTo>
                    <a:pt x="225874" y="742156"/>
                  </a:moveTo>
                  <a:lnTo>
                    <a:pt x="96803" y="96803"/>
                  </a:lnTo>
                  <a:lnTo>
                    <a:pt x="432387" y="187153"/>
                  </a:lnTo>
                  <a:lnTo>
                    <a:pt x="432387" y="187153"/>
                  </a:lnTo>
                  <a:lnTo>
                    <a:pt x="225874" y="742156"/>
                  </a:lnTo>
                  <a:close/>
                  <a:moveTo>
                    <a:pt x="109710" y="109710"/>
                  </a:moveTo>
                  <a:lnTo>
                    <a:pt x="225874" y="729249"/>
                  </a:lnTo>
                  <a:lnTo>
                    <a:pt x="419480" y="200059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1" name="Freeform: Shape 2860">
              <a:extLst>
                <a:ext uri="{FF2B5EF4-FFF2-40B4-BE49-F238E27FC236}">
                  <a16:creationId xmlns:a16="http://schemas.microsoft.com/office/drawing/2014/main" id="{B1D85630-FB61-488E-BBBA-8A92B0153B33}"/>
                </a:ext>
              </a:extLst>
            </p:cNvPr>
            <p:cNvSpPr/>
            <p:nvPr/>
          </p:nvSpPr>
          <p:spPr>
            <a:xfrm>
              <a:off x="5681808" y="7577627"/>
              <a:ext cx="387212" cy="645353"/>
            </a:xfrm>
            <a:custGeom>
              <a:avLst/>
              <a:gdLst>
                <a:gd name="connsiteX0" fmla="*/ 135524 w 387211"/>
                <a:gd name="connsiteY0" fmla="*/ 574364 h 645353"/>
                <a:gd name="connsiteX1" fmla="*/ 96803 w 387211"/>
                <a:gd name="connsiteY1" fmla="*/ 96803 h 645353"/>
                <a:gd name="connsiteX2" fmla="*/ 290409 w 387211"/>
                <a:gd name="connsiteY2" fmla="*/ 277502 h 645353"/>
                <a:gd name="connsiteX3" fmla="*/ 135524 w 387211"/>
                <a:gd name="connsiteY3" fmla="*/ 574364 h 645353"/>
                <a:gd name="connsiteX4" fmla="*/ 109710 w 387211"/>
                <a:gd name="connsiteY4" fmla="*/ 109710 h 645353"/>
                <a:gd name="connsiteX5" fmla="*/ 135524 w 387211"/>
                <a:gd name="connsiteY5" fmla="*/ 548550 h 645353"/>
                <a:gd name="connsiteX6" fmla="*/ 290409 w 387211"/>
                <a:gd name="connsiteY6" fmla="*/ 277502 h 645353"/>
                <a:gd name="connsiteX7" fmla="*/ 109710 w 387211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135524" y="574364"/>
                  </a:moveTo>
                  <a:lnTo>
                    <a:pt x="96803" y="96803"/>
                  </a:lnTo>
                  <a:lnTo>
                    <a:pt x="290409" y="277502"/>
                  </a:lnTo>
                  <a:lnTo>
                    <a:pt x="135524" y="574364"/>
                  </a:lnTo>
                  <a:close/>
                  <a:moveTo>
                    <a:pt x="109710" y="109710"/>
                  </a:moveTo>
                  <a:lnTo>
                    <a:pt x="135524" y="548550"/>
                  </a:lnTo>
                  <a:lnTo>
                    <a:pt x="290409" y="277502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2" name="Freeform: Shape 2861">
              <a:extLst>
                <a:ext uri="{FF2B5EF4-FFF2-40B4-BE49-F238E27FC236}">
                  <a16:creationId xmlns:a16="http://schemas.microsoft.com/office/drawing/2014/main" id="{B6D0C1FF-BE36-4D06-B389-D72630CA00F8}"/>
                </a:ext>
              </a:extLst>
            </p:cNvPr>
            <p:cNvSpPr/>
            <p:nvPr/>
          </p:nvSpPr>
          <p:spPr>
            <a:xfrm>
              <a:off x="5668901" y="7577627"/>
              <a:ext cx="387212" cy="258141"/>
            </a:xfrm>
            <a:custGeom>
              <a:avLst/>
              <a:gdLst>
                <a:gd name="connsiteX0" fmla="*/ 303316 w 387211"/>
                <a:gd name="connsiteY0" fmla="*/ 277502 h 258141"/>
                <a:gd name="connsiteX1" fmla="*/ 96803 w 387211"/>
                <a:gd name="connsiteY1" fmla="*/ 96803 h 258141"/>
                <a:gd name="connsiteX2" fmla="*/ 406572 w 387211"/>
                <a:gd name="connsiteY2" fmla="*/ 135524 h 258141"/>
                <a:gd name="connsiteX3" fmla="*/ 303316 w 387211"/>
                <a:gd name="connsiteY3" fmla="*/ 277502 h 258141"/>
                <a:gd name="connsiteX4" fmla="*/ 122617 w 387211"/>
                <a:gd name="connsiteY4" fmla="*/ 109710 h 258141"/>
                <a:gd name="connsiteX5" fmla="*/ 303316 w 387211"/>
                <a:gd name="connsiteY5" fmla="*/ 277502 h 258141"/>
                <a:gd name="connsiteX6" fmla="*/ 406572 w 387211"/>
                <a:gd name="connsiteY6" fmla="*/ 148431 h 258141"/>
                <a:gd name="connsiteX7" fmla="*/ 122617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03316" y="277502"/>
                  </a:moveTo>
                  <a:lnTo>
                    <a:pt x="96803" y="96803"/>
                  </a:lnTo>
                  <a:lnTo>
                    <a:pt x="406572" y="135524"/>
                  </a:lnTo>
                  <a:lnTo>
                    <a:pt x="303316" y="277502"/>
                  </a:lnTo>
                  <a:close/>
                  <a:moveTo>
                    <a:pt x="122617" y="109710"/>
                  </a:moveTo>
                  <a:lnTo>
                    <a:pt x="303316" y="277502"/>
                  </a:lnTo>
                  <a:lnTo>
                    <a:pt x="406572" y="148431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3" name="Freeform: Shape 2862">
              <a:extLst>
                <a:ext uri="{FF2B5EF4-FFF2-40B4-BE49-F238E27FC236}">
                  <a16:creationId xmlns:a16="http://schemas.microsoft.com/office/drawing/2014/main" id="{1F32AC5F-4EAD-4125-A4C2-2CFD41281A02}"/>
                </a:ext>
              </a:extLst>
            </p:cNvPr>
            <p:cNvSpPr/>
            <p:nvPr/>
          </p:nvSpPr>
          <p:spPr>
            <a:xfrm>
              <a:off x="5681808" y="7035530"/>
              <a:ext cx="387212" cy="645353"/>
            </a:xfrm>
            <a:custGeom>
              <a:avLst/>
              <a:gdLst>
                <a:gd name="connsiteX0" fmla="*/ 96803 w 387211"/>
                <a:gd name="connsiteY0" fmla="*/ 651807 h 645353"/>
                <a:gd name="connsiteX1" fmla="*/ 303316 w 387211"/>
                <a:gd name="connsiteY1" fmla="*/ 96803 h 645353"/>
                <a:gd name="connsiteX2" fmla="*/ 367852 w 387211"/>
                <a:gd name="connsiteY2" fmla="*/ 535643 h 645353"/>
                <a:gd name="connsiteX3" fmla="*/ 96803 w 387211"/>
                <a:gd name="connsiteY3" fmla="*/ 651807 h 645353"/>
                <a:gd name="connsiteX4" fmla="*/ 303316 w 387211"/>
                <a:gd name="connsiteY4" fmla="*/ 122617 h 645353"/>
                <a:gd name="connsiteX5" fmla="*/ 109710 w 387211"/>
                <a:gd name="connsiteY5" fmla="*/ 638900 h 645353"/>
                <a:gd name="connsiteX6" fmla="*/ 367852 w 387211"/>
                <a:gd name="connsiteY6" fmla="*/ 535643 h 645353"/>
                <a:gd name="connsiteX7" fmla="*/ 303316 w 387211"/>
                <a:gd name="connsiteY7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96803" y="651807"/>
                  </a:moveTo>
                  <a:lnTo>
                    <a:pt x="303316" y="96803"/>
                  </a:lnTo>
                  <a:lnTo>
                    <a:pt x="367852" y="535643"/>
                  </a:lnTo>
                  <a:lnTo>
                    <a:pt x="96803" y="651807"/>
                  </a:lnTo>
                  <a:close/>
                  <a:moveTo>
                    <a:pt x="303316" y="122617"/>
                  </a:moveTo>
                  <a:lnTo>
                    <a:pt x="109710" y="638900"/>
                  </a:lnTo>
                  <a:lnTo>
                    <a:pt x="367852" y="535643"/>
                  </a:lnTo>
                  <a:lnTo>
                    <a:pt x="303316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4" name="Freeform: Shape 2863">
              <a:extLst>
                <a:ext uri="{FF2B5EF4-FFF2-40B4-BE49-F238E27FC236}">
                  <a16:creationId xmlns:a16="http://schemas.microsoft.com/office/drawing/2014/main" id="{560CE367-0783-4F67-BEE5-968E95DF6E85}"/>
                </a:ext>
              </a:extLst>
            </p:cNvPr>
            <p:cNvSpPr/>
            <p:nvPr/>
          </p:nvSpPr>
          <p:spPr>
            <a:xfrm>
              <a:off x="5681808" y="7474370"/>
              <a:ext cx="387212" cy="258141"/>
            </a:xfrm>
            <a:custGeom>
              <a:avLst/>
              <a:gdLst>
                <a:gd name="connsiteX0" fmla="*/ 406573 w 387211"/>
                <a:gd name="connsiteY0" fmla="*/ 251688 h 258141"/>
                <a:gd name="connsiteX1" fmla="*/ 96803 w 387211"/>
                <a:gd name="connsiteY1" fmla="*/ 212967 h 258141"/>
                <a:gd name="connsiteX2" fmla="*/ 380759 w 387211"/>
                <a:gd name="connsiteY2" fmla="*/ 96803 h 258141"/>
                <a:gd name="connsiteX3" fmla="*/ 406573 w 387211"/>
                <a:gd name="connsiteY3" fmla="*/ 251688 h 258141"/>
                <a:gd name="connsiteX4" fmla="*/ 109710 w 387211"/>
                <a:gd name="connsiteY4" fmla="*/ 200060 h 258141"/>
                <a:gd name="connsiteX5" fmla="*/ 393665 w 387211"/>
                <a:gd name="connsiteY5" fmla="*/ 238781 h 258141"/>
                <a:gd name="connsiteX6" fmla="*/ 367852 w 387211"/>
                <a:gd name="connsiteY6" fmla="*/ 96803 h 258141"/>
                <a:gd name="connsiteX7" fmla="*/ 109710 w 387211"/>
                <a:gd name="connsiteY7" fmla="*/ 20006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406573" y="251688"/>
                  </a:moveTo>
                  <a:lnTo>
                    <a:pt x="96803" y="212967"/>
                  </a:lnTo>
                  <a:lnTo>
                    <a:pt x="380759" y="96803"/>
                  </a:lnTo>
                  <a:lnTo>
                    <a:pt x="406573" y="251688"/>
                  </a:lnTo>
                  <a:close/>
                  <a:moveTo>
                    <a:pt x="109710" y="200060"/>
                  </a:moveTo>
                  <a:lnTo>
                    <a:pt x="393665" y="238781"/>
                  </a:lnTo>
                  <a:lnTo>
                    <a:pt x="367852" y="96803"/>
                  </a:lnTo>
                  <a:lnTo>
                    <a:pt x="109710" y="2000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5" name="Freeform: Shape 2864">
              <a:extLst>
                <a:ext uri="{FF2B5EF4-FFF2-40B4-BE49-F238E27FC236}">
                  <a16:creationId xmlns:a16="http://schemas.microsoft.com/office/drawing/2014/main" id="{9A85289C-EE75-4E0C-8DB9-5B1BD2720C55}"/>
                </a:ext>
              </a:extLst>
            </p:cNvPr>
            <p:cNvSpPr/>
            <p:nvPr/>
          </p:nvSpPr>
          <p:spPr>
            <a:xfrm>
              <a:off x="5449481" y="6932273"/>
              <a:ext cx="387212" cy="774424"/>
            </a:xfrm>
            <a:custGeom>
              <a:avLst/>
              <a:gdLst>
                <a:gd name="connsiteX0" fmla="*/ 342037 w 387211"/>
                <a:gd name="connsiteY0" fmla="*/ 755063 h 774423"/>
                <a:gd name="connsiteX1" fmla="*/ 342037 w 387211"/>
                <a:gd name="connsiteY1" fmla="*/ 755063 h 774423"/>
                <a:gd name="connsiteX2" fmla="*/ 96803 w 387211"/>
                <a:gd name="connsiteY2" fmla="*/ 729249 h 774423"/>
                <a:gd name="connsiteX3" fmla="*/ 212967 w 387211"/>
                <a:gd name="connsiteY3" fmla="*/ 96803 h 774423"/>
                <a:gd name="connsiteX4" fmla="*/ 342037 w 387211"/>
                <a:gd name="connsiteY4" fmla="*/ 755063 h 774423"/>
                <a:gd name="connsiteX5" fmla="*/ 96803 w 387211"/>
                <a:gd name="connsiteY5" fmla="*/ 729249 h 774423"/>
                <a:gd name="connsiteX6" fmla="*/ 329130 w 387211"/>
                <a:gd name="connsiteY6" fmla="*/ 742156 h 774423"/>
                <a:gd name="connsiteX7" fmla="*/ 212967 w 387211"/>
                <a:gd name="connsiteY7" fmla="*/ 135524 h 774423"/>
                <a:gd name="connsiteX8" fmla="*/ 96803 w 387211"/>
                <a:gd name="connsiteY8" fmla="*/ 729249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774423">
                  <a:moveTo>
                    <a:pt x="342037" y="755063"/>
                  </a:moveTo>
                  <a:lnTo>
                    <a:pt x="342037" y="755063"/>
                  </a:lnTo>
                  <a:lnTo>
                    <a:pt x="96803" y="729249"/>
                  </a:lnTo>
                  <a:lnTo>
                    <a:pt x="212967" y="96803"/>
                  </a:lnTo>
                  <a:lnTo>
                    <a:pt x="342037" y="755063"/>
                  </a:lnTo>
                  <a:close/>
                  <a:moveTo>
                    <a:pt x="96803" y="729249"/>
                  </a:moveTo>
                  <a:lnTo>
                    <a:pt x="329130" y="742156"/>
                  </a:lnTo>
                  <a:lnTo>
                    <a:pt x="212967" y="135524"/>
                  </a:lnTo>
                  <a:lnTo>
                    <a:pt x="96803" y="7292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6" name="Freeform: Shape 2865">
              <a:extLst>
                <a:ext uri="{FF2B5EF4-FFF2-40B4-BE49-F238E27FC236}">
                  <a16:creationId xmlns:a16="http://schemas.microsoft.com/office/drawing/2014/main" id="{C0ECE62A-A209-4C1E-8716-7D3AD95A1E89}"/>
                </a:ext>
              </a:extLst>
            </p:cNvPr>
            <p:cNvSpPr/>
            <p:nvPr/>
          </p:nvSpPr>
          <p:spPr>
            <a:xfrm>
              <a:off x="5359131" y="7577627"/>
              <a:ext cx="516283" cy="645353"/>
            </a:xfrm>
            <a:custGeom>
              <a:avLst/>
              <a:gdLst>
                <a:gd name="connsiteX0" fmla="*/ 277502 w 516282"/>
                <a:gd name="connsiteY0" fmla="*/ 574364 h 645353"/>
                <a:gd name="connsiteX1" fmla="*/ 96803 w 516282"/>
                <a:gd name="connsiteY1" fmla="*/ 367851 h 645353"/>
                <a:gd name="connsiteX2" fmla="*/ 432387 w 516282"/>
                <a:gd name="connsiteY2" fmla="*/ 109710 h 645353"/>
                <a:gd name="connsiteX3" fmla="*/ 277502 w 516282"/>
                <a:gd name="connsiteY3" fmla="*/ 574364 h 645353"/>
                <a:gd name="connsiteX4" fmla="*/ 96803 w 516282"/>
                <a:gd name="connsiteY4" fmla="*/ 354944 h 645353"/>
                <a:gd name="connsiteX5" fmla="*/ 277502 w 516282"/>
                <a:gd name="connsiteY5" fmla="*/ 548550 h 645353"/>
                <a:gd name="connsiteX6" fmla="*/ 419480 w 516282"/>
                <a:gd name="connsiteY6" fmla="*/ 96803 h 645353"/>
                <a:gd name="connsiteX7" fmla="*/ 96803 w 516282"/>
                <a:gd name="connsiteY7" fmla="*/ 354944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277502" y="574364"/>
                  </a:moveTo>
                  <a:lnTo>
                    <a:pt x="96803" y="367851"/>
                  </a:lnTo>
                  <a:lnTo>
                    <a:pt x="432387" y="109710"/>
                  </a:lnTo>
                  <a:lnTo>
                    <a:pt x="277502" y="574364"/>
                  </a:lnTo>
                  <a:close/>
                  <a:moveTo>
                    <a:pt x="96803" y="354944"/>
                  </a:moveTo>
                  <a:lnTo>
                    <a:pt x="277502" y="548550"/>
                  </a:lnTo>
                  <a:lnTo>
                    <a:pt x="419480" y="96803"/>
                  </a:lnTo>
                  <a:lnTo>
                    <a:pt x="96803" y="3549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7" name="Freeform: Shape 2866">
              <a:extLst>
                <a:ext uri="{FF2B5EF4-FFF2-40B4-BE49-F238E27FC236}">
                  <a16:creationId xmlns:a16="http://schemas.microsoft.com/office/drawing/2014/main" id="{5FE9CCCD-D0E3-49F7-ADF5-763B096316BA}"/>
                </a:ext>
              </a:extLst>
            </p:cNvPr>
            <p:cNvSpPr/>
            <p:nvPr/>
          </p:nvSpPr>
          <p:spPr>
            <a:xfrm>
              <a:off x="5191340" y="7487277"/>
              <a:ext cx="387212" cy="516283"/>
            </a:xfrm>
            <a:custGeom>
              <a:avLst/>
              <a:gdLst>
                <a:gd name="connsiteX0" fmla="*/ 264595 w 387211"/>
                <a:gd name="connsiteY0" fmla="*/ 458201 h 516282"/>
                <a:gd name="connsiteX1" fmla="*/ 96803 w 387211"/>
                <a:gd name="connsiteY1" fmla="*/ 96803 h 516282"/>
                <a:gd name="connsiteX2" fmla="*/ 354944 w 387211"/>
                <a:gd name="connsiteY2" fmla="*/ 174245 h 516282"/>
                <a:gd name="connsiteX3" fmla="*/ 264595 w 387211"/>
                <a:gd name="connsiteY3" fmla="*/ 458201 h 516282"/>
                <a:gd name="connsiteX4" fmla="*/ 109710 w 387211"/>
                <a:gd name="connsiteY4" fmla="*/ 109710 h 516282"/>
                <a:gd name="connsiteX5" fmla="*/ 264595 w 387211"/>
                <a:gd name="connsiteY5" fmla="*/ 445294 h 516282"/>
                <a:gd name="connsiteX6" fmla="*/ 354944 w 387211"/>
                <a:gd name="connsiteY6" fmla="*/ 187153 h 516282"/>
                <a:gd name="connsiteX7" fmla="*/ 109710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64595" y="458201"/>
                  </a:moveTo>
                  <a:lnTo>
                    <a:pt x="96803" y="96803"/>
                  </a:lnTo>
                  <a:lnTo>
                    <a:pt x="354944" y="174245"/>
                  </a:lnTo>
                  <a:lnTo>
                    <a:pt x="264595" y="458201"/>
                  </a:lnTo>
                  <a:close/>
                  <a:moveTo>
                    <a:pt x="109710" y="109710"/>
                  </a:moveTo>
                  <a:lnTo>
                    <a:pt x="264595" y="445294"/>
                  </a:lnTo>
                  <a:lnTo>
                    <a:pt x="354944" y="187153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8" name="Freeform: Shape 2867">
              <a:extLst>
                <a:ext uri="{FF2B5EF4-FFF2-40B4-BE49-F238E27FC236}">
                  <a16:creationId xmlns:a16="http://schemas.microsoft.com/office/drawing/2014/main" id="{FD0249BC-4347-411E-813D-ADFE193EA1AF}"/>
                </a:ext>
              </a:extLst>
            </p:cNvPr>
            <p:cNvSpPr/>
            <p:nvPr/>
          </p:nvSpPr>
          <p:spPr>
            <a:xfrm>
              <a:off x="5359131" y="7564719"/>
              <a:ext cx="516283" cy="387212"/>
            </a:xfrm>
            <a:custGeom>
              <a:avLst/>
              <a:gdLst>
                <a:gd name="connsiteX0" fmla="*/ 96803 w 516282"/>
                <a:gd name="connsiteY0" fmla="*/ 380759 h 387211"/>
                <a:gd name="connsiteX1" fmla="*/ 187153 w 516282"/>
                <a:gd name="connsiteY1" fmla="*/ 96803 h 387211"/>
                <a:gd name="connsiteX2" fmla="*/ 187153 w 516282"/>
                <a:gd name="connsiteY2" fmla="*/ 96803 h 387211"/>
                <a:gd name="connsiteX3" fmla="*/ 432387 w 516282"/>
                <a:gd name="connsiteY3" fmla="*/ 109710 h 387211"/>
                <a:gd name="connsiteX4" fmla="*/ 96803 w 516282"/>
                <a:gd name="connsiteY4" fmla="*/ 380759 h 387211"/>
                <a:gd name="connsiteX5" fmla="*/ 187153 w 516282"/>
                <a:gd name="connsiteY5" fmla="*/ 96803 h 387211"/>
                <a:gd name="connsiteX6" fmla="*/ 96803 w 516282"/>
                <a:gd name="connsiteY6" fmla="*/ 354944 h 387211"/>
                <a:gd name="connsiteX7" fmla="*/ 406573 w 516282"/>
                <a:gd name="connsiteY7" fmla="*/ 109710 h 387211"/>
                <a:gd name="connsiteX8" fmla="*/ 187153 w 516282"/>
                <a:gd name="connsiteY8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96803" y="380759"/>
                  </a:moveTo>
                  <a:lnTo>
                    <a:pt x="187153" y="96803"/>
                  </a:lnTo>
                  <a:lnTo>
                    <a:pt x="187153" y="96803"/>
                  </a:lnTo>
                  <a:lnTo>
                    <a:pt x="432387" y="109710"/>
                  </a:lnTo>
                  <a:lnTo>
                    <a:pt x="96803" y="380759"/>
                  </a:lnTo>
                  <a:close/>
                  <a:moveTo>
                    <a:pt x="187153" y="96803"/>
                  </a:moveTo>
                  <a:lnTo>
                    <a:pt x="96803" y="354944"/>
                  </a:lnTo>
                  <a:lnTo>
                    <a:pt x="406573" y="109710"/>
                  </a:lnTo>
                  <a:lnTo>
                    <a:pt x="18715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69" name="Freeform: Shape 2868">
              <a:extLst>
                <a:ext uri="{FF2B5EF4-FFF2-40B4-BE49-F238E27FC236}">
                  <a16:creationId xmlns:a16="http://schemas.microsoft.com/office/drawing/2014/main" id="{2AD0118E-9616-44F0-BBF5-C59272590BAA}"/>
                </a:ext>
              </a:extLst>
            </p:cNvPr>
            <p:cNvSpPr/>
            <p:nvPr/>
          </p:nvSpPr>
          <p:spPr>
            <a:xfrm>
              <a:off x="4881570" y="7603440"/>
              <a:ext cx="387212" cy="516283"/>
            </a:xfrm>
            <a:custGeom>
              <a:avLst/>
              <a:gdLst>
                <a:gd name="connsiteX0" fmla="*/ 96803 w 387211"/>
                <a:gd name="connsiteY0" fmla="*/ 471108 h 516282"/>
                <a:gd name="connsiteX1" fmla="*/ 135525 w 387211"/>
                <a:gd name="connsiteY1" fmla="*/ 96803 h 516282"/>
                <a:gd name="connsiteX2" fmla="*/ 329131 w 387211"/>
                <a:gd name="connsiteY2" fmla="*/ 303316 h 516282"/>
                <a:gd name="connsiteX3" fmla="*/ 96803 w 387211"/>
                <a:gd name="connsiteY3" fmla="*/ 471108 h 516282"/>
                <a:gd name="connsiteX4" fmla="*/ 135525 w 387211"/>
                <a:gd name="connsiteY4" fmla="*/ 109710 h 516282"/>
                <a:gd name="connsiteX5" fmla="*/ 96803 w 387211"/>
                <a:gd name="connsiteY5" fmla="*/ 458201 h 516282"/>
                <a:gd name="connsiteX6" fmla="*/ 316223 w 387211"/>
                <a:gd name="connsiteY6" fmla="*/ 303316 h 516282"/>
                <a:gd name="connsiteX7" fmla="*/ 135525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96803" y="471108"/>
                  </a:moveTo>
                  <a:lnTo>
                    <a:pt x="135525" y="96803"/>
                  </a:lnTo>
                  <a:lnTo>
                    <a:pt x="329131" y="303316"/>
                  </a:lnTo>
                  <a:lnTo>
                    <a:pt x="96803" y="471108"/>
                  </a:lnTo>
                  <a:close/>
                  <a:moveTo>
                    <a:pt x="135525" y="109710"/>
                  </a:moveTo>
                  <a:lnTo>
                    <a:pt x="96803" y="458201"/>
                  </a:lnTo>
                  <a:lnTo>
                    <a:pt x="316223" y="303316"/>
                  </a:lnTo>
                  <a:lnTo>
                    <a:pt x="13552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0" name="Freeform: Shape 2869">
              <a:extLst>
                <a:ext uri="{FF2B5EF4-FFF2-40B4-BE49-F238E27FC236}">
                  <a16:creationId xmlns:a16="http://schemas.microsoft.com/office/drawing/2014/main" id="{103D947B-BD7F-41AE-9D06-9CAB49E535D3}"/>
                </a:ext>
              </a:extLst>
            </p:cNvPr>
            <p:cNvSpPr/>
            <p:nvPr/>
          </p:nvSpPr>
          <p:spPr>
            <a:xfrm>
              <a:off x="4907384" y="7487277"/>
              <a:ext cx="387212" cy="516283"/>
            </a:xfrm>
            <a:custGeom>
              <a:avLst/>
              <a:gdLst>
                <a:gd name="connsiteX0" fmla="*/ 290409 w 387211"/>
                <a:gd name="connsiteY0" fmla="*/ 419480 h 516282"/>
                <a:gd name="connsiteX1" fmla="*/ 96803 w 387211"/>
                <a:gd name="connsiteY1" fmla="*/ 212966 h 516282"/>
                <a:gd name="connsiteX2" fmla="*/ 393665 w 387211"/>
                <a:gd name="connsiteY2" fmla="*/ 96803 h 516282"/>
                <a:gd name="connsiteX3" fmla="*/ 290409 w 387211"/>
                <a:gd name="connsiteY3" fmla="*/ 419480 h 516282"/>
                <a:gd name="connsiteX4" fmla="*/ 109710 w 387211"/>
                <a:gd name="connsiteY4" fmla="*/ 212966 h 516282"/>
                <a:gd name="connsiteX5" fmla="*/ 290409 w 387211"/>
                <a:gd name="connsiteY5" fmla="*/ 406572 h 516282"/>
                <a:gd name="connsiteX6" fmla="*/ 380759 w 387211"/>
                <a:gd name="connsiteY6" fmla="*/ 96803 h 516282"/>
                <a:gd name="connsiteX7" fmla="*/ 109710 w 387211"/>
                <a:gd name="connsiteY7" fmla="*/ 212966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90409" y="419480"/>
                  </a:moveTo>
                  <a:lnTo>
                    <a:pt x="96803" y="212966"/>
                  </a:lnTo>
                  <a:lnTo>
                    <a:pt x="393665" y="96803"/>
                  </a:lnTo>
                  <a:lnTo>
                    <a:pt x="290409" y="419480"/>
                  </a:lnTo>
                  <a:close/>
                  <a:moveTo>
                    <a:pt x="109710" y="212966"/>
                  </a:moveTo>
                  <a:lnTo>
                    <a:pt x="290409" y="406572"/>
                  </a:lnTo>
                  <a:lnTo>
                    <a:pt x="380759" y="96803"/>
                  </a:lnTo>
                  <a:lnTo>
                    <a:pt x="109710" y="21296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1" name="Freeform: Shape 2870">
              <a:extLst>
                <a:ext uri="{FF2B5EF4-FFF2-40B4-BE49-F238E27FC236}">
                  <a16:creationId xmlns:a16="http://schemas.microsoft.com/office/drawing/2014/main" id="{42E660AD-C913-43B7-9505-5A4549B11065}"/>
                </a:ext>
              </a:extLst>
            </p:cNvPr>
            <p:cNvSpPr/>
            <p:nvPr/>
          </p:nvSpPr>
          <p:spPr>
            <a:xfrm>
              <a:off x="5088083" y="7487277"/>
              <a:ext cx="387212" cy="516283"/>
            </a:xfrm>
            <a:custGeom>
              <a:avLst/>
              <a:gdLst>
                <a:gd name="connsiteX0" fmla="*/ 367851 w 387211"/>
                <a:gd name="connsiteY0" fmla="*/ 458201 h 516282"/>
                <a:gd name="connsiteX1" fmla="*/ 96803 w 387211"/>
                <a:gd name="connsiteY1" fmla="*/ 419480 h 516282"/>
                <a:gd name="connsiteX2" fmla="*/ 200059 w 387211"/>
                <a:gd name="connsiteY2" fmla="*/ 96803 h 516282"/>
                <a:gd name="connsiteX3" fmla="*/ 367851 w 387211"/>
                <a:gd name="connsiteY3" fmla="*/ 458201 h 516282"/>
                <a:gd name="connsiteX4" fmla="*/ 122617 w 387211"/>
                <a:gd name="connsiteY4" fmla="*/ 419480 h 516282"/>
                <a:gd name="connsiteX5" fmla="*/ 367851 w 387211"/>
                <a:gd name="connsiteY5" fmla="*/ 445294 h 516282"/>
                <a:gd name="connsiteX6" fmla="*/ 212966 w 387211"/>
                <a:gd name="connsiteY6" fmla="*/ 109710 h 516282"/>
                <a:gd name="connsiteX7" fmla="*/ 122617 w 387211"/>
                <a:gd name="connsiteY7" fmla="*/ 41948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67851" y="458201"/>
                  </a:moveTo>
                  <a:lnTo>
                    <a:pt x="96803" y="419480"/>
                  </a:lnTo>
                  <a:lnTo>
                    <a:pt x="200059" y="96803"/>
                  </a:lnTo>
                  <a:lnTo>
                    <a:pt x="367851" y="458201"/>
                  </a:lnTo>
                  <a:close/>
                  <a:moveTo>
                    <a:pt x="122617" y="419480"/>
                  </a:moveTo>
                  <a:lnTo>
                    <a:pt x="367851" y="445294"/>
                  </a:lnTo>
                  <a:lnTo>
                    <a:pt x="212966" y="109710"/>
                  </a:lnTo>
                  <a:lnTo>
                    <a:pt x="122617" y="419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2" name="Freeform: Shape 2871">
              <a:extLst>
                <a:ext uri="{FF2B5EF4-FFF2-40B4-BE49-F238E27FC236}">
                  <a16:creationId xmlns:a16="http://schemas.microsoft.com/office/drawing/2014/main" id="{4EFA0D83-3470-4655-8041-4A85FE0E4641}"/>
                </a:ext>
              </a:extLst>
            </p:cNvPr>
            <p:cNvSpPr/>
            <p:nvPr/>
          </p:nvSpPr>
          <p:spPr>
            <a:xfrm>
              <a:off x="4778313" y="7964838"/>
              <a:ext cx="387212" cy="387212"/>
            </a:xfrm>
            <a:custGeom>
              <a:avLst/>
              <a:gdLst>
                <a:gd name="connsiteX0" fmla="*/ 96803 w 387211"/>
                <a:gd name="connsiteY0" fmla="*/ 380758 h 387211"/>
                <a:gd name="connsiteX1" fmla="*/ 200059 w 387211"/>
                <a:gd name="connsiteY1" fmla="*/ 96803 h 387211"/>
                <a:gd name="connsiteX2" fmla="*/ 354944 w 387211"/>
                <a:gd name="connsiteY2" fmla="*/ 238780 h 387211"/>
                <a:gd name="connsiteX3" fmla="*/ 354944 w 387211"/>
                <a:gd name="connsiteY3" fmla="*/ 238780 h 387211"/>
                <a:gd name="connsiteX4" fmla="*/ 96803 w 387211"/>
                <a:gd name="connsiteY4" fmla="*/ 380758 h 387211"/>
                <a:gd name="connsiteX5" fmla="*/ 200059 w 387211"/>
                <a:gd name="connsiteY5" fmla="*/ 109710 h 387211"/>
                <a:gd name="connsiteX6" fmla="*/ 109710 w 387211"/>
                <a:gd name="connsiteY6" fmla="*/ 367851 h 387211"/>
                <a:gd name="connsiteX7" fmla="*/ 342037 w 387211"/>
                <a:gd name="connsiteY7" fmla="*/ 238780 h 387211"/>
                <a:gd name="connsiteX8" fmla="*/ 200059 w 387211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96803" y="380758"/>
                  </a:moveTo>
                  <a:lnTo>
                    <a:pt x="200059" y="96803"/>
                  </a:lnTo>
                  <a:lnTo>
                    <a:pt x="354944" y="238780"/>
                  </a:lnTo>
                  <a:lnTo>
                    <a:pt x="354944" y="238780"/>
                  </a:lnTo>
                  <a:lnTo>
                    <a:pt x="96803" y="380758"/>
                  </a:lnTo>
                  <a:close/>
                  <a:moveTo>
                    <a:pt x="200059" y="109710"/>
                  </a:moveTo>
                  <a:lnTo>
                    <a:pt x="109710" y="367851"/>
                  </a:lnTo>
                  <a:lnTo>
                    <a:pt x="342037" y="238780"/>
                  </a:lnTo>
                  <a:lnTo>
                    <a:pt x="200059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3" name="Freeform: Shape 2872">
              <a:extLst>
                <a:ext uri="{FF2B5EF4-FFF2-40B4-BE49-F238E27FC236}">
                  <a16:creationId xmlns:a16="http://schemas.microsoft.com/office/drawing/2014/main" id="{D138EA9E-D0D7-4DB2-849A-801A636F1788}"/>
                </a:ext>
              </a:extLst>
            </p:cNvPr>
            <p:cNvSpPr/>
            <p:nvPr/>
          </p:nvSpPr>
          <p:spPr>
            <a:xfrm>
              <a:off x="4881570" y="7797046"/>
              <a:ext cx="387212" cy="387212"/>
            </a:xfrm>
            <a:custGeom>
              <a:avLst/>
              <a:gdLst>
                <a:gd name="connsiteX0" fmla="*/ 251688 w 387211"/>
                <a:gd name="connsiteY0" fmla="*/ 406573 h 387211"/>
                <a:gd name="connsiteX1" fmla="*/ 96803 w 387211"/>
                <a:gd name="connsiteY1" fmla="*/ 264595 h 387211"/>
                <a:gd name="connsiteX2" fmla="*/ 329131 w 387211"/>
                <a:gd name="connsiteY2" fmla="*/ 96803 h 387211"/>
                <a:gd name="connsiteX3" fmla="*/ 251688 w 387211"/>
                <a:gd name="connsiteY3" fmla="*/ 406573 h 387211"/>
                <a:gd name="connsiteX4" fmla="*/ 96803 w 387211"/>
                <a:gd name="connsiteY4" fmla="*/ 264595 h 387211"/>
                <a:gd name="connsiteX5" fmla="*/ 238781 w 387211"/>
                <a:gd name="connsiteY5" fmla="*/ 393666 h 387211"/>
                <a:gd name="connsiteX6" fmla="*/ 303316 w 387211"/>
                <a:gd name="connsiteY6" fmla="*/ 109710 h 387211"/>
                <a:gd name="connsiteX7" fmla="*/ 96803 w 387211"/>
                <a:gd name="connsiteY7" fmla="*/ 26459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51688" y="406573"/>
                  </a:moveTo>
                  <a:lnTo>
                    <a:pt x="96803" y="264595"/>
                  </a:lnTo>
                  <a:lnTo>
                    <a:pt x="329131" y="96803"/>
                  </a:lnTo>
                  <a:lnTo>
                    <a:pt x="251688" y="406573"/>
                  </a:lnTo>
                  <a:close/>
                  <a:moveTo>
                    <a:pt x="96803" y="264595"/>
                  </a:moveTo>
                  <a:lnTo>
                    <a:pt x="238781" y="393666"/>
                  </a:lnTo>
                  <a:lnTo>
                    <a:pt x="303316" y="109710"/>
                  </a:lnTo>
                  <a:lnTo>
                    <a:pt x="96803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4" name="Freeform: Shape 2873">
              <a:extLst>
                <a:ext uri="{FF2B5EF4-FFF2-40B4-BE49-F238E27FC236}">
                  <a16:creationId xmlns:a16="http://schemas.microsoft.com/office/drawing/2014/main" id="{21E23826-4B59-4958-AEE2-497C02C15D4D}"/>
                </a:ext>
              </a:extLst>
            </p:cNvPr>
            <p:cNvSpPr/>
            <p:nvPr/>
          </p:nvSpPr>
          <p:spPr>
            <a:xfrm>
              <a:off x="5036455" y="8093909"/>
              <a:ext cx="387212" cy="387212"/>
            </a:xfrm>
            <a:custGeom>
              <a:avLst/>
              <a:gdLst>
                <a:gd name="connsiteX0" fmla="*/ 238781 w 387211"/>
                <a:gd name="connsiteY0" fmla="*/ 406572 h 387211"/>
                <a:gd name="connsiteX1" fmla="*/ 96803 w 387211"/>
                <a:gd name="connsiteY1" fmla="*/ 96803 h 387211"/>
                <a:gd name="connsiteX2" fmla="*/ 406573 w 387211"/>
                <a:gd name="connsiteY2" fmla="*/ 303316 h 387211"/>
                <a:gd name="connsiteX3" fmla="*/ 238781 w 387211"/>
                <a:gd name="connsiteY3" fmla="*/ 406572 h 387211"/>
                <a:gd name="connsiteX4" fmla="*/ 96803 w 387211"/>
                <a:gd name="connsiteY4" fmla="*/ 109710 h 387211"/>
                <a:gd name="connsiteX5" fmla="*/ 225874 w 387211"/>
                <a:gd name="connsiteY5" fmla="*/ 393665 h 387211"/>
                <a:gd name="connsiteX6" fmla="*/ 380759 w 387211"/>
                <a:gd name="connsiteY6" fmla="*/ 303316 h 387211"/>
                <a:gd name="connsiteX7" fmla="*/ 96803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38781" y="406572"/>
                  </a:moveTo>
                  <a:lnTo>
                    <a:pt x="96803" y="96803"/>
                  </a:lnTo>
                  <a:lnTo>
                    <a:pt x="406573" y="303316"/>
                  </a:lnTo>
                  <a:lnTo>
                    <a:pt x="238781" y="406572"/>
                  </a:lnTo>
                  <a:close/>
                  <a:moveTo>
                    <a:pt x="96803" y="109710"/>
                  </a:moveTo>
                  <a:lnTo>
                    <a:pt x="225874" y="393665"/>
                  </a:lnTo>
                  <a:lnTo>
                    <a:pt x="380759" y="303316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5" name="Freeform: Shape 2874">
              <a:extLst>
                <a:ext uri="{FF2B5EF4-FFF2-40B4-BE49-F238E27FC236}">
                  <a16:creationId xmlns:a16="http://schemas.microsoft.com/office/drawing/2014/main" id="{C054086E-6B53-44B4-80B6-14D41F779074}"/>
                </a:ext>
              </a:extLst>
            </p:cNvPr>
            <p:cNvSpPr/>
            <p:nvPr/>
          </p:nvSpPr>
          <p:spPr>
            <a:xfrm>
              <a:off x="4778313" y="8222980"/>
              <a:ext cx="258141" cy="387212"/>
            </a:xfrm>
            <a:custGeom>
              <a:avLst/>
              <a:gdLst>
                <a:gd name="connsiteX0" fmla="*/ 200059 w 258141"/>
                <a:gd name="connsiteY0" fmla="*/ 380758 h 387211"/>
                <a:gd name="connsiteX1" fmla="*/ 96803 w 258141"/>
                <a:gd name="connsiteY1" fmla="*/ 96803 h 387211"/>
                <a:gd name="connsiteX2" fmla="*/ 225874 w 258141"/>
                <a:gd name="connsiteY2" fmla="*/ 264595 h 387211"/>
                <a:gd name="connsiteX3" fmla="*/ 200059 w 258141"/>
                <a:gd name="connsiteY3" fmla="*/ 380758 h 387211"/>
                <a:gd name="connsiteX4" fmla="*/ 109710 w 258141"/>
                <a:gd name="connsiteY4" fmla="*/ 135524 h 387211"/>
                <a:gd name="connsiteX5" fmla="*/ 187153 w 258141"/>
                <a:gd name="connsiteY5" fmla="*/ 367851 h 387211"/>
                <a:gd name="connsiteX6" fmla="*/ 212967 w 258141"/>
                <a:gd name="connsiteY6" fmla="*/ 277502 h 387211"/>
                <a:gd name="connsiteX7" fmla="*/ 109710 w 25814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00059" y="380758"/>
                  </a:moveTo>
                  <a:lnTo>
                    <a:pt x="96803" y="96803"/>
                  </a:lnTo>
                  <a:lnTo>
                    <a:pt x="225874" y="264595"/>
                  </a:lnTo>
                  <a:lnTo>
                    <a:pt x="200059" y="380758"/>
                  </a:lnTo>
                  <a:close/>
                  <a:moveTo>
                    <a:pt x="109710" y="135524"/>
                  </a:moveTo>
                  <a:lnTo>
                    <a:pt x="187153" y="367851"/>
                  </a:lnTo>
                  <a:lnTo>
                    <a:pt x="212967" y="277502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6" name="Freeform: Shape 2875">
              <a:extLst>
                <a:ext uri="{FF2B5EF4-FFF2-40B4-BE49-F238E27FC236}">
                  <a16:creationId xmlns:a16="http://schemas.microsoft.com/office/drawing/2014/main" id="{4601EDFF-0C05-4838-AA10-79E82C19F901}"/>
                </a:ext>
              </a:extLst>
            </p:cNvPr>
            <p:cNvSpPr/>
            <p:nvPr/>
          </p:nvSpPr>
          <p:spPr>
            <a:xfrm>
              <a:off x="4791221" y="8093909"/>
              <a:ext cx="387212" cy="387212"/>
            </a:xfrm>
            <a:custGeom>
              <a:avLst/>
              <a:gdLst>
                <a:gd name="connsiteX0" fmla="*/ 212966 w 387211"/>
                <a:gd name="connsiteY0" fmla="*/ 393665 h 387211"/>
                <a:gd name="connsiteX1" fmla="*/ 96803 w 387211"/>
                <a:gd name="connsiteY1" fmla="*/ 238780 h 387211"/>
                <a:gd name="connsiteX2" fmla="*/ 96803 w 387211"/>
                <a:gd name="connsiteY2" fmla="*/ 238780 h 387211"/>
                <a:gd name="connsiteX3" fmla="*/ 354944 w 387211"/>
                <a:gd name="connsiteY3" fmla="*/ 96803 h 387211"/>
                <a:gd name="connsiteX4" fmla="*/ 212966 w 387211"/>
                <a:gd name="connsiteY4" fmla="*/ 393665 h 387211"/>
                <a:gd name="connsiteX5" fmla="*/ 96803 w 387211"/>
                <a:gd name="connsiteY5" fmla="*/ 238780 h 387211"/>
                <a:gd name="connsiteX6" fmla="*/ 212966 w 387211"/>
                <a:gd name="connsiteY6" fmla="*/ 380758 h 387211"/>
                <a:gd name="connsiteX7" fmla="*/ 342037 w 387211"/>
                <a:gd name="connsiteY7" fmla="*/ 109710 h 387211"/>
                <a:gd name="connsiteX8" fmla="*/ 96803 w 387211"/>
                <a:gd name="connsiteY8" fmla="*/ 23878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212966" y="393665"/>
                  </a:moveTo>
                  <a:lnTo>
                    <a:pt x="96803" y="238780"/>
                  </a:lnTo>
                  <a:lnTo>
                    <a:pt x="96803" y="238780"/>
                  </a:lnTo>
                  <a:lnTo>
                    <a:pt x="354944" y="96803"/>
                  </a:lnTo>
                  <a:lnTo>
                    <a:pt x="212966" y="393665"/>
                  </a:lnTo>
                  <a:close/>
                  <a:moveTo>
                    <a:pt x="96803" y="238780"/>
                  </a:moveTo>
                  <a:lnTo>
                    <a:pt x="212966" y="380758"/>
                  </a:lnTo>
                  <a:lnTo>
                    <a:pt x="342037" y="109710"/>
                  </a:lnTo>
                  <a:lnTo>
                    <a:pt x="96803" y="2387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7" name="Freeform: Shape 2876">
              <a:extLst>
                <a:ext uri="{FF2B5EF4-FFF2-40B4-BE49-F238E27FC236}">
                  <a16:creationId xmlns:a16="http://schemas.microsoft.com/office/drawing/2014/main" id="{37B078DD-F173-4C72-A0DC-6EB1E0E73BC0}"/>
                </a:ext>
              </a:extLst>
            </p:cNvPr>
            <p:cNvSpPr/>
            <p:nvPr/>
          </p:nvSpPr>
          <p:spPr>
            <a:xfrm>
              <a:off x="4894477" y="8093909"/>
              <a:ext cx="387212" cy="387212"/>
            </a:xfrm>
            <a:custGeom>
              <a:avLst/>
              <a:gdLst>
                <a:gd name="connsiteX0" fmla="*/ 380759 w 387211"/>
                <a:gd name="connsiteY0" fmla="*/ 406572 h 387211"/>
                <a:gd name="connsiteX1" fmla="*/ 96803 w 387211"/>
                <a:gd name="connsiteY1" fmla="*/ 393665 h 387211"/>
                <a:gd name="connsiteX2" fmla="*/ 238781 w 387211"/>
                <a:gd name="connsiteY2" fmla="*/ 96803 h 387211"/>
                <a:gd name="connsiteX3" fmla="*/ 380759 w 387211"/>
                <a:gd name="connsiteY3" fmla="*/ 406572 h 387211"/>
                <a:gd name="connsiteX4" fmla="*/ 109710 w 387211"/>
                <a:gd name="connsiteY4" fmla="*/ 380758 h 387211"/>
                <a:gd name="connsiteX5" fmla="*/ 367851 w 387211"/>
                <a:gd name="connsiteY5" fmla="*/ 393665 h 387211"/>
                <a:gd name="connsiteX6" fmla="*/ 225874 w 387211"/>
                <a:gd name="connsiteY6" fmla="*/ 96803 h 387211"/>
                <a:gd name="connsiteX7" fmla="*/ 109710 w 387211"/>
                <a:gd name="connsiteY7" fmla="*/ 38075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80759" y="406572"/>
                  </a:moveTo>
                  <a:lnTo>
                    <a:pt x="96803" y="393665"/>
                  </a:lnTo>
                  <a:lnTo>
                    <a:pt x="238781" y="96803"/>
                  </a:lnTo>
                  <a:lnTo>
                    <a:pt x="380759" y="406572"/>
                  </a:lnTo>
                  <a:close/>
                  <a:moveTo>
                    <a:pt x="109710" y="380758"/>
                  </a:moveTo>
                  <a:lnTo>
                    <a:pt x="367851" y="393665"/>
                  </a:lnTo>
                  <a:lnTo>
                    <a:pt x="225874" y="96803"/>
                  </a:lnTo>
                  <a:lnTo>
                    <a:pt x="109710" y="3807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8" name="Freeform: Shape 2877">
              <a:extLst>
                <a:ext uri="{FF2B5EF4-FFF2-40B4-BE49-F238E27FC236}">
                  <a16:creationId xmlns:a16="http://schemas.microsoft.com/office/drawing/2014/main" id="{92F61007-BD3F-46C3-B63D-44FDEB130560}"/>
                </a:ext>
              </a:extLst>
            </p:cNvPr>
            <p:cNvSpPr/>
            <p:nvPr/>
          </p:nvSpPr>
          <p:spPr>
            <a:xfrm>
              <a:off x="4791221" y="8494028"/>
              <a:ext cx="258141" cy="387212"/>
            </a:xfrm>
            <a:custGeom>
              <a:avLst/>
              <a:gdLst>
                <a:gd name="connsiteX0" fmla="*/ 96803 w 258141"/>
                <a:gd name="connsiteY0" fmla="*/ 367851 h 387211"/>
                <a:gd name="connsiteX1" fmla="*/ 174245 w 258141"/>
                <a:gd name="connsiteY1" fmla="*/ 96803 h 387211"/>
                <a:gd name="connsiteX2" fmla="*/ 264595 w 258141"/>
                <a:gd name="connsiteY2" fmla="*/ 187153 h 387211"/>
                <a:gd name="connsiteX3" fmla="*/ 264595 w 258141"/>
                <a:gd name="connsiteY3" fmla="*/ 187153 h 387211"/>
                <a:gd name="connsiteX4" fmla="*/ 96803 w 258141"/>
                <a:gd name="connsiteY4" fmla="*/ 367851 h 387211"/>
                <a:gd name="connsiteX5" fmla="*/ 187152 w 258141"/>
                <a:gd name="connsiteY5" fmla="*/ 96803 h 387211"/>
                <a:gd name="connsiteX6" fmla="*/ 109710 w 258141"/>
                <a:gd name="connsiteY6" fmla="*/ 342037 h 387211"/>
                <a:gd name="connsiteX7" fmla="*/ 251687 w 258141"/>
                <a:gd name="connsiteY7" fmla="*/ 187153 h 387211"/>
                <a:gd name="connsiteX8" fmla="*/ 187152 w 258141"/>
                <a:gd name="connsiteY8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387211">
                  <a:moveTo>
                    <a:pt x="96803" y="367851"/>
                  </a:moveTo>
                  <a:lnTo>
                    <a:pt x="174245" y="96803"/>
                  </a:lnTo>
                  <a:lnTo>
                    <a:pt x="264595" y="187153"/>
                  </a:lnTo>
                  <a:lnTo>
                    <a:pt x="264595" y="187153"/>
                  </a:lnTo>
                  <a:lnTo>
                    <a:pt x="96803" y="367851"/>
                  </a:lnTo>
                  <a:close/>
                  <a:moveTo>
                    <a:pt x="187152" y="96803"/>
                  </a:moveTo>
                  <a:lnTo>
                    <a:pt x="109710" y="342037"/>
                  </a:lnTo>
                  <a:lnTo>
                    <a:pt x="251687" y="187153"/>
                  </a:lnTo>
                  <a:lnTo>
                    <a:pt x="187152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79" name="Freeform: Shape 2878">
              <a:extLst>
                <a:ext uri="{FF2B5EF4-FFF2-40B4-BE49-F238E27FC236}">
                  <a16:creationId xmlns:a16="http://schemas.microsoft.com/office/drawing/2014/main" id="{83655A95-DC07-466E-A7CD-7FD29EAD8587}"/>
                </a:ext>
              </a:extLst>
            </p:cNvPr>
            <p:cNvSpPr/>
            <p:nvPr/>
          </p:nvSpPr>
          <p:spPr>
            <a:xfrm>
              <a:off x="4791221" y="8571470"/>
              <a:ext cx="387212" cy="258141"/>
            </a:xfrm>
            <a:custGeom>
              <a:avLst/>
              <a:gdLst>
                <a:gd name="connsiteX0" fmla="*/ 96803 w 387211"/>
                <a:gd name="connsiteY0" fmla="*/ 277502 h 258141"/>
                <a:gd name="connsiteX1" fmla="*/ 264595 w 387211"/>
                <a:gd name="connsiteY1" fmla="*/ 96803 h 258141"/>
                <a:gd name="connsiteX2" fmla="*/ 354944 w 387211"/>
                <a:gd name="connsiteY2" fmla="*/ 264595 h 258141"/>
                <a:gd name="connsiteX3" fmla="*/ 96803 w 387211"/>
                <a:gd name="connsiteY3" fmla="*/ 277502 h 258141"/>
                <a:gd name="connsiteX4" fmla="*/ 264595 w 387211"/>
                <a:gd name="connsiteY4" fmla="*/ 109710 h 258141"/>
                <a:gd name="connsiteX5" fmla="*/ 109710 w 387211"/>
                <a:gd name="connsiteY5" fmla="*/ 264595 h 258141"/>
                <a:gd name="connsiteX6" fmla="*/ 342037 w 387211"/>
                <a:gd name="connsiteY6" fmla="*/ 251688 h 258141"/>
                <a:gd name="connsiteX7" fmla="*/ 264595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96803" y="277502"/>
                  </a:moveTo>
                  <a:lnTo>
                    <a:pt x="264595" y="96803"/>
                  </a:lnTo>
                  <a:lnTo>
                    <a:pt x="354944" y="264595"/>
                  </a:lnTo>
                  <a:lnTo>
                    <a:pt x="96803" y="277502"/>
                  </a:lnTo>
                  <a:close/>
                  <a:moveTo>
                    <a:pt x="264595" y="109710"/>
                  </a:moveTo>
                  <a:lnTo>
                    <a:pt x="109710" y="264595"/>
                  </a:lnTo>
                  <a:lnTo>
                    <a:pt x="342037" y="251688"/>
                  </a:lnTo>
                  <a:lnTo>
                    <a:pt x="26459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0" name="Freeform: Shape 2879">
              <a:extLst>
                <a:ext uri="{FF2B5EF4-FFF2-40B4-BE49-F238E27FC236}">
                  <a16:creationId xmlns:a16="http://schemas.microsoft.com/office/drawing/2014/main" id="{EDA5B562-D2E1-4955-8206-0745C2994C5E}"/>
                </a:ext>
              </a:extLst>
            </p:cNvPr>
            <p:cNvSpPr/>
            <p:nvPr/>
          </p:nvSpPr>
          <p:spPr>
            <a:xfrm>
              <a:off x="4881570" y="8377864"/>
              <a:ext cx="258141" cy="387212"/>
            </a:xfrm>
            <a:custGeom>
              <a:avLst/>
              <a:gdLst>
                <a:gd name="connsiteX0" fmla="*/ 187153 w 258141"/>
                <a:gd name="connsiteY0" fmla="*/ 303316 h 387211"/>
                <a:gd name="connsiteX1" fmla="*/ 96803 w 258141"/>
                <a:gd name="connsiteY1" fmla="*/ 212967 h 387211"/>
                <a:gd name="connsiteX2" fmla="*/ 122617 w 258141"/>
                <a:gd name="connsiteY2" fmla="*/ 96803 h 387211"/>
                <a:gd name="connsiteX3" fmla="*/ 187153 w 258141"/>
                <a:gd name="connsiteY3" fmla="*/ 303316 h 387211"/>
                <a:gd name="connsiteX4" fmla="*/ 96803 w 258141"/>
                <a:gd name="connsiteY4" fmla="*/ 212967 h 387211"/>
                <a:gd name="connsiteX5" fmla="*/ 174246 w 258141"/>
                <a:gd name="connsiteY5" fmla="*/ 290409 h 387211"/>
                <a:gd name="connsiteX6" fmla="*/ 122617 w 258141"/>
                <a:gd name="connsiteY6" fmla="*/ 122617 h 387211"/>
                <a:gd name="connsiteX7" fmla="*/ 96803 w 258141"/>
                <a:gd name="connsiteY7" fmla="*/ 21296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87153" y="303316"/>
                  </a:moveTo>
                  <a:lnTo>
                    <a:pt x="96803" y="212967"/>
                  </a:lnTo>
                  <a:lnTo>
                    <a:pt x="122617" y="96803"/>
                  </a:lnTo>
                  <a:lnTo>
                    <a:pt x="187153" y="303316"/>
                  </a:lnTo>
                  <a:close/>
                  <a:moveTo>
                    <a:pt x="96803" y="212967"/>
                  </a:moveTo>
                  <a:lnTo>
                    <a:pt x="174246" y="290409"/>
                  </a:lnTo>
                  <a:lnTo>
                    <a:pt x="122617" y="122617"/>
                  </a:lnTo>
                  <a:lnTo>
                    <a:pt x="96803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1" name="Freeform: Shape 2880">
              <a:extLst>
                <a:ext uri="{FF2B5EF4-FFF2-40B4-BE49-F238E27FC236}">
                  <a16:creationId xmlns:a16="http://schemas.microsoft.com/office/drawing/2014/main" id="{8FB7A96C-C0B1-498C-ACFF-BD1C74922E41}"/>
                </a:ext>
              </a:extLst>
            </p:cNvPr>
            <p:cNvSpPr/>
            <p:nvPr/>
          </p:nvSpPr>
          <p:spPr>
            <a:xfrm>
              <a:off x="4894477" y="8390771"/>
              <a:ext cx="387212" cy="387212"/>
            </a:xfrm>
            <a:custGeom>
              <a:avLst/>
              <a:gdLst>
                <a:gd name="connsiteX0" fmla="*/ 161338 w 387211"/>
                <a:gd name="connsiteY0" fmla="*/ 290409 h 387211"/>
                <a:gd name="connsiteX1" fmla="*/ 96803 w 387211"/>
                <a:gd name="connsiteY1" fmla="*/ 96803 h 387211"/>
                <a:gd name="connsiteX2" fmla="*/ 96803 w 387211"/>
                <a:gd name="connsiteY2" fmla="*/ 96803 h 387211"/>
                <a:gd name="connsiteX3" fmla="*/ 380759 w 387211"/>
                <a:gd name="connsiteY3" fmla="*/ 109710 h 387211"/>
                <a:gd name="connsiteX4" fmla="*/ 161338 w 387211"/>
                <a:gd name="connsiteY4" fmla="*/ 290409 h 387211"/>
                <a:gd name="connsiteX5" fmla="*/ 109710 w 387211"/>
                <a:gd name="connsiteY5" fmla="*/ 96803 h 387211"/>
                <a:gd name="connsiteX6" fmla="*/ 161338 w 387211"/>
                <a:gd name="connsiteY6" fmla="*/ 277502 h 387211"/>
                <a:gd name="connsiteX7" fmla="*/ 367851 w 387211"/>
                <a:gd name="connsiteY7" fmla="*/ 109710 h 387211"/>
                <a:gd name="connsiteX8" fmla="*/ 109710 w 387211"/>
                <a:gd name="connsiteY8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161338" y="290409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380759" y="109710"/>
                  </a:lnTo>
                  <a:lnTo>
                    <a:pt x="161338" y="290409"/>
                  </a:lnTo>
                  <a:close/>
                  <a:moveTo>
                    <a:pt x="109710" y="96803"/>
                  </a:moveTo>
                  <a:lnTo>
                    <a:pt x="161338" y="277502"/>
                  </a:lnTo>
                  <a:lnTo>
                    <a:pt x="367851" y="109710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2" name="Freeform: Shape 2881">
              <a:extLst>
                <a:ext uri="{FF2B5EF4-FFF2-40B4-BE49-F238E27FC236}">
                  <a16:creationId xmlns:a16="http://schemas.microsoft.com/office/drawing/2014/main" id="{03A6B2DC-6B28-4940-A5BD-F8D591D53C2A}"/>
                </a:ext>
              </a:extLst>
            </p:cNvPr>
            <p:cNvSpPr/>
            <p:nvPr/>
          </p:nvSpPr>
          <p:spPr>
            <a:xfrm>
              <a:off x="4959013" y="8571470"/>
              <a:ext cx="387212" cy="258141"/>
            </a:xfrm>
            <a:custGeom>
              <a:avLst/>
              <a:gdLst>
                <a:gd name="connsiteX0" fmla="*/ 187153 w 387211"/>
                <a:gd name="connsiteY0" fmla="*/ 264595 h 258141"/>
                <a:gd name="connsiteX1" fmla="*/ 96803 w 387211"/>
                <a:gd name="connsiteY1" fmla="*/ 96803 h 258141"/>
                <a:gd name="connsiteX2" fmla="*/ 290409 w 387211"/>
                <a:gd name="connsiteY2" fmla="*/ 161338 h 258141"/>
                <a:gd name="connsiteX3" fmla="*/ 187153 w 387211"/>
                <a:gd name="connsiteY3" fmla="*/ 264595 h 258141"/>
                <a:gd name="connsiteX4" fmla="*/ 109710 w 387211"/>
                <a:gd name="connsiteY4" fmla="*/ 109710 h 258141"/>
                <a:gd name="connsiteX5" fmla="*/ 187153 w 387211"/>
                <a:gd name="connsiteY5" fmla="*/ 264595 h 258141"/>
                <a:gd name="connsiteX6" fmla="*/ 277502 w 387211"/>
                <a:gd name="connsiteY6" fmla="*/ 174246 h 258141"/>
                <a:gd name="connsiteX7" fmla="*/ 109710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187153" y="264595"/>
                  </a:moveTo>
                  <a:lnTo>
                    <a:pt x="96803" y="96803"/>
                  </a:lnTo>
                  <a:lnTo>
                    <a:pt x="290409" y="161338"/>
                  </a:lnTo>
                  <a:lnTo>
                    <a:pt x="187153" y="264595"/>
                  </a:lnTo>
                  <a:close/>
                  <a:moveTo>
                    <a:pt x="109710" y="109710"/>
                  </a:moveTo>
                  <a:lnTo>
                    <a:pt x="187153" y="264595"/>
                  </a:lnTo>
                  <a:lnTo>
                    <a:pt x="277502" y="174246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3" name="Freeform: Shape 2882">
              <a:extLst>
                <a:ext uri="{FF2B5EF4-FFF2-40B4-BE49-F238E27FC236}">
                  <a16:creationId xmlns:a16="http://schemas.microsoft.com/office/drawing/2014/main" id="{38BD4C91-832D-4082-91EE-A8DB5360A126}"/>
                </a:ext>
              </a:extLst>
            </p:cNvPr>
            <p:cNvSpPr/>
            <p:nvPr/>
          </p:nvSpPr>
          <p:spPr>
            <a:xfrm>
              <a:off x="4946105" y="8403678"/>
              <a:ext cx="387212" cy="387212"/>
            </a:xfrm>
            <a:custGeom>
              <a:avLst/>
              <a:gdLst>
                <a:gd name="connsiteX0" fmla="*/ 290409 w 387211"/>
                <a:gd name="connsiteY0" fmla="*/ 342037 h 387211"/>
                <a:gd name="connsiteX1" fmla="*/ 96803 w 387211"/>
                <a:gd name="connsiteY1" fmla="*/ 277502 h 387211"/>
                <a:gd name="connsiteX2" fmla="*/ 316223 w 387211"/>
                <a:gd name="connsiteY2" fmla="*/ 96803 h 387211"/>
                <a:gd name="connsiteX3" fmla="*/ 290409 w 387211"/>
                <a:gd name="connsiteY3" fmla="*/ 342037 h 387211"/>
                <a:gd name="connsiteX4" fmla="*/ 122617 w 387211"/>
                <a:gd name="connsiteY4" fmla="*/ 264595 h 387211"/>
                <a:gd name="connsiteX5" fmla="*/ 290409 w 387211"/>
                <a:gd name="connsiteY5" fmla="*/ 329130 h 387211"/>
                <a:gd name="connsiteX6" fmla="*/ 316223 w 387211"/>
                <a:gd name="connsiteY6" fmla="*/ 109710 h 387211"/>
                <a:gd name="connsiteX7" fmla="*/ 122617 w 387211"/>
                <a:gd name="connsiteY7" fmla="*/ 26459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90409" y="342037"/>
                  </a:moveTo>
                  <a:lnTo>
                    <a:pt x="96803" y="277502"/>
                  </a:lnTo>
                  <a:lnTo>
                    <a:pt x="316223" y="96803"/>
                  </a:lnTo>
                  <a:lnTo>
                    <a:pt x="290409" y="342037"/>
                  </a:lnTo>
                  <a:close/>
                  <a:moveTo>
                    <a:pt x="122617" y="264595"/>
                  </a:moveTo>
                  <a:lnTo>
                    <a:pt x="290409" y="329130"/>
                  </a:lnTo>
                  <a:lnTo>
                    <a:pt x="316223" y="109710"/>
                  </a:lnTo>
                  <a:lnTo>
                    <a:pt x="122617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4" name="Freeform: Shape 2883">
              <a:extLst>
                <a:ext uri="{FF2B5EF4-FFF2-40B4-BE49-F238E27FC236}">
                  <a16:creationId xmlns:a16="http://schemas.microsoft.com/office/drawing/2014/main" id="{746C974E-A9AF-457A-B9DD-6109661F4B1A}"/>
                </a:ext>
              </a:extLst>
            </p:cNvPr>
            <p:cNvSpPr/>
            <p:nvPr/>
          </p:nvSpPr>
          <p:spPr>
            <a:xfrm>
              <a:off x="5346225" y="8042281"/>
              <a:ext cx="387212" cy="387212"/>
            </a:xfrm>
            <a:custGeom>
              <a:avLst/>
              <a:gdLst>
                <a:gd name="connsiteX0" fmla="*/ 277502 w 387211"/>
                <a:gd name="connsiteY0" fmla="*/ 329130 h 387211"/>
                <a:gd name="connsiteX1" fmla="*/ 96803 w 387211"/>
                <a:gd name="connsiteY1" fmla="*/ 96803 h 387211"/>
                <a:gd name="connsiteX2" fmla="*/ 342037 w 387211"/>
                <a:gd name="connsiteY2" fmla="*/ 200059 h 387211"/>
                <a:gd name="connsiteX3" fmla="*/ 277502 w 387211"/>
                <a:gd name="connsiteY3" fmla="*/ 329130 h 387211"/>
                <a:gd name="connsiteX4" fmla="*/ 109710 w 387211"/>
                <a:gd name="connsiteY4" fmla="*/ 122617 h 387211"/>
                <a:gd name="connsiteX5" fmla="*/ 277502 w 387211"/>
                <a:gd name="connsiteY5" fmla="*/ 329130 h 387211"/>
                <a:gd name="connsiteX6" fmla="*/ 329130 w 387211"/>
                <a:gd name="connsiteY6" fmla="*/ 212967 h 387211"/>
                <a:gd name="connsiteX7" fmla="*/ 109710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77502" y="329130"/>
                  </a:moveTo>
                  <a:lnTo>
                    <a:pt x="96803" y="96803"/>
                  </a:lnTo>
                  <a:lnTo>
                    <a:pt x="342037" y="200059"/>
                  </a:lnTo>
                  <a:lnTo>
                    <a:pt x="277502" y="329130"/>
                  </a:lnTo>
                  <a:close/>
                  <a:moveTo>
                    <a:pt x="109710" y="122617"/>
                  </a:moveTo>
                  <a:lnTo>
                    <a:pt x="277502" y="329130"/>
                  </a:lnTo>
                  <a:lnTo>
                    <a:pt x="329130" y="212967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5" name="Freeform: Shape 2884">
              <a:extLst>
                <a:ext uri="{FF2B5EF4-FFF2-40B4-BE49-F238E27FC236}">
                  <a16:creationId xmlns:a16="http://schemas.microsoft.com/office/drawing/2014/main" id="{A48841C4-70FA-4725-9E88-F35CDC809751}"/>
                </a:ext>
              </a:extLst>
            </p:cNvPr>
            <p:cNvSpPr/>
            <p:nvPr/>
          </p:nvSpPr>
          <p:spPr>
            <a:xfrm>
              <a:off x="5346225" y="8042281"/>
              <a:ext cx="387212" cy="258141"/>
            </a:xfrm>
            <a:custGeom>
              <a:avLst/>
              <a:gdLst>
                <a:gd name="connsiteX0" fmla="*/ 342037 w 387211"/>
                <a:gd name="connsiteY0" fmla="*/ 212967 h 258141"/>
                <a:gd name="connsiteX1" fmla="*/ 96803 w 387211"/>
                <a:gd name="connsiteY1" fmla="*/ 109710 h 258141"/>
                <a:gd name="connsiteX2" fmla="*/ 303316 w 387211"/>
                <a:gd name="connsiteY2" fmla="*/ 96803 h 258141"/>
                <a:gd name="connsiteX3" fmla="*/ 342037 w 387211"/>
                <a:gd name="connsiteY3" fmla="*/ 212967 h 258141"/>
                <a:gd name="connsiteX4" fmla="*/ 122617 w 387211"/>
                <a:gd name="connsiteY4" fmla="*/ 109710 h 258141"/>
                <a:gd name="connsiteX5" fmla="*/ 329130 w 387211"/>
                <a:gd name="connsiteY5" fmla="*/ 200059 h 258141"/>
                <a:gd name="connsiteX6" fmla="*/ 290409 w 387211"/>
                <a:gd name="connsiteY6" fmla="*/ 96803 h 258141"/>
                <a:gd name="connsiteX7" fmla="*/ 122617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42037" y="212967"/>
                  </a:moveTo>
                  <a:lnTo>
                    <a:pt x="96803" y="109710"/>
                  </a:lnTo>
                  <a:lnTo>
                    <a:pt x="303316" y="96803"/>
                  </a:lnTo>
                  <a:lnTo>
                    <a:pt x="342037" y="212967"/>
                  </a:lnTo>
                  <a:close/>
                  <a:moveTo>
                    <a:pt x="122617" y="109710"/>
                  </a:moveTo>
                  <a:lnTo>
                    <a:pt x="329130" y="200059"/>
                  </a:lnTo>
                  <a:lnTo>
                    <a:pt x="290409" y="96803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6" name="Freeform: Shape 2885">
              <a:extLst>
                <a:ext uri="{FF2B5EF4-FFF2-40B4-BE49-F238E27FC236}">
                  <a16:creationId xmlns:a16="http://schemas.microsoft.com/office/drawing/2014/main" id="{880169EA-E3BC-425E-9850-DFBFBA441AF9}"/>
                </a:ext>
              </a:extLst>
            </p:cNvPr>
            <p:cNvSpPr/>
            <p:nvPr/>
          </p:nvSpPr>
          <p:spPr>
            <a:xfrm>
              <a:off x="5023548" y="7797046"/>
              <a:ext cx="516283" cy="387212"/>
            </a:xfrm>
            <a:custGeom>
              <a:avLst/>
              <a:gdLst>
                <a:gd name="connsiteX0" fmla="*/ 96803 w 516282"/>
                <a:gd name="connsiteY0" fmla="*/ 406573 h 387211"/>
                <a:gd name="connsiteX1" fmla="*/ 174245 w 516282"/>
                <a:gd name="connsiteY1" fmla="*/ 96803 h 387211"/>
                <a:gd name="connsiteX2" fmla="*/ 432386 w 516282"/>
                <a:gd name="connsiteY2" fmla="*/ 354944 h 387211"/>
                <a:gd name="connsiteX3" fmla="*/ 432386 w 516282"/>
                <a:gd name="connsiteY3" fmla="*/ 354944 h 387211"/>
                <a:gd name="connsiteX4" fmla="*/ 96803 w 516282"/>
                <a:gd name="connsiteY4" fmla="*/ 406573 h 387211"/>
                <a:gd name="connsiteX5" fmla="*/ 174245 w 516282"/>
                <a:gd name="connsiteY5" fmla="*/ 109710 h 387211"/>
                <a:gd name="connsiteX6" fmla="*/ 109710 w 516282"/>
                <a:gd name="connsiteY6" fmla="*/ 393666 h 387211"/>
                <a:gd name="connsiteX7" fmla="*/ 419480 w 516282"/>
                <a:gd name="connsiteY7" fmla="*/ 354944 h 387211"/>
                <a:gd name="connsiteX8" fmla="*/ 174245 w 516282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96803" y="406573"/>
                  </a:moveTo>
                  <a:lnTo>
                    <a:pt x="174245" y="96803"/>
                  </a:lnTo>
                  <a:lnTo>
                    <a:pt x="432386" y="354944"/>
                  </a:lnTo>
                  <a:lnTo>
                    <a:pt x="432386" y="354944"/>
                  </a:lnTo>
                  <a:lnTo>
                    <a:pt x="96803" y="406573"/>
                  </a:lnTo>
                  <a:close/>
                  <a:moveTo>
                    <a:pt x="174245" y="109710"/>
                  </a:moveTo>
                  <a:lnTo>
                    <a:pt x="109710" y="393666"/>
                  </a:lnTo>
                  <a:lnTo>
                    <a:pt x="419480" y="354944"/>
                  </a:lnTo>
                  <a:lnTo>
                    <a:pt x="17424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7" name="Freeform: Shape 2886">
              <a:extLst>
                <a:ext uri="{FF2B5EF4-FFF2-40B4-BE49-F238E27FC236}">
                  <a16:creationId xmlns:a16="http://schemas.microsoft.com/office/drawing/2014/main" id="{3796FD8A-9991-4578-9DC6-36F5C99FCCB2}"/>
                </a:ext>
              </a:extLst>
            </p:cNvPr>
            <p:cNvSpPr/>
            <p:nvPr/>
          </p:nvSpPr>
          <p:spPr>
            <a:xfrm>
              <a:off x="5023548" y="8055187"/>
              <a:ext cx="516283" cy="387212"/>
            </a:xfrm>
            <a:custGeom>
              <a:avLst/>
              <a:gdLst>
                <a:gd name="connsiteX0" fmla="*/ 406572 w 516282"/>
                <a:gd name="connsiteY0" fmla="*/ 354944 h 387211"/>
                <a:gd name="connsiteX1" fmla="*/ 96803 w 516282"/>
                <a:gd name="connsiteY1" fmla="*/ 148431 h 387211"/>
                <a:gd name="connsiteX2" fmla="*/ 432386 w 516282"/>
                <a:gd name="connsiteY2" fmla="*/ 96803 h 387211"/>
                <a:gd name="connsiteX3" fmla="*/ 406572 w 516282"/>
                <a:gd name="connsiteY3" fmla="*/ 354944 h 387211"/>
                <a:gd name="connsiteX4" fmla="*/ 109710 w 516282"/>
                <a:gd name="connsiteY4" fmla="*/ 148431 h 387211"/>
                <a:gd name="connsiteX5" fmla="*/ 393665 w 516282"/>
                <a:gd name="connsiteY5" fmla="*/ 342037 h 387211"/>
                <a:gd name="connsiteX6" fmla="*/ 419480 w 516282"/>
                <a:gd name="connsiteY6" fmla="*/ 109710 h 387211"/>
                <a:gd name="connsiteX7" fmla="*/ 109710 w 516282"/>
                <a:gd name="connsiteY7" fmla="*/ 14843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06572" y="354944"/>
                  </a:moveTo>
                  <a:lnTo>
                    <a:pt x="96803" y="148431"/>
                  </a:lnTo>
                  <a:lnTo>
                    <a:pt x="432386" y="96803"/>
                  </a:lnTo>
                  <a:lnTo>
                    <a:pt x="406572" y="354944"/>
                  </a:lnTo>
                  <a:close/>
                  <a:moveTo>
                    <a:pt x="109710" y="148431"/>
                  </a:moveTo>
                  <a:lnTo>
                    <a:pt x="393665" y="342037"/>
                  </a:lnTo>
                  <a:lnTo>
                    <a:pt x="419480" y="109710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8" name="Freeform: Shape 2887">
              <a:extLst>
                <a:ext uri="{FF2B5EF4-FFF2-40B4-BE49-F238E27FC236}">
                  <a16:creationId xmlns:a16="http://schemas.microsoft.com/office/drawing/2014/main" id="{7FECA0E4-A566-4668-BAF3-AD32F8B15C1A}"/>
                </a:ext>
              </a:extLst>
            </p:cNvPr>
            <p:cNvSpPr/>
            <p:nvPr/>
          </p:nvSpPr>
          <p:spPr>
            <a:xfrm>
              <a:off x="5100990" y="7809954"/>
              <a:ext cx="387212" cy="387212"/>
            </a:xfrm>
            <a:custGeom>
              <a:avLst/>
              <a:gdLst>
                <a:gd name="connsiteX0" fmla="*/ 354944 w 387211"/>
                <a:gd name="connsiteY0" fmla="*/ 354944 h 387211"/>
                <a:gd name="connsiteX1" fmla="*/ 96803 w 387211"/>
                <a:gd name="connsiteY1" fmla="*/ 96803 h 387211"/>
                <a:gd name="connsiteX2" fmla="*/ 367852 w 387211"/>
                <a:gd name="connsiteY2" fmla="*/ 135524 h 387211"/>
                <a:gd name="connsiteX3" fmla="*/ 354944 w 387211"/>
                <a:gd name="connsiteY3" fmla="*/ 354944 h 387211"/>
                <a:gd name="connsiteX4" fmla="*/ 109710 w 387211"/>
                <a:gd name="connsiteY4" fmla="*/ 96803 h 387211"/>
                <a:gd name="connsiteX5" fmla="*/ 342037 w 387211"/>
                <a:gd name="connsiteY5" fmla="*/ 329130 h 387211"/>
                <a:gd name="connsiteX6" fmla="*/ 342037 w 387211"/>
                <a:gd name="connsiteY6" fmla="*/ 122617 h 387211"/>
                <a:gd name="connsiteX7" fmla="*/ 109710 w 38721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54944" y="354944"/>
                  </a:moveTo>
                  <a:lnTo>
                    <a:pt x="96803" y="96803"/>
                  </a:lnTo>
                  <a:lnTo>
                    <a:pt x="367852" y="135524"/>
                  </a:lnTo>
                  <a:lnTo>
                    <a:pt x="354944" y="354944"/>
                  </a:lnTo>
                  <a:close/>
                  <a:moveTo>
                    <a:pt x="109710" y="96803"/>
                  </a:moveTo>
                  <a:lnTo>
                    <a:pt x="342037" y="329130"/>
                  </a:lnTo>
                  <a:lnTo>
                    <a:pt x="342037" y="122617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89" name="Freeform: Shape 2888">
              <a:extLst>
                <a:ext uri="{FF2B5EF4-FFF2-40B4-BE49-F238E27FC236}">
                  <a16:creationId xmlns:a16="http://schemas.microsoft.com/office/drawing/2014/main" id="{1834C76D-4DF7-4F53-8C6A-5A34616A9CD7}"/>
                </a:ext>
              </a:extLst>
            </p:cNvPr>
            <p:cNvSpPr/>
            <p:nvPr/>
          </p:nvSpPr>
          <p:spPr>
            <a:xfrm>
              <a:off x="5320410" y="8042281"/>
              <a:ext cx="387212" cy="387212"/>
            </a:xfrm>
            <a:custGeom>
              <a:avLst/>
              <a:gdLst>
                <a:gd name="connsiteX0" fmla="*/ 96803 w 387211"/>
                <a:gd name="connsiteY0" fmla="*/ 354944 h 387211"/>
                <a:gd name="connsiteX1" fmla="*/ 122617 w 387211"/>
                <a:gd name="connsiteY1" fmla="*/ 96803 h 387211"/>
                <a:gd name="connsiteX2" fmla="*/ 303316 w 387211"/>
                <a:gd name="connsiteY2" fmla="*/ 329130 h 387211"/>
                <a:gd name="connsiteX3" fmla="*/ 96803 w 387211"/>
                <a:gd name="connsiteY3" fmla="*/ 354944 h 387211"/>
                <a:gd name="connsiteX4" fmla="*/ 135524 w 387211"/>
                <a:gd name="connsiteY4" fmla="*/ 122617 h 387211"/>
                <a:gd name="connsiteX5" fmla="*/ 109710 w 387211"/>
                <a:gd name="connsiteY5" fmla="*/ 354944 h 387211"/>
                <a:gd name="connsiteX6" fmla="*/ 303316 w 387211"/>
                <a:gd name="connsiteY6" fmla="*/ 329130 h 387211"/>
                <a:gd name="connsiteX7" fmla="*/ 135524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54944"/>
                  </a:moveTo>
                  <a:lnTo>
                    <a:pt x="122617" y="96803"/>
                  </a:lnTo>
                  <a:lnTo>
                    <a:pt x="303316" y="329130"/>
                  </a:lnTo>
                  <a:lnTo>
                    <a:pt x="96803" y="354944"/>
                  </a:lnTo>
                  <a:close/>
                  <a:moveTo>
                    <a:pt x="135524" y="122617"/>
                  </a:moveTo>
                  <a:lnTo>
                    <a:pt x="109710" y="354944"/>
                  </a:lnTo>
                  <a:lnTo>
                    <a:pt x="303316" y="329130"/>
                  </a:lnTo>
                  <a:lnTo>
                    <a:pt x="135524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0" name="Freeform: Shape 2889">
              <a:extLst>
                <a:ext uri="{FF2B5EF4-FFF2-40B4-BE49-F238E27FC236}">
                  <a16:creationId xmlns:a16="http://schemas.microsoft.com/office/drawing/2014/main" id="{FC81092A-6CAB-4248-9FDD-E6ADCF90F665}"/>
                </a:ext>
              </a:extLst>
            </p:cNvPr>
            <p:cNvSpPr/>
            <p:nvPr/>
          </p:nvSpPr>
          <p:spPr>
            <a:xfrm>
              <a:off x="5346225" y="7822860"/>
              <a:ext cx="387212" cy="387212"/>
            </a:xfrm>
            <a:custGeom>
              <a:avLst/>
              <a:gdLst>
                <a:gd name="connsiteX0" fmla="*/ 96803 w 387211"/>
                <a:gd name="connsiteY0" fmla="*/ 329130 h 387211"/>
                <a:gd name="connsiteX1" fmla="*/ 109710 w 387211"/>
                <a:gd name="connsiteY1" fmla="*/ 96803 h 387211"/>
                <a:gd name="connsiteX2" fmla="*/ 303316 w 387211"/>
                <a:gd name="connsiteY2" fmla="*/ 316223 h 387211"/>
                <a:gd name="connsiteX3" fmla="*/ 96803 w 387211"/>
                <a:gd name="connsiteY3" fmla="*/ 329130 h 387211"/>
                <a:gd name="connsiteX4" fmla="*/ 109710 w 387211"/>
                <a:gd name="connsiteY4" fmla="*/ 122617 h 387211"/>
                <a:gd name="connsiteX5" fmla="*/ 109710 w 387211"/>
                <a:gd name="connsiteY5" fmla="*/ 329130 h 387211"/>
                <a:gd name="connsiteX6" fmla="*/ 290409 w 387211"/>
                <a:gd name="connsiteY6" fmla="*/ 316223 h 387211"/>
                <a:gd name="connsiteX7" fmla="*/ 109710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29130"/>
                  </a:moveTo>
                  <a:lnTo>
                    <a:pt x="109710" y="96803"/>
                  </a:lnTo>
                  <a:lnTo>
                    <a:pt x="303316" y="316223"/>
                  </a:lnTo>
                  <a:lnTo>
                    <a:pt x="96803" y="329130"/>
                  </a:lnTo>
                  <a:close/>
                  <a:moveTo>
                    <a:pt x="109710" y="122617"/>
                  </a:moveTo>
                  <a:lnTo>
                    <a:pt x="109710" y="329130"/>
                  </a:lnTo>
                  <a:lnTo>
                    <a:pt x="290409" y="316223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1" name="Freeform: Shape 2890">
              <a:extLst>
                <a:ext uri="{FF2B5EF4-FFF2-40B4-BE49-F238E27FC236}">
                  <a16:creationId xmlns:a16="http://schemas.microsoft.com/office/drawing/2014/main" id="{139450C1-E92B-4CB9-AF85-549BC37F74A1}"/>
                </a:ext>
              </a:extLst>
            </p:cNvPr>
            <p:cNvSpPr/>
            <p:nvPr/>
          </p:nvSpPr>
          <p:spPr>
            <a:xfrm>
              <a:off x="4533080" y="5783544"/>
              <a:ext cx="516283" cy="387212"/>
            </a:xfrm>
            <a:custGeom>
              <a:avLst/>
              <a:gdLst>
                <a:gd name="connsiteX0" fmla="*/ 458201 w 516282"/>
                <a:gd name="connsiteY0" fmla="*/ 290409 h 387211"/>
                <a:gd name="connsiteX1" fmla="*/ 96803 w 516282"/>
                <a:gd name="connsiteY1" fmla="*/ 238780 h 387211"/>
                <a:gd name="connsiteX2" fmla="*/ 187152 w 516282"/>
                <a:gd name="connsiteY2" fmla="*/ 96803 h 387211"/>
                <a:gd name="connsiteX3" fmla="*/ 458201 w 516282"/>
                <a:gd name="connsiteY3" fmla="*/ 290409 h 387211"/>
                <a:gd name="connsiteX4" fmla="*/ 96803 w 516282"/>
                <a:gd name="connsiteY4" fmla="*/ 225874 h 387211"/>
                <a:gd name="connsiteX5" fmla="*/ 419480 w 516282"/>
                <a:gd name="connsiteY5" fmla="*/ 277502 h 387211"/>
                <a:gd name="connsiteX6" fmla="*/ 161338 w 516282"/>
                <a:gd name="connsiteY6" fmla="*/ 96803 h 387211"/>
                <a:gd name="connsiteX7" fmla="*/ 96803 w 516282"/>
                <a:gd name="connsiteY7" fmla="*/ 22587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58201" y="290409"/>
                  </a:moveTo>
                  <a:lnTo>
                    <a:pt x="96803" y="238780"/>
                  </a:lnTo>
                  <a:lnTo>
                    <a:pt x="187152" y="96803"/>
                  </a:lnTo>
                  <a:lnTo>
                    <a:pt x="458201" y="290409"/>
                  </a:lnTo>
                  <a:close/>
                  <a:moveTo>
                    <a:pt x="96803" y="225874"/>
                  </a:moveTo>
                  <a:lnTo>
                    <a:pt x="419480" y="277502"/>
                  </a:lnTo>
                  <a:lnTo>
                    <a:pt x="161338" y="96803"/>
                  </a:lnTo>
                  <a:lnTo>
                    <a:pt x="96803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2" name="Freeform: Shape 2891">
              <a:extLst>
                <a:ext uri="{FF2B5EF4-FFF2-40B4-BE49-F238E27FC236}">
                  <a16:creationId xmlns:a16="http://schemas.microsoft.com/office/drawing/2014/main" id="{247DF46C-85DA-4989-A741-2DF39C78B2C8}"/>
                </a:ext>
              </a:extLst>
            </p:cNvPr>
            <p:cNvSpPr/>
            <p:nvPr/>
          </p:nvSpPr>
          <p:spPr>
            <a:xfrm>
              <a:off x="4610522" y="5744823"/>
              <a:ext cx="516283" cy="387212"/>
            </a:xfrm>
            <a:custGeom>
              <a:avLst/>
              <a:gdLst>
                <a:gd name="connsiteX0" fmla="*/ 367851 w 516282"/>
                <a:gd name="connsiteY0" fmla="*/ 329130 h 387211"/>
                <a:gd name="connsiteX1" fmla="*/ 367851 w 516282"/>
                <a:gd name="connsiteY1" fmla="*/ 329130 h 387211"/>
                <a:gd name="connsiteX2" fmla="*/ 96803 w 516282"/>
                <a:gd name="connsiteY2" fmla="*/ 135524 h 387211"/>
                <a:gd name="connsiteX3" fmla="*/ 535643 w 516282"/>
                <a:gd name="connsiteY3" fmla="*/ 96803 h 387211"/>
                <a:gd name="connsiteX4" fmla="*/ 367851 w 516282"/>
                <a:gd name="connsiteY4" fmla="*/ 329130 h 387211"/>
                <a:gd name="connsiteX5" fmla="*/ 109710 w 516282"/>
                <a:gd name="connsiteY5" fmla="*/ 135524 h 387211"/>
                <a:gd name="connsiteX6" fmla="*/ 367851 w 516282"/>
                <a:gd name="connsiteY6" fmla="*/ 316223 h 387211"/>
                <a:gd name="connsiteX7" fmla="*/ 509829 w 516282"/>
                <a:gd name="connsiteY7" fmla="*/ 109710 h 387211"/>
                <a:gd name="connsiteX8" fmla="*/ 109710 w 516282"/>
                <a:gd name="connsiteY8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367851" y="329130"/>
                  </a:moveTo>
                  <a:lnTo>
                    <a:pt x="367851" y="329130"/>
                  </a:lnTo>
                  <a:lnTo>
                    <a:pt x="96803" y="135524"/>
                  </a:lnTo>
                  <a:lnTo>
                    <a:pt x="535643" y="96803"/>
                  </a:lnTo>
                  <a:lnTo>
                    <a:pt x="367851" y="329130"/>
                  </a:lnTo>
                  <a:close/>
                  <a:moveTo>
                    <a:pt x="109710" y="135524"/>
                  </a:moveTo>
                  <a:lnTo>
                    <a:pt x="367851" y="316223"/>
                  </a:lnTo>
                  <a:lnTo>
                    <a:pt x="509829" y="109710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3" name="Freeform: Shape 2892">
              <a:extLst>
                <a:ext uri="{FF2B5EF4-FFF2-40B4-BE49-F238E27FC236}">
                  <a16:creationId xmlns:a16="http://schemas.microsoft.com/office/drawing/2014/main" id="{3D386BCE-4FD2-42D4-8B8D-317A2DBDA853}"/>
                </a:ext>
              </a:extLst>
            </p:cNvPr>
            <p:cNvSpPr/>
            <p:nvPr/>
          </p:nvSpPr>
          <p:spPr>
            <a:xfrm>
              <a:off x="4868663" y="5964243"/>
              <a:ext cx="516283" cy="516283"/>
            </a:xfrm>
            <a:custGeom>
              <a:avLst/>
              <a:gdLst>
                <a:gd name="connsiteX0" fmla="*/ 148431 w 516282"/>
                <a:gd name="connsiteY0" fmla="*/ 535643 h 516282"/>
                <a:gd name="connsiteX1" fmla="*/ 96803 w 516282"/>
                <a:gd name="connsiteY1" fmla="*/ 96803 h 516282"/>
                <a:gd name="connsiteX2" fmla="*/ 96803 w 516282"/>
                <a:gd name="connsiteY2" fmla="*/ 96803 h 516282"/>
                <a:gd name="connsiteX3" fmla="*/ 445294 w 516282"/>
                <a:gd name="connsiteY3" fmla="*/ 212966 h 516282"/>
                <a:gd name="connsiteX4" fmla="*/ 148431 w 516282"/>
                <a:gd name="connsiteY4" fmla="*/ 535643 h 516282"/>
                <a:gd name="connsiteX5" fmla="*/ 109710 w 516282"/>
                <a:gd name="connsiteY5" fmla="*/ 109710 h 516282"/>
                <a:gd name="connsiteX6" fmla="*/ 161338 w 516282"/>
                <a:gd name="connsiteY6" fmla="*/ 522736 h 516282"/>
                <a:gd name="connsiteX7" fmla="*/ 445294 w 516282"/>
                <a:gd name="connsiteY7" fmla="*/ 225874 h 516282"/>
                <a:gd name="connsiteX8" fmla="*/ 109710 w 516282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148431" y="535643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445294" y="212966"/>
                  </a:lnTo>
                  <a:lnTo>
                    <a:pt x="148431" y="535643"/>
                  </a:lnTo>
                  <a:close/>
                  <a:moveTo>
                    <a:pt x="109710" y="109710"/>
                  </a:moveTo>
                  <a:lnTo>
                    <a:pt x="161338" y="522736"/>
                  </a:lnTo>
                  <a:lnTo>
                    <a:pt x="445294" y="225874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4" name="Freeform: Shape 2893">
              <a:extLst>
                <a:ext uri="{FF2B5EF4-FFF2-40B4-BE49-F238E27FC236}">
                  <a16:creationId xmlns:a16="http://schemas.microsoft.com/office/drawing/2014/main" id="{F8707DDE-7B82-4DD4-A5DE-31198018C57D}"/>
                </a:ext>
              </a:extLst>
            </p:cNvPr>
            <p:cNvSpPr/>
            <p:nvPr/>
          </p:nvSpPr>
          <p:spPr>
            <a:xfrm>
              <a:off x="4868663" y="5744823"/>
              <a:ext cx="516283" cy="516283"/>
            </a:xfrm>
            <a:custGeom>
              <a:avLst/>
              <a:gdLst>
                <a:gd name="connsiteX0" fmla="*/ 445294 w 516282"/>
                <a:gd name="connsiteY0" fmla="*/ 445294 h 516282"/>
                <a:gd name="connsiteX1" fmla="*/ 96803 w 516282"/>
                <a:gd name="connsiteY1" fmla="*/ 329130 h 516282"/>
                <a:gd name="connsiteX2" fmla="*/ 251688 w 516282"/>
                <a:gd name="connsiteY2" fmla="*/ 96803 h 516282"/>
                <a:gd name="connsiteX3" fmla="*/ 445294 w 516282"/>
                <a:gd name="connsiteY3" fmla="*/ 445294 h 516282"/>
                <a:gd name="connsiteX4" fmla="*/ 109710 w 516282"/>
                <a:gd name="connsiteY4" fmla="*/ 316223 h 516282"/>
                <a:gd name="connsiteX5" fmla="*/ 432386 w 516282"/>
                <a:gd name="connsiteY5" fmla="*/ 419480 h 516282"/>
                <a:gd name="connsiteX6" fmla="*/ 251688 w 516282"/>
                <a:gd name="connsiteY6" fmla="*/ 96803 h 516282"/>
                <a:gd name="connsiteX7" fmla="*/ 109710 w 516282"/>
                <a:gd name="connsiteY7" fmla="*/ 31622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445294" y="445294"/>
                  </a:moveTo>
                  <a:lnTo>
                    <a:pt x="96803" y="329130"/>
                  </a:lnTo>
                  <a:lnTo>
                    <a:pt x="251688" y="96803"/>
                  </a:lnTo>
                  <a:lnTo>
                    <a:pt x="445294" y="445294"/>
                  </a:lnTo>
                  <a:close/>
                  <a:moveTo>
                    <a:pt x="109710" y="316223"/>
                  </a:moveTo>
                  <a:lnTo>
                    <a:pt x="432386" y="419480"/>
                  </a:lnTo>
                  <a:lnTo>
                    <a:pt x="251688" y="96803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5" name="Freeform: Shape 2894">
              <a:extLst>
                <a:ext uri="{FF2B5EF4-FFF2-40B4-BE49-F238E27FC236}">
                  <a16:creationId xmlns:a16="http://schemas.microsoft.com/office/drawing/2014/main" id="{B3CE5DB4-F814-46CB-8E43-2360658261D0}"/>
                </a:ext>
              </a:extLst>
            </p:cNvPr>
            <p:cNvSpPr/>
            <p:nvPr/>
          </p:nvSpPr>
          <p:spPr>
            <a:xfrm>
              <a:off x="4533080" y="5912615"/>
              <a:ext cx="516283" cy="387212"/>
            </a:xfrm>
            <a:custGeom>
              <a:avLst/>
              <a:gdLst>
                <a:gd name="connsiteX0" fmla="*/ 135524 w 516282"/>
                <a:gd name="connsiteY0" fmla="*/ 380759 h 387211"/>
                <a:gd name="connsiteX1" fmla="*/ 96803 w 516282"/>
                <a:gd name="connsiteY1" fmla="*/ 96803 h 387211"/>
                <a:gd name="connsiteX2" fmla="*/ 96803 w 516282"/>
                <a:gd name="connsiteY2" fmla="*/ 96803 h 387211"/>
                <a:gd name="connsiteX3" fmla="*/ 445293 w 516282"/>
                <a:gd name="connsiteY3" fmla="*/ 148431 h 387211"/>
                <a:gd name="connsiteX4" fmla="*/ 135524 w 516282"/>
                <a:gd name="connsiteY4" fmla="*/ 380759 h 387211"/>
                <a:gd name="connsiteX5" fmla="*/ 96803 w 516282"/>
                <a:gd name="connsiteY5" fmla="*/ 109710 h 387211"/>
                <a:gd name="connsiteX6" fmla="*/ 135524 w 516282"/>
                <a:gd name="connsiteY6" fmla="*/ 367851 h 387211"/>
                <a:gd name="connsiteX7" fmla="*/ 432386 w 516282"/>
                <a:gd name="connsiteY7" fmla="*/ 161338 h 387211"/>
                <a:gd name="connsiteX8" fmla="*/ 96803 w 516282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135524" y="380759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445293" y="148431"/>
                  </a:lnTo>
                  <a:lnTo>
                    <a:pt x="135524" y="380759"/>
                  </a:lnTo>
                  <a:close/>
                  <a:moveTo>
                    <a:pt x="96803" y="109710"/>
                  </a:moveTo>
                  <a:lnTo>
                    <a:pt x="135524" y="367851"/>
                  </a:lnTo>
                  <a:lnTo>
                    <a:pt x="432386" y="161338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6" name="Freeform: Shape 2895">
              <a:extLst>
                <a:ext uri="{FF2B5EF4-FFF2-40B4-BE49-F238E27FC236}">
                  <a16:creationId xmlns:a16="http://schemas.microsoft.com/office/drawing/2014/main" id="{65FFB7C2-298B-4C61-9456-BBA88D695AA6}"/>
                </a:ext>
              </a:extLst>
            </p:cNvPr>
            <p:cNvSpPr/>
            <p:nvPr/>
          </p:nvSpPr>
          <p:spPr>
            <a:xfrm>
              <a:off x="4571801" y="5964243"/>
              <a:ext cx="516283" cy="516283"/>
            </a:xfrm>
            <a:custGeom>
              <a:avLst/>
              <a:gdLst>
                <a:gd name="connsiteX0" fmla="*/ 458201 w 516282"/>
                <a:gd name="connsiteY0" fmla="*/ 535643 h 516282"/>
                <a:gd name="connsiteX1" fmla="*/ 96803 w 516282"/>
                <a:gd name="connsiteY1" fmla="*/ 316223 h 516282"/>
                <a:gd name="connsiteX2" fmla="*/ 96803 w 516282"/>
                <a:gd name="connsiteY2" fmla="*/ 316223 h 516282"/>
                <a:gd name="connsiteX3" fmla="*/ 406572 w 516282"/>
                <a:gd name="connsiteY3" fmla="*/ 96803 h 516282"/>
                <a:gd name="connsiteX4" fmla="*/ 458201 w 516282"/>
                <a:gd name="connsiteY4" fmla="*/ 535643 h 516282"/>
                <a:gd name="connsiteX5" fmla="*/ 109710 w 516282"/>
                <a:gd name="connsiteY5" fmla="*/ 316223 h 516282"/>
                <a:gd name="connsiteX6" fmla="*/ 458201 w 516282"/>
                <a:gd name="connsiteY6" fmla="*/ 522736 h 516282"/>
                <a:gd name="connsiteX7" fmla="*/ 393665 w 516282"/>
                <a:gd name="connsiteY7" fmla="*/ 109710 h 516282"/>
                <a:gd name="connsiteX8" fmla="*/ 109710 w 516282"/>
                <a:gd name="connsiteY8" fmla="*/ 31622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458201" y="535643"/>
                  </a:moveTo>
                  <a:lnTo>
                    <a:pt x="96803" y="316223"/>
                  </a:lnTo>
                  <a:lnTo>
                    <a:pt x="96803" y="316223"/>
                  </a:lnTo>
                  <a:lnTo>
                    <a:pt x="406572" y="96803"/>
                  </a:lnTo>
                  <a:lnTo>
                    <a:pt x="458201" y="535643"/>
                  </a:lnTo>
                  <a:close/>
                  <a:moveTo>
                    <a:pt x="109710" y="316223"/>
                  </a:moveTo>
                  <a:lnTo>
                    <a:pt x="458201" y="522736"/>
                  </a:lnTo>
                  <a:lnTo>
                    <a:pt x="393665" y="109710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7" name="Freeform: Shape 2896">
              <a:extLst>
                <a:ext uri="{FF2B5EF4-FFF2-40B4-BE49-F238E27FC236}">
                  <a16:creationId xmlns:a16="http://schemas.microsoft.com/office/drawing/2014/main" id="{B99DA0A0-54B1-4EAA-81FD-36A646E3BBB9}"/>
                </a:ext>
              </a:extLst>
            </p:cNvPr>
            <p:cNvSpPr/>
            <p:nvPr/>
          </p:nvSpPr>
          <p:spPr>
            <a:xfrm>
              <a:off x="5630180" y="6286920"/>
              <a:ext cx="516283" cy="516283"/>
            </a:xfrm>
            <a:custGeom>
              <a:avLst/>
              <a:gdLst>
                <a:gd name="connsiteX0" fmla="*/ 96803 w 516282"/>
                <a:gd name="connsiteY0" fmla="*/ 509829 h 516282"/>
                <a:gd name="connsiteX1" fmla="*/ 354944 w 516282"/>
                <a:gd name="connsiteY1" fmla="*/ 96803 h 516282"/>
                <a:gd name="connsiteX2" fmla="*/ 522736 w 516282"/>
                <a:gd name="connsiteY2" fmla="*/ 329130 h 516282"/>
                <a:gd name="connsiteX3" fmla="*/ 96803 w 516282"/>
                <a:gd name="connsiteY3" fmla="*/ 509829 h 516282"/>
                <a:gd name="connsiteX4" fmla="*/ 367851 w 516282"/>
                <a:gd name="connsiteY4" fmla="*/ 109710 h 516282"/>
                <a:gd name="connsiteX5" fmla="*/ 122617 w 516282"/>
                <a:gd name="connsiteY5" fmla="*/ 496922 h 516282"/>
                <a:gd name="connsiteX6" fmla="*/ 522736 w 516282"/>
                <a:gd name="connsiteY6" fmla="*/ 329130 h 516282"/>
                <a:gd name="connsiteX7" fmla="*/ 367851 w 516282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96803" y="509829"/>
                  </a:moveTo>
                  <a:lnTo>
                    <a:pt x="354944" y="96803"/>
                  </a:lnTo>
                  <a:lnTo>
                    <a:pt x="522736" y="329130"/>
                  </a:lnTo>
                  <a:lnTo>
                    <a:pt x="96803" y="509829"/>
                  </a:lnTo>
                  <a:close/>
                  <a:moveTo>
                    <a:pt x="367851" y="109710"/>
                  </a:moveTo>
                  <a:lnTo>
                    <a:pt x="122617" y="496922"/>
                  </a:lnTo>
                  <a:lnTo>
                    <a:pt x="522736" y="329130"/>
                  </a:lnTo>
                  <a:lnTo>
                    <a:pt x="36785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8" name="Freeform: Shape 2897">
              <a:extLst>
                <a:ext uri="{FF2B5EF4-FFF2-40B4-BE49-F238E27FC236}">
                  <a16:creationId xmlns:a16="http://schemas.microsoft.com/office/drawing/2014/main" id="{01952527-3DB7-409B-9D7E-48C2C8ED92F8}"/>
                </a:ext>
              </a:extLst>
            </p:cNvPr>
            <p:cNvSpPr/>
            <p:nvPr/>
          </p:nvSpPr>
          <p:spPr>
            <a:xfrm>
              <a:off x="5823786" y="6015871"/>
              <a:ext cx="387212" cy="387212"/>
            </a:xfrm>
            <a:custGeom>
              <a:avLst/>
              <a:gdLst>
                <a:gd name="connsiteX0" fmla="*/ 174245 w 387211"/>
                <a:gd name="connsiteY0" fmla="*/ 380759 h 387211"/>
                <a:gd name="connsiteX1" fmla="*/ 96803 w 387211"/>
                <a:gd name="connsiteY1" fmla="*/ 96803 h 387211"/>
                <a:gd name="connsiteX2" fmla="*/ 303316 w 387211"/>
                <a:gd name="connsiteY2" fmla="*/ 96803 h 387211"/>
                <a:gd name="connsiteX3" fmla="*/ 174245 w 387211"/>
                <a:gd name="connsiteY3" fmla="*/ 380759 h 387211"/>
                <a:gd name="connsiteX4" fmla="*/ 96803 w 387211"/>
                <a:gd name="connsiteY4" fmla="*/ 109710 h 387211"/>
                <a:gd name="connsiteX5" fmla="*/ 161338 w 387211"/>
                <a:gd name="connsiteY5" fmla="*/ 367852 h 387211"/>
                <a:gd name="connsiteX6" fmla="*/ 277502 w 387211"/>
                <a:gd name="connsiteY6" fmla="*/ 109710 h 387211"/>
                <a:gd name="connsiteX7" fmla="*/ 96803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74245" y="380759"/>
                  </a:moveTo>
                  <a:lnTo>
                    <a:pt x="96803" y="96803"/>
                  </a:lnTo>
                  <a:lnTo>
                    <a:pt x="303316" y="96803"/>
                  </a:lnTo>
                  <a:lnTo>
                    <a:pt x="174245" y="380759"/>
                  </a:lnTo>
                  <a:close/>
                  <a:moveTo>
                    <a:pt x="96803" y="109710"/>
                  </a:moveTo>
                  <a:lnTo>
                    <a:pt x="161338" y="367852"/>
                  </a:lnTo>
                  <a:lnTo>
                    <a:pt x="277502" y="109710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99" name="Freeform: Shape 2898">
              <a:extLst>
                <a:ext uri="{FF2B5EF4-FFF2-40B4-BE49-F238E27FC236}">
                  <a16:creationId xmlns:a16="http://schemas.microsoft.com/office/drawing/2014/main" id="{2DC96A9C-18F9-4201-87B7-79AE9F1084BF}"/>
                </a:ext>
              </a:extLst>
            </p:cNvPr>
            <p:cNvSpPr/>
            <p:nvPr/>
          </p:nvSpPr>
          <p:spPr>
            <a:xfrm>
              <a:off x="5888321" y="6015871"/>
              <a:ext cx="387212" cy="387212"/>
            </a:xfrm>
            <a:custGeom>
              <a:avLst/>
              <a:gdLst>
                <a:gd name="connsiteX0" fmla="*/ 96803 w 387211"/>
                <a:gd name="connsiteY0" fmla="*/ 380759 h 387211"/>
                <a:gd name="connsiteX1" fmla="*/ 225874 w 387211"/>
                <a:gd name="connsiteY1" fmla="*/ 96803 h 387211"/>
                <a:gd name="connsiteX2" fmla="*/ 367851 w 387211"/>
                <a:gd name="connsiteY2" fmla="*/ 251688 h 387211"/>
                <a:gd name="connsiteX3" fmla="*/ 367851 w 387211"/>
                <a:gd name="connsiteY3" fmla="*/ 251688 h 387211"/>
                <a:gd name="connsiteX4" fmla="*/ 96803 w 387211"/>
                <a:gd name="connsiteY4" fmla="*/ 380759 h 387211"/>
                <a:gd name="connsiteX5" fmla="*/ 225874 w 387211"/>
                <a:gd name="connsiteY5" fmla="*/ 109710 h 387211"/>
                <a:gd name="connsiteX6" fmla="*/ 109710 w 387211"/>
                <a:gd name="connsiteY6" fmla="*/ 367852 h 387211"/>
                <a:gd name="connsiteX7" fmla="*/ 354944 w 387211"/>
                <a:gd name="connsiteY7" fmla="*/ 251688 h 387211"/>
                <a:gd name="connsiteX8" fmla="*/ 225874 w 387211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96803" y="380759"/>
                  </a:moveTo>
                  <a:lnTo>
                    <a:pt x="225874" y="96803"/>
                  </a:lnTo>
                  <a:lnTo>
                    <a:pt x="367851" y="251688"/>
                  </a:lnTo>
                  <a:lnTo>
                    <a:pt x="367851" y="251688"/>
                  </a:lnTo>
                  <a:lnTo>
                    <a:pt x="96803" y="380759"/>
                  </a:lnTo>
                  <a:close/>
                  <a:moveTo>
                    <a:pt x="225874" y="109710"/>
                  </a:moveTo>
                  <a:lnTo>
                    <a:pt x="109710" y="367852"/>
                  </a:lnTo>
                  <a:lnTo>
                    <a:pt x="354944" y="251688"/>
                  </a:lnTo>
                  <a:lnTo>
                    <a:pt x="22587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0" name="Freeform: Shape 2899">
              <a:extLst>
                <a:ext uri="{FF2B5EF4-FFF2-40B4-BE49-F238E27FC236}">
                  <a16:creationId xmlns:a16="http://schemas.microsoft.com/office/drawing/2014/main" id="{ABD92757-6B04-45AD-ABF6-BFB1966F9029}"/>
                </a:ext>
              </a:extLst>
            </p:cNvPr>
            <p:cNvSpPr/>
            <p:nvPr/>
          </p:nvSpPr>
          <p:spPr>
            <a:xfrm>
              <a:off x="5888321" y="6157849"/>
              <a:ext cx="387212" cy="516283"/>
            </a:xfrm>
            <a:custGeom>
              <a:avLst/>
              <a:gdLst>
                <a:gd name="connsiteX0" fmla="*/ 264595 w 387211"/>
                <a:gd name="connsiteY0" fmla="*/ 458201 h 516282"/>
                <a:gd name="connsiteX1" fmla="*/ 96803 w 387211"/>
                <a:gd name="connsiteY1" fmla="*/ 225874 h 516282"/>
                <a:gd name="connsiteX2" fmla="*/ 354944 w 387211"/>
                <a:gd name="connsiteY2" fmla="*/ 96803 h 516282"/>
                <a:gd name="connsiteX3" fmla="*/ 264595 w 387211"/>
                <a:gd name="connsiteY3" fmla="*/ 458201 h 516282"/>
                <a:gd name="connsiteX4" fmla="*/ 109710 w 387211"/>
                <a:gd name="connsiteY4" fmla="*/ 225874 h 516282"/>
                <a:gd name="connsiteX5" fmla="*/ 264595 w 387211"/>
                <a:gd name="connsiteY5" fmla="*/ 432386 h 516282"/>
                <a:gd name="connsiteX6" fmla="*/ 354944 w 387211"/>
                <a:gd name="connsiteY6" fmla="*/ 96803 h 516282"/>
                <a:gd name="connsiteX7" fmla="*/ 109710 w 387211"/>
                <a:gd name="connsiteY7" fmla="*/ 22587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64595" y="458201"/>
                  </a:moveTo>
                  <a:lnTo>
                    <a:pt x="96803" y="225874"/>
                  </a:lnTo>
                  <a:lnTo>
                    <a:pt x="354944" y="96803"/>
                  </a:lnTo>
                  <a:lnTo>
                    <a:pt x="264595" y="458201"/>
                  </a:lnTo>
                  <a:close/>
                  <a:moveTo>
                    <a:pt x="109710" y="225874"/>
                  </a:moveTo>
                  <a:lnTo>
                    <a:pt x="264595" y="432386"/>
                  </a:lnTo>
                  <a:lnTo>
                    <a:pt x="354944" y="96803"/>
                  </a:lnTo>
                  <a:lnTo>
                    <a:pt x="109710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1" name="Freeform: Shape 2900">
              <a:extLst>
                <a:ext uri="{FF2B5EF4-FFF2-40B4-BE49-F238E27FC236}">
                  <a16:creationId xmlns:a16="http://schemas.microsoft.com/office/drawing/2014/main" id="{263E65FA-84E6-403D-89D7-65636860BDC7}"/>
                </a:ext>
              </a:extLst>
            </p:cNvPr>
            <p:cNvSpPr/>
            <p:nvPr/>
          </p:nvSpPr>
          <p:spPr>
            <a:xfrm>
              <a:off x="5449481" y="6274013"/>
              <a:ext cx="645353" cy="516283"/>
            </a:xfrm>
            <a:custGeom>
              <a:avLst/>
              <a:gdLst>
                <a:gd name="connsiteX0" fmla="*/ 290409 w 645353"/>
                <a:gd name="connsiteY0" fmla="*/ 522736 h 516282"/>
                <a:gd name="connsiteX1" fmla="*/ 96803 w 645353"/>
                <a:gd name="connsiteY1" fmla="*/ 161338 h 516282"/>
                <a:gd name="connsiteX2" fmla="*/ 96803 w 645353"/>
                <a:gd name="connsiteY2" fmla="*/ 161338 h 516282"/>
                <a:gd name="connsiteX3" fmla="*/ 548550 w 645353"/>
                <a:gd name="connsiteY3" fmla="*/ 96803 h 516282"/>
                <a:gd name="connsiteX4" fmla="*/ 290409 w 645353"/>
                <a:gd name="connsiteY4" fmla="*/ 522736 h 516282"/>
                <a:gd name="connsiteX5" fmla="*/ 109710 w 645353"/>
                <a:gd name="connsiteY5" fmla="*/ 174246 h 516282"/>
                <a:gd name="connsiteX6" fmla="*/ 290409 w 645353"/>
                <a:gd name="connsiteY6" fmla="*/ 509829 h 516282"/>
                <a:gd name="connsiteX7" fmla="*/ 535643 w 645353"/>
                <a:gd name="connsiteY7" fmla="*/ 122617 h 516282"/>
                <a:gd name="connsiteX8" fmla="*/ 109710 w 645353"/>
                <a:gd name="connsiteY8" fmla="*/ 174246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516282">
                  <a:moveTo>
                    <a:pt x="290409" y="522736"/>
                  </a:moveTo>
                  <a:lnTo>
                    <a:pt x="96803" y="161338"/>
                  </a:lnTo>
                  <a:lnTo>
                    <a:pt x="96803" y="161338"/>
                  </a:lnTo>
                  <a:lnTo>
                    <a:pt x="548550" y="96803"/>
                  </a:lnTo>
                  <a:lnTo>
                    <a:pt x="290409" y="522736"/>
                  </a:lnTo>
                  <a:close/>
                  <a:moveTo>
                    <a:pt x="109710" y="174246"/>
                  </a:moveTo>
                  <a:lnTo>
                    <a:pt x="290409" y="509829"/>
                  </a:lnTo>
                  <a:lnTo>
                    <a:pt x="535643" y="122617"/>
                  </a:lnTo>
                  <a:lnTo>
                    <a:pt x="109710" y="1742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2" name="Freeform: Shape 2901">
              <a:extLst>
                <a:ext uri="{FF2B5EF4-FFF2-40B4-BE49-F238E27FC236}">
                  <a16:creationId xmlns:a16="http://schemas.microsoft.com/office/drawing/2014/main" id="{A32ABA34-090A-4A4A-B90A-8A3186E61107}"/>
                </a:ext>
              </a:extLst>
            </p:cNvPr>
            <p:cNvSpPr/>
            <p:nvPr/>
          </p:nvSpPr>
          <p:spPr>
            <a:xfrm>
              <a:off x="5449481" y="6015871"/>
              <a:ext cx="645353" cy="516283"/>
            </a:xfrm>
            <a:custGeom>
              <a:avLst/>
              <a:gdLst>
                <a:gd name="connsiteX0" fmla="*/ 96803 w 645353"/>
                <a:gd name="connsiteY0" fmla="*/ 432387 h 516282"/>
                <a:gd name="connsiteX1" fmla="*/ 471108 w 645353"/>
                <a:gd name="connsiteY1" fmla="*/ 96803 h 516282"/>
                <a:gd name="connsiteX2" fmla="*/ 548550 w 645353"/>
                <a:gd name="connsiteY2" fmla="*/ 367852 h 516282"/>
                <a:gd name="connsiteX3" fmla="*/ 96803 w 645353"/>
                <a:gd name="connsiteY3" fmla="*/ 432387 h 516282"/>
                <a:gd name="connsiteX4" fmla="*/ 471108 w 645353"/>
                <a:gd name="connsiteY4" fmla="*/ 109710 h 516282"/>
                <a:gd name="connsiteX5" fmla="*/ 109710 w 645353"/>
                <a:gd name="connsiteY5" fmla="*/ 419480 h 516282"/>
                <a:gd name="connsiteX6" fmla="*/ 535643 w 645353"/>
                <a:gd name="connsiteY6" fmla="*/ 367852 h 516282"/>
                <a:gd name="connsiteX7" fmla="*/ 471108 w 645353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96803" y="432387"/>
                  </a:moveTo>
                  <a:lnTo>
                    <a:pt x="471108" y="96803"/>
                  </a:lnTo>
                  <a:lnTo>
                    <a:pt x="548550" y="367852"/>
                  </a:lnTo>
                  <a:lnTo>
                    <a:pt x="96803" y="432387"/>
                  </a:lnTo>
                  <a:close/>
                  <a:moveTo>
                    <a:pt x="471108" y="109710"/>
                  </a:moveTo>
                  <a:lnTo>
                    <a:pt x="109710" y="419480"/>
                  </a:lnTo>
                  <a:lnTo>
                    <a:pt x="535643" y="367852"/>
                  </a:lnTo>
                  <a:lnTo>
                    <a:pt x="47110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3" name="Freeform: Shape 2902">
              <a:extLst>
                <a:ext uri="{FF2B5EF4-FFF2-40B4-BE49-F238E27FC236}">
                  <a16:creationId xmlns:a16="http://schemas.microsoft.com/office/drawing/2014/main" id="{BDEB00C4-0595-4050-A866-0E7C547BB321}"/>
                </a:ext>
              </a:extLst>
            </p:cNvPr>
            <p:cNvSpPr/>
            <p:nvPr/>
          </p:nvSpPr>
          <p:spPr>
            <a:xfrm>
              <a:off x="8418106" y="5641567"/>
              <a:ext cx="387212" cy="258141"/>
            </a:xfrm>
            <a:custGeom>
              <a:avLst/>
              <a:gdLst>
                <a:gd name="connsiteX0" fmla="*/ 148431 w 387211"/>
                <a:gd name="connsiteY0" fmla="*/ 238780 h 258141"/>
                <a:gd name="connsiteX1" fmla="*/ 96803 w 387211"/>
                <a:gd name="connsiteY1" fmla="*/ 96803 h 258141"/>
                <a:gd name="connsiteX2" fmla="*/ 290409 w 387211"/>
                <a:gd name="connsiteY2" fmla="*/ 212966 h 258141"/>
                <a:gd name="connsiteX3" fmla="*/ 148431 w 387211"/>
                <a:gd name="connsiteY3" fmla="*/ 238780 h 258141"/>
                <a:gd name="connsiteX4" fmla="*/ 109710 w 387211"/>
                <a:gd name="connsiteY4" fmla="*/ 109710 h 258141"/>
                <a:gd name="connsiteX5" fmla="*/ 148431 w 387211"/>
                <a:gd name="connsiteY5" fmla="*/ 225874 h 258141"/>
                <a:gd name="connsiteX6" fmla="*/ 277502 w 387211"/>
                <a:gd name="connsiteY6" fmla="*/ 200059 h 258141"/>
                <a:gd name="connsiteX7" fmla="*/ 109710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148431" y="238780"/>
                  </a:moveTo>
                  <a:lnTo>
                    <a:pt x="96803" y="96803"/>
                  </a:lnTo>
                  <a:lnTo>
                    <a:pt x="290409" y="212966"/>
                  </a:lnTo>
                  <a:lnTo>
                    <a:pt x="148431" y="238780"/>
                  </a:lnTo>
                  <a:close/>
                  <a:moveTo>
                    <a:pt x="109710" y="109710"/>
                  </a:moveTo>
                  <a:lnTo>
                    <a:pt x="148431" y="225874"/>
                  </a:lnTo>
                  <a:lnTo>
                    <a:pt x="277502" y="200059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4" name="Freeform: Shape 2903">
              <a:extLst>
                <a:ext uri="{FF2B5EF4-FFF2-40B4-BE49-F238E27FC236}">
                  <a16:creationId xmlns:a16="http://schemas.microsoft.com/office/drawing/2014/main" id="{174F3E0F-1554-4C95-B538-7AC0185E9E8D}"/>
                </a:ext>
              </a:extLst>
            </p:cNvPr>
            <p:cNvSpPr/>
            <p:nvPr/>
          </p:nvSpPr>
          <p:spPr>
            <a:xfrm>
              <a:off x="8986017" y="7732511"/>
              <a:ext cx="516283" cy="387212"/>
            </a:xfrm>
            <a:custGeom>
              <a:avLst/>
              <a:gdLst>
                <a:gd name="connsiteX0" fmla="*/ 458200 w 516282"/>
                <a:gd name="connsiteY0" fmla="*/ 393666 h 387211"/>
                <a:gd name="connsiteX1" fmla="*/ 174245 w 516282"/>
                <a:gd name="connsiteY1" fmla="*/ 329131 h 387211"/>
                <a:gd name="connsiteX2" fmla="*/ 174245 w 516282"/>
                <a:gd name="connsiteY2" fmla="*/ 329131 h 387211"/>
                <a:gd name="connsiteX3" fmla="*/ 96803 w 516282"/>
                <a:gd name="connsiteY3" fmla="*/ 96803 h 387211"/>
                <a:gd name="connsiteX4" fmla="*/ 458200 w 516282"/>
                <a:gd name="connsiteY4" fmla="*/ 393666 h 387211"/>
                <a:gd name="connsiteX5" fmla="*/ 174245 w 516282"/>
                <a:gd name="connsiteY5" fmla="*/ 316223 h 387211"/>
                <a:gd name="connsiteX6" fmla="*/ 419480 w 516282"/>
                <a:gd name="connsiteY6" fmla="*/ 380759 h 387211"/>
                <a:gd name="connsiteX7" fmla="*/ 109710 w 516282"/>
                <a:gd name="connsiteY7" fmla="*/ 109710 h 387211"/>
                <a:gd name="connsiteX8" fmla="*/ 174245 w 516282"/>
                <a:gd name="connsiteY8" fmla="*/ 31622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458200" y="393666"/>
                  </a:moveTo>
                  <a:lnTo>
                    <a:pt x="174245" y="329131"/>
                  </a:lnTo>
                  <a:lnTo>
                    <a:pt x="174245" y="329131"/>
                  </a:lnTo>
                  <a:lnTo>
                    <a:pt x="96803" y="96803"/>
                  </a:lnTo>
                  <a:lnTo>
                    <a:pt x="458200" y="393666"/>
                  </a:lnTo>
                  <a:close/>
                  <a:moveTo>
                    <a:pt x="174245" y="316223"/>
                  </a:moveTo>
                  <a:lnTo>
                    <a:pt x="419480" y="380759"/>
                  </a:lnTo>
                  <a:lnTo>
                    <a:pt x="109710" y="109710"/>
                  </a:lnTo>
                  <a:lnTo>
                    <a:pt x="174245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5" name="Freeform: Shape 2904">
              <a:extLst>
                <a:ext uri="{FF2B5EF4-FFF2-40B4-BE49-F238E27FC236}">
                  <a16:creationId xmlns:a16="http://schemas.microsoft.com/office/drawing/2014/main" id="{69AFFB07-4967-4216-B5B3-8E9CC3CF1842}"/>
                </a:ext>
              </a:extLst>
            </p:cNvPr>
            <p:cNvSpPr/>
            <p:nvPr/>
          </p:nvSpPr>
          <p:spPr>
            <a:xfrm>
              <a:off x="9063459" y="7951931"/>
              <a:ext cx="387212" cy="258141"/>
            </a:xfrm>
            <a:custGeom>
              <a:avLst/>
              <a:gdLst>
                <a:gd name="connsiteX0" fmla="*/ 161338 w 387211"/>
                <a:gd name="connsiteY0" fmla="*/ 212967 h 258141"/>
                <a:gd name="connsiteX1" fmla="*/ 96803 w 387211"/>
                <a:gd name="connsiteY1" fmla="*/ 96803 h 258141"/>
                <a:gd name="connsiteX2" fmla="*/ 380758 w 387211"/>
                <a:gd name="connsiteY2" fmla="*/ 174246 h 258141"/>
                <a:gd name="connsiteX3" fmla="*/ 161338 w 387211"/>
                <a:gd name="connsiteY3" fmla="*/ 212967 h 258141"/>
                <a:gd name="connsiteX4" fmla="*/ 109710 w 387211"/>
                <a:gd name="connsiteY4" fmla="*/ 109710 h 258141"/>
                <a:gd name="connsiteX5" fmla="*/ 174245 w 387211"/>
                <a:gd name="connsiteY5" fmla="*/ 212967 h 258141"/>
                <a:gd name="connsiteX6" fmla="*/ 354944 w 387211"/>
                <a:gd name="connsiteY6" fmla="*/ 174246 h 258141"/>
                <a:gd name="connsiteX7" fmla="*/ 109710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161338" y="212967"/>
                  </a:moveTo>
                  <a:lnTo>
                    <a:pt x="96803" y="96803"/>
                  </a:lnTo>
                  <a:lnTo>
                    <a:pt x="380758" y="174246"/>
                  </a:lnTo>
                  <a:lnTo>
                    <a:pt x="161338" y="212967"/>
                  </a:lnTo>
                  <a:close/>
                  <a:moveTo>
                    <a:pt x="109710" y="109710"/>
                  </a:moveTo>
                  <a:lnTo>
                    <a:pt x="174245" y="212967"/>
                  </a:lnTo>
                  <a:lnTo>
                    <a:pt x="354944" y="174246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6" name="Freeform: Shape 2905">
              <a:extLst>
                <a:ext uri="{FF2B5EF4-FFF2-40B4-BE49-F238E27FC236}">
                  <a16:creationId xmlns:a16="http://schemas.microsoft.com/office/drawing/2014/main" id="{F5EA331F-D1B7-4200-9FAC-3A5111094011}"/>
                </a:ext>
              </a:extLst>
            </p:cNvPr>
            <p:cNvSpPr/>
            <p:nvPr/>
          </p:nvSpPr>
          <p:spPr>
            <a:xfrm>
              <a:off x="8986017" y="7732511"/>
              <a:ext cx="774424" cy="387212"/>
            </a:xfrm>
            <a:custGeom>
              <a:avLst/>
              <a:gdLst>
                <a:gd name="connsiteX0" fmla="*/ 445293 w 774423"/>
                <a:gd name="connsiteY0" fmla="*/ 393666 h 387211"/>
                <a:gd name="connsiteX1" fmla="*/ 445293 w 774423"/>
                <a:gd name="connsiteY1" fmla="*/ 393666 h 387211"/>
                <a:gd name="connsiteX2" fmla="*/ 96803 w 774423"/>
                <a:gd name="connsiteY2" fmla="*/ 96803 h 387211"/>
                <a:gd name="connsiteX3" fmla="*/ 690528 w 774423"/>
                <a:gd name="connsiteY3" fmla="*/ 277502 h 387211"/>
                <a:gd name="connsiteX4" fmla="*/ 445293 w 774423"/>
                <a:gd name="connsiteY4" fmla="*/ 393666 h 387211"/>
                <a:gd name="connsiteX5" fmla="*/ 122617 w 774423"/>
                <a:gd name="connsiteY5" fmla="*/ 109710 h 387211"/>
                <a:gd name="connsiteX6" fmla="*/ 445293 w 774423"/>
                <a:gd name="connsiteY6" fmla="*/ 380759 h 387211"/>
                <a:gd name="connsiteX7" fmla="*/ 677621 w 774423"/>
                <a:gd name="connsiteY7" fmla="*/ 277502 h 387211"/>
                <a:gd name="connsiteX8" fmla="*/ 122617 w 774423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387211">
                  <a:moveTo>
                    <a:pt x="445293" y="393666"/>
                  </a:moveTo>
                  <a:lnTo>
                    <a:pt x="445293" y="393666"/>
                  </a:lnTo>
                  <a:lnTo>
                    <a:pt x="96803" y="96803"/>
                  </a:lnTo>
                  <a:lnTo>
                    <a:pt x="690528" y="277502"/>
                  </a:lnTo>
                  <a:lnTo>
                    <a:pt x="445293" y="393666"/>
                  </a:lnTo>
                  <a:close/>
                  <a:moveTo>
                    <a:pt x="122617" y="109710"/>
                  </a:moveTo>
                  <a:lnTo>
                    <a:pt x="445293" y="380759"/>
                  </a:lnTo>
                  <a:lnTo>
                    <a:pt x="677621" y="277502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7" name="Freeform: Shape 2906">
              <a:extLst>
                <a:ext uri="{FF2B5EF4-FFF2-40B4-BE49-F238E27FC236}">
                  <a16:creationId xmlns:a16="http://schemas.microsoft.com/office/drawing/2014/main" id="{668D78D4-71B6-4848-8BDA-9F1CDAB1700F}"/>
                </a:ext>
              </a:extLst>
            </p:cNvPr>
            <p:cNvSpPr/>
            <p:nvPr/>
          </p:nvSpPr>
          <p:spPr>
            <a:xfrm>
              <a:off x="8986017" y="7590533"/>
              <a:ext cx="903495" cy="516283"/>
            </a:xfrm>
            <a:custGeom>
              <a:avLst/>
              <a:gdLst>
                <a:gd name="connsiteX0" fmla="*/ 677621 w 903494"/>
                <a:gd name="connsiteY0" fmla="*/ 432386 h 516282"/>
                <a:gd name="connsiteX1" fmla="*/ 677621 w 903494"/>
                <a:gd name="connsiteY1" fmla="*/ 432386 h 516282"/>
                <a:gd name="connsiteX2" fmla="*/ 96803 w 903494"/>
                <a:gd name="connsiteY2" fmla="*/ 251688 h 516282"/>
                <a:gd name="connsiteX3" fmla="*/ 871227 w 903494"/>
                <a:gd name="connsiteY3" fmla="*/ 96803 h 516282"/>
                <a:gd name="connsiteX4" fmla="*/ 677621 w 903494"/>
                <a:gd name="connsiteY4" fmla="*/ 432386 h 516282"/>
                <a:gd name="connsiteX5" fmla="*/ 122617 w 903494"/>
                <a:gd name="connsiteY5" fmla="*/ 251688 h 516282"/>
                <a:gd name="connsiteX6" fmla="*/ 677621 w 903494"/>
                <a:gd name="connsiteY6" fmla="*/ 432386 h 516282"/>
                <a:gd name="connsiteX7" fmla="*/ 858320 w 903494"/>
                <a:gd name="connsiteY7" fmla="*/ 109710 h 516282"/>
                <a:gd name="connsiteX8" fmla="*/ 122617 w 903494"/>
                <a:gd name="connsiteY8" fmla="*/ 25168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516282">
                  <a:moveTo>
                    <a:pt x="677621" y="432386"/>
                  </a:moveTo>
                  <a:lnTo>
                    <a:pt x="677621" y="432386"/>
                  </a:lnTo>
                  <a:lnTo>
                    <a:pt x="96803" y="251688"/>
                  </a:lnTo>
                  <a:lnTo>
                    <a:pt x="871227" y="96803"/>
                  </a:lnTo>
                  <a:lnTo>
                    <a:pt x="677621" y="432386"/>
                  </a:lnTo>
                  <a:close/>
                  <a:moveTo>
                    <a:pt x="122617" y="251688"/>
                  </a:moveTo>
                  <a:lnTo>
                    <a:pt x="677621" y="432386"/>
                  </a:lnTo>
                  <a:lnTo>
                    <a:pt x="858320" y="109710"/>
                  </a:lnTo>
                  <a:lnTo>
                    <a:pt x="122617" y="2516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8" name="Freeform: Shape 2907">
              <a:extLst>
                <a:ext uri="{FF2B5EF4-FFF2-40B4-BE49-F238E27FC236}">
                  <a16:creationId xmlns:a16="http://schemas.microsoft.com/office/drawing/2014/main" id="{55F6C3BC-3C19-4DC3-B78C-3DFC95F575AE}"/>
                </a:ext>
              </a:extLst>
            </p:cNvPr>
            <p:cNvSpPr/>
            <p:nvPr/>
          </p:nvSpPr>
          <p:spPr>
            <a:xfrm>
              <a:off x="8869853" y="7345299"/>
              <a:ext cx="1032565" cy="387212"/>
            </a:xfrm>
            <a:custGeom>
              <a:avLst/>
              <a:gdLst>
                <a:gd name="connsiteX0" fmla="*/ 148431 w 1032565"/>
                <a:gd name="connsiteY0" fmla="*/ 393666 h 387211"/>
                <a:gd name="connsiteX1" fmla="*/ 148431 w 1032565"/>
                <a:gd name="connsiteY1" fmla="*/ 393666 h 387211"/>
                <a:gd name="connsiteX2" fmla="*/ 96803 w 1032565"/>
                <a:gd name="connsiteY2" fmla="*/ 96803 h 387211"/>
                <a:gd name="connsiteX3" fmla="*/ 1000298 w 1032565"/>
                <a:gd name="connsiteY3" fmla="*/ 148431 h 387211"/>
                <a:gd name="connsiteX4" fmla="*/ 148431 w 1032565"/>
                <a:gd name="connsiteY4" fmla="*/ 393666 h 387211"/>
                <a:gd name="connsiteX5" fmla="*/ 109710 w 1032565"/>
                <a:gd name="connsiteY5" fmla="*/ 109710 h 387211"/>
                <a:gd name="connsiteX6" fmla="*/ 161338 w 1032565"/>
                <a:gd name="connsiteY6" fmla="*/ 393666 h 387211"/>
                <a:gd name="connsiteX7" fmla="*/ 974484 w 1032565"/>
                <a:gd name="connsiteY7" fmla="*/ 161338 h 387211"/>
                <a:gd name="connsiteX8" fmla="*/ 109710 w 1032565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387211">
                  <a:moveTo>
                    <a:pt x="148431" y="393666"/>
                  </a:moveTo>
                  <a:lnTo>
                    <a:pt x="148431" y="393666"/>
                  </a:lnTo>
                  <a:lnTo>
                    <a:pt x="96803" y="96803"/>
                  </a:lnTo>
                  <a:lnTo>
                    <a:pt x="1000298" y="148431"/>
                  </a:lnTo>
                  <a:lnTo>
                    <a:pt x="148431" y="393666"/>
                  </a:lnTo>
                  <a:close/>
                  <a:moveTo>
                    <a:pt x="109710" y="109710"/>
                  </a:moveTo>
                  <a:lnTo>
                    <a:pt x="161338" y="393666"/>
                  </a:lnTo>
                  <a:lnTo>
                    <a:pt x="974484" y="161338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09" name="Freeform: Shape 2908">
              <a:extLst>
                <a:ext uri="{FF2B5EF4-FFF2-40B4-BE49-F238E27FC236}">
                  <a16:creationId xmlns:a16="http://schemas.microsoft.com/office/drawing/2014/main" id="{C7007C82-F857-4E4B-89AA-F03D82A1BF42}"/>
                </a:ext>
              </a:extLst>
            </p:cNvPr>
            <p:cNvSpPr/>
            <p:nvPr/>
          </p:nvSpPr>
          <p:spPr>
            <a:xfrm>
              <a:off x="8921482" y="7409834"/>
              <a:ext cx="1032565" cy="516283"/>
            </a:xfrm>
            <a:custGeom>
              <a:avLst/>
              <a:gdLst>
                <a:gd name="connsiteX0" fmla="*/ 174245 w 1032565"/>
                <a:gd name="connsiteY0" fmla="*/ 432387 h 516282"/>
                <a:gd name="connsiteX1" fmla="*/ 96803 w 1032565"/>
                <a:gd name="connsiteY1" fmla="*/ 329131 h 516282"/>
                <a:gd name="connsiteX2" fmla="*/ 96803 w 1032565"/>
                <a:gd name="connsiteY2" fmla="*/ 329131 h 516282"/>
                <a:gd name="connsiteX3" fmla="*/ 935762 w 1032565"/>
                <a:gd name="connsiteY3" fmla="*/ 96803 h 516282"/>
                <a:gd name="connsiteX4" fmla="*/ 935762 w 1032565"/>
                <a:gd name="connsiteY4" fmla="*/ 96803 h 516282"/>
                <a:gd name="connsiteX5" fmla="*/ 174245 w 1032565"/>
                <a:gd name="connsiteY5" fmla="*/ 432387 h 516282"/>
                <a:gd name="connsiteX6" fmla="*/ 109710 w 1032565"/>
                <a:gd name="connsiteY6" fmla="*/ 329131 h 516282"/>
                <a:gd name="connsiteX7" fmla="*/ 174245 w 1032565"/>
                <a:gd name="connsiteY7" fmla="*/ 419480 h 516282"/>
                <a:gd name="connsiteX8" fmla="*/ 897041 w 1032565"/>
                <a:gd name="connsiteY8" fmla="*/ 96803 h 516282"/>
                <a:gd name="connsiteX9" fmla="*/ 109710 w 1032565"/>
                <a:gd name="connsiteY9" fmla="*/ 32913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2565" h="516282">
                  <a:moveTo>
                    <a:pt x="174245" y="432387"/>
                  </a:moveTo>
                  <a:lnTo>
                    <a:pt x="96803" y="329131"/>
                  </a:lnTo>
                  <a:lnTo>
                    <a:pt x="96803" y="329131"/>
                  </a:lnTo>
                  <a:lnTo>
                    <a:pt x="935762" y="96803"/>
                  </a:lnTo>
                  <a:lnTo>
                    <a:pt x="935762" y="96803"/>
                  </a:lnTo>
                  <a:lnTo>
                    <a:pt x="174245" y="432387"/>
                  </a:lnTo>
                  <a:close/>
                  <a:moveTo>
                    <a:pt x="109710" y="329131"/>
                  </a:moveTo>
                  <a:lnTo>
                    <a:pt x="174245" y="419480"/>
                  </a:lnTo>
                  <a:lnTo>
                    <a:pt x="897041" y="96803"/>
                  </a:lnTo>
                  <a:lnTo>
                    <a:pt x="109710" y="3291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0" name="Freeform: Shape 2909">
              <a:extLst>
                <a:ext uri="{FF2B5EF4-FFF2-40B4-BE49-F238E27FC236}">
                  <a16:creationId xmlns:a16="http://schemas.microsoft.com/office/drawing/2014/main" id="{8F8C8C6F-C91C-44C1-B9A6-33B94358C6D5}"/>
                </a:ext>
              </a:extLst>
            </p:cNvPr>
            <p:cNvSpPr/>
            <p:nvPr/>
          </p:nvSpPr>
          <p:spPr>
            <a:xfrm>
              <a:off x="8973110" y="7396927"/>
              <a:ext cx="903495" cy="516283"/>
            </a:xfrm>
            <a:custGeom>
              <a:avLst/>
              <a:gdLst>
                <a:gd name="connsiteX0" fmla="*/ 96803 w 903494"/>
                <a:gd name="connsiteY0" fmla="*/ 445294 h 516282"/>
                <a:gd name="connsiteX1" fmla="*/ 884134 w 903494"/>
                <a:gd name="connsiteY1" fmla="*/ 96803 h 516282"/>
                <a:gd name="connsiteX2" fmla="*/ 871227 w 903494"/>
                <a:gd name="connsiteY2" fmla="*/ 290409 h 516282"/>
                <a:gd name="connsiteX3" fmla="*/ 96803 w 903494"/>
                <a:gd name="connsiteY3" fmla="*/ 445294 h 516282"/>
                <a:gd name="connsiteX4" fmla="*/ 884134 w 903494"/>
                <a:gd name="connsiteY4" fmla="*/ 109710 h 516282"/>
                <a:gd name="connsiteX5" fmla="*/ 148430 w 903494"/>
                <a:gd name="connsiteY5" fmla="*/ 432386 h 516282"/>
                <a:gd name="connsiteX6" fmla="*/ 871227 w 903494"/>
                <a:gd name="connsiteY6" fmla="*/ 290409 h 516282"/>
                <a:gd name="connsiteX7" fmla="*/ 884134 w 903494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3494" h="516282">
                  <a:moveTo>
                    <a:pt x="96803" y="445294"/>
                  </a:moveTo>
                  <a:lnTo>
                    <a:pt x="884134" y="96803"/>
                  </a:lnTo>
                  <a:lnTo>
                    <a:pt x="871227" y="290409"/>
                  </a:lnTo>
                  <a:lnTo>
                    <a:pt x="96803" y="445294"/>
                  </a:lnTo>
                  <a:close/>
                  <a:moveTo>
                    <a:pt x="884134" y="109710"/>
                  </a:moveTo>
                  <a:lnTo>
                    <a:pt x="148430" y="432386"/>
                  </a:lnTo>
                  <a:lnTo>
                    <a:pt x="871227" y="290409"/>
                  </a:lnTo>
                  <a:lnTo>
                    <a:pt x="88413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1" name="Freeform: Shape 2910">
              <a:extLst>
                <a:ext uri="{FF2B5EF4-FFF2-40B4-BE49-F238E27FC236}">
                  <a16:creationId xmlns:a16="http://schemas.microsoft.com/office/drawing/2014/main" id="{B51715D3-7154-40B6-AC6A-EB5F60E7D6A2}"/>
                </a:ext>
              </a:extLst>
            </p:cNvPr>
            <p:cNvSpPr/>
            <p:nvPr/>
          </p:nvSpPr>
          <p:spPr>
            <a:xfrm>
              <a:off x="9747534" y="7396927"/>
              <a:ext cx="258141" cy="387212"/>
            </a:xfrm>
            <a:custGeom>
              <a:avLst/>
              <a:gdLst>
                <a:gd name="connsiteX0" fmla="*/ 96803 w 258141"/>
                <a:gd name="connsiteY0" fmla="*/ 303316 h 387211"/>
                <a:gd name="connsiteX1" fmla="*/ 109710 w 258141"/>
                <a:gd name="connsiteY1" fmla="*/ 96803 h 387211"/>
                <a:gd name="connsiteX2" fmla="*/ 225874 w 258141"/>
                <a:gd name="connsiteY2" fmla="*/ 109710 h 387211"/>
                <a:gd name="connsiteX3" fmla="*/ 96803 w 258141"/>
                <a:gd name="connsiteY3" fmla="*/ 303316 h 387211"/>
                <a:gd name="connsiteX4" fmla="*/ 109710 w 258141"/>
                <a:gd name="connsiteY4" fmla="*/ 96803 h 387211"/>
                <a:gd name="connsiteX5" fmla="*/ 96803 w 258141"/>
                <a:gd name="connsiteY5" fmla="*/ 277502 h 387211"/>
                <a:gd name="connsiteX6" fmla="*/ 212966 w 258141"/>
                <a:gd name="connsiteY6" fmla="*/ 109710 h 387211"/>
                <a:gd name="connsiteX7" fmla="*/ 109710 w 25814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03316"/>
                  </a:moveTo>
                  <a:lnTo>
                    <a:pt x="109710" y="96803"/>
                  </a:lnTo>
                  <a:lnTo>
                    <a:pt x="225874" y="109710"/>
                  </a:lnTo>
                  <a:lnTo>
                    <a:pt x="96803" y="303316"/>
                  </a:lnTo>
                  <a:close/>
                  <a:moveTo>
                    <a:pt x="109710" y="96803"/>
                  </a:moveTo>
                  <a:lnTo>
                    <a:pt x="96803" y="277502"/>
                  </a:lnTo>
                  <a:lnTo>
                    <a:pt x="212966" y="109710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2" name="Freeform: Shape 2911">
              <a:extLst>
                <a:ext uri="{FF2B5EF4-FFF2-40B4-BE49-F238E27FC236}">
                  <a16:creationId xmlns:a16="http://schemas.microsoft.com/office/drawing/2014/main" id="{EED938CA-9C4E-492B-A386-D361CF6D6CA5}"/>
                </a:ext>
              </a:extLst>
            </p:cNvPr>
            <p:cNvSpPr/>
            <p:nvPr/>
          </p:nvSpPr>
          <p:spPr>
            <a:xfrm>
              <a:off x="9760441" y="7151693"/>
              <a:ext cx="258141" cy="387212"/>
            </a:xfrm>
            <a:custGeom>
              <a:avLst/>
              <a:gdLst>
                <a:gd name="connsiteX0" fmla="*/ 212967 w 258141"/>
                <a:gd name="connsiteY0" fmla="*/ 354944 h 387211"/>
                <a:gd name="connsiteX1" fmla="*/ 96803 w 258141"/>
                <a:gd name="connsiteY1" fmla="*/ 342037 h 387211"/>
                <a:gd name="connsiteX2" fmla="*/ 187152 w 258141"/>
                <a:gd name="connsiteY2" fmla="*/ 96803 h 387211"/>
                <a:gd name="connsiteX3" fmla="*/ 212967 w 258141"/>
                <a:gd name="connsiteY3" fmla="*/ 354944 h 387211"/>
                <a:gd name="connsiteX4" fmla="*/ 96803 w 258141"/>
                <a:gd name="connsiteY4" fmla="*/ 342037 h 387211"/>
                <a:gd name="connsiteX5" fmla="*/ 200059 w 258141"/>
                <a:gd name="connsiteY5" fmla="*/ 354944 h 387211"/>
                <a:gd name="connsiteX6" fmla="*/ 174245 w 258141"/>
                <a:gd name="connsiteY6" fmla="*/ 135525 h 387211"/>
                <a:gd name="connsiteX7" fmla="*/ 96803 w 258141"/>
                <a:gd name="connsiteY7" fmla="*/ 34203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12967" y="354944"/>
                  </a:moveTo>
                  <a:lnTo>
                    <a:pt x="96803" y="342037"/>
                  </a:lnTo>
                  <a:lnTo>
                    <a:pt x="187152" y="96803"/>
                  </a:lnTo>
                  <a:lnTo>
                    <a:pt x="212967" y="354944"/>
                  </a:lnTo>
                  <a:close/>
                  <a:moveTo>
                    <a:pt x="96803" y="342037"/>
                  </a:moveTo>
                  <a:lnTo>
                    <a:pt x="200059" y="354944"/>
                  </a:lnTo>
                  <a:lnTo>
                    <a:pt x="174245" y="135525"/>
                  </a:lnTo>
                  <a:lnTo>
                    <a:pt x="96803" y="3420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3" name="Freeform: Shape 2912">
              <a:extLst>
                <a:ext uri="{FF2B5EF4-FFF2-40B4-BE49-F238E27FC236}">
                  <a16:creationId xmlns:a16="http://schemas.microsoft.com/office/drawing/2014/main" id="{BF38ECA1-1911-4CD5-AA63-78B62C9410EE}"/>
                </a:ext>
              </a:extLst>
            </p:cNvPr>
            <p:cNvSpPr/>
            <p:nvPr/>
          </p:nvSpPr>
          <p:spPr>
            <a:xfrm>
              <a:off x="10057303" y="6622504"/>
              <a:ext cx="258141" cy="516283"/>
            </a:xfrm>
            <a:custGeom>
              <a:avLst/>
              <a:gdLst>
                <a:gd name="connsiteX0" fmla="*/ 96803 w 258141"/>
                <a:gd name="connsiteY0" fmla="*/ 496922 h 516282"/>
                <a:gd name="connsiteX1" fmla="*/ 161338 w 258141"/>
                <a:gd name="connsiteY1" fmla="*/ 96803 h 516282"/>
                <a:gd name="connsiteX2" fmla="*/ 187153 w 258141"/>
                <a:gd name="connsiteY2" fmla="*/ 367851 h 516282"/>
                <a:gd name="connsiteX3" fmla="*/ 187153 w 258141"/>
                <a:gd name="connsiteY3" fmla="*/ 367851 h 516282"/>
                <a:gd name="connsiteX4" fmla="*/ 96803 w 258141"/>
                <a:gd name="connsiteY4" fmla="*/ 496922 h 516282"/>
                <a:gd name="connsiteX5" fmla="*/ 161338 w 258141"/>
                <a:gd name="connsiteY5" fmla="*/ 135524 h 516282"/>
                <a:gd name="connsiteX6" fmla="*/ 109711 w 258141"/>
                <a:gd name="connsiteY6" fmla="*/ 458201 h 516282"/>
                <a:gd name="connsiteX7" fmla="*/ 174246 w 258141"/>
                <a:gd name="connsiteY7" fmla="*/ 354944 h 516282"/>
                <a:gd name="connsiteX8" fmla="*/ 161338 w 258141"/>
                <a:gd name="connsiteY8" fmla="*/ 13552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516282">
                  <a:moveTo>
                    <a:pt x="96803" y="496922"/>
                  </a:moveTo>
                  <a:lnTo>
                    <a:pt x="161338" y="96803"/>
                  </a:lnTo>
                  <a:lnTo>
                    <a:pt x="187153" y="367851"/>
                  </a:lnTo>
                  <a:lnTo>
                    <a:pt x="187153" y="367851"/>
                  </a:lnTo>
                  <a:lnTo>
                    <a:pt x="96803" y="496922"/>
                  </a:lnTo>
                  <a:close/>
                  <a:moveTo>
                    <a:pt x="161338" y="135524"/>
                  </a:moveTo>
                  <a:lnTo>
                    <a:pt x="109711" y="458201"/>
                  </a:lnTo>
                  <a:lnTo>
                    <a:pt x="174246" y="354944"/>
                  </a:lnTo>
                  <a:lnTo>
                    <a:pt x="161338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4" name="Freeform: Shape 2913">
              <a:extLst>
                <a:ext uri="{FF2B5EF4-FFF2-40B4-BE49-F238E27FC236}">
                  <a16:creationId xmlns:a16="http://schemas.microsoft.com/office/drawing/2014/main" id="{1330F649-23BC-4671-9EDA-1EB2CAD1C591}"/>
                </a:ext>
              </a:extLst>
            </p:cNvPr>
            <p:cNvSpPr/>
            <p:nvPr/>
          </p:nvSpPr>
          <p:spPr>
            <a:xfrm>
              <a:off x="9837883" y="4621909"/>
              <a:ext cx="258141" cy="774424"/>
            </a:xfrm>
            <a:custGeom>
              <a:avLst/>
              <a:gdLst>
                <a:gd name="connsiteX0" fmla="*/ 264595 w 258141"/>
                <a:gd name="connsiteY0" fmla="*/ 755063 h 774423"/>
                <a:gd name="connsiteX1" fmla="*/ 96803 w 258141"/>
                <a:gd name="connsiteY1" fmla="*/ 432387 h 774423"/>
                <a:gd name="connsiteX2" fmla="*/ 96803 w 258141"/>
                <a:gd name="connsiteY2" fmla="*/ 432387 h 774423"/>
                <a:gd name="connsiteX3" fmla="*/ 109710 w 258141"/>
                <a:gd name="connsiteY3" fmla="*/ 96803 h 774423"/>
                <a:gd name="connsiteX4" fmla="*/ 264595 w 258141"/>
                <a:gd name="connsiteY4" fmla="*/ 755063 h 774423"/>
                <a:gd name="connsiteX5" fmla="*/ 109710 w 258141"/>
                <a:gd name="connsiteY5" fmla="*/ 432387 h 774423"/>
                <a:gd name="connsiteX6" fmla="*/ 238781 w 258141"/>
                <a:gd name="connsiteY6" fmla="*/ 703435 h 774423"/>
                <a:gd name="connsiteX7" fmla="*/ 109710 w 258141"/>
                <a:gd name="connsiteY7" fmla="*/ 135524 h 774423"/>
                <a:gd name="connsiteX8" fmla="*/ 109710 w 258141"/>
                <a:gd name="connsiteY8" fmla="*/ 43238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774423">
                  <a:moveTo>
                    <a:pt x="264595" y="755063"/>
                  </a:moveTo>
                  <a:lnTo>
                    <a:pt x="96803" y="432387"/>
                  </a:lnTo>
                  <a:lnTo>
                    <a:pt x="96803" y="432387"/>
                  </a:lnTo>
                  <a:lnTo>
                    <a:pt x="109710" y="96803"/>
                  </a:lnTo>
                  <a:lnTo>
                    <a:pt x="264595" y="755063"/>
                  </a:lnTo>
                  <a:close/>
                  <a:moveTo>
                    <a:pt x="109710" y="432387"/>
                  </a:moveTo>
                  <a:lnTo>
                    <a:pt x="238781" y="703435"/>
                  </a:lnTo>
                  <a:lnTo>
                    <a:pt x="109710" y="135524"/>
                  </a:lnTo>
                  <a:lnTo>
                    <a:pt x="109710" y="4323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5" name="Freeform: Shape 2914">
              <a:extLst>
                <a:ext uri="{FF2B5EF4-FFF2-40B4-BE49-F238E27FC236}">
                  <a16:creationId xmlns:a16="http://schemas.microsoft.com/office/drawing/2014/main" id="{6AFF2ECF-2979-48B9-B10D-0C713C7E3806}"/>
                </a:ext>
              </a:extLst>
            </p:cNvPr>
            <p:cNvSpPr/>
            <p:nvPr/>
          </p:nvSpPr>
          <p:spPr>
            <a:xfrm>
              <a:off x="9850790" y="4621909"/>
              <a:ext cx="516283" cy="903494"/>
            </a:xfrm>
            <a:custGeom>
              <a:avLst/>
              <a:gdLst>
                <a:gd name="connsiteX0" fmla="*/ 522737 w 516282"/>
                <a:gd name="connsiteY0" fmla="*/ 897041 h 903494"/>
                <a:gd name="connsiteX1" fmla="*/ 238781 w 516282"/>
                <a:gd name="connsiteY1" fmla="*/ 729249 h 903494"/>
                <a:gd name="connsiteX2" fmla="*/ 96803 w 516282"/>
                <a:gd name="connsiteY2" fmla="*/ 96803 h 903494"/>
                <a:gd name="connsiteX3" fmla="*/ 522737 w 516282"/>
                <a:gd name="connsiteY3" fmla="*/ 897041 h 903494"/>
                <a:gd name="connsiteX4" fmla="*/ 238781 w 516282"/>
                <a:gd name="connsiteY4" fmla="*/ 716342 h 903494"/>
                <a:gd name="connsiteX5" fmla="*/ 496922 w 516282"/>
                <a:gd name="connsiteY5" fmla="*/ 871227 h 903494"/>
                <a:gd name="connsiteX6" fmla="*/ 109710 w 516282"/>
                <a:gd name="connsiteY6" fmla="*/ 122617 h 903494"/>
                <a:gd name="connsiteX7" fmla="*/ 238781 w 516282"/>
                <a:gd name="connsiteY7" fmla="*/ 716342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903494">
                  <a:moveTo>
                    <a:pt x="522737" y="897041"/>
                  </a:moveTo>
                  <a:lnTo>
                    <a:pt x="238781" y="729249"/>
                  </a:lnTo>
                  <a:lnTo>
                    <a:pt x="96803" y="96803"/>
                  </a:lnTo>
                  <a:lnTo>
                    <a:pt x="522737" y="897041"/>
                  </a:lnTo>
                  <a:close/>
                  <a:moveTo>
                    <a:pt x="238781" y="716342"/>
                  </a:moveTo>
                  <a:lnTo>
                    <a:pt x="496922" y="871227"/>
                  </a:lnTo>
                  <a:lnTo>
                    <a:pt x="109710" y="122617"/>
                  </a:lnTo>
                  <a:lnTo>
                    <a:pt x="238781" y="7163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6" name="Freeform: Shape 2915">
              <a:extLst>
                <a:ext uri="{FF2B5EF4-FFF2-40B4-BE49-F238E27FC236}">
                  <a16:creationId xmlns:a16="http://schemas.microsoft.com/office/drawing/2014/main" id="{4692E665-B7FE-481E-B489-C39C1538E080}"/>
                </a:ext>
              </a:extLst>
            </p:cNvPr>
            <p:cNvSpPr/>
            <p:nvPr/>
          </p:nvSpPr>
          <p:spPr>
            <a:xfrm>
              <a:off x="9502300" y="4183069"/>
              <a:ext cx="516283" cy="645353"/>
            </a:xfrm>
            <a:custGeom>
              <a:avLst/>
              <a:gdLst>
                <a:gd name="connsiteX0" fmla="*/ 458200 w 516282"/>
                <a:gd name="connsiteY0" fmla="*/ 561457 h 645353"/>
                <a:gd name="connsiteX1" fmla="*/ 96803 w 516282"/>
                <a:gd name="connsiteY1" fmla="*/ 96803 h 645353"/>
                <a:gd name="connsiteX2" fmla="*/ 303316 w 516282"/>
                <a:gd name="connsiteY2" fmla="*/ 109710 h 645353"/>
                <a:gd name="connsiteX3" fmla="*/ 303316 w 516282"/>
                <a:gd name="connsiteY3" fmla="*/ 109710 h 645353"/>
                <a:gd name="connsiteX4" fmla="*/ 458200 w 516282"/>
                <a:gd name="connsiteY4" fmla="*/ 561457 h 645353"/>
                <a:gd name="connsiteX5" fmla="*/ 109710 w 516282"/>
                <a:gd name="connsiteY5" fmla="*/ 109710 h 645353"/>
                <a:gd name="connsiteX6" fmla="*/ 432386 w 516282"/>
                <a:gd name="connsiteY6" fmla="*/ 535643 h 645353"/>
                <a:gd name="connsiteX7" fmla="*/ 303316 w 516282"/>
                <a:gd name="connsiteY7" fmla="*/ 122617 h 645353"/>
                <a:gd name="connsiteX8" fmla="*/ 109710 w 516282"/>
                <a:gd name="connsiteY8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458200" y="561457"/>
                  </a:moveTo>
                  <a:lnTo>
                    <a:pt x="96803" y="96803"/>
                  </a:lnTo>
                  <a:lnTo>
                    <a:pt x="303316" y="109710"/>
                  </a:lnTo>
                  <a:lnTo>
                    <a:pt x="303316" y="109710"/>
                  </a:lnTo>
                  <a:lnTo>
                    <a:pt x="458200" y="561457"/>
                  </a:lnTo>
                  <a:close/>
                  <a:moveTo>
                    <a:pt x="109710" y="109710"/>
                  </a:moveTo>
                  <a:lnTo>
                    <a:pt x="432386" y="535643"/>
                  </a:lnTo>
                  <a:lnTo>
                    <a:pt x="303316" y="122617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7" name="Freeform: Shape 2916">
              <a:extLst>
                <a:ext uri="{FF2B5EF4-FFF2-40B4-BE49-F238E27FC236}">
                  <a16:creationId xmlns:a16="http://schemas.microsoft.com/office/drawing/2014/main" id="{95F58495-E7E7-4026-96D4-B0F99F78CA47}"/>
                </a:ext>
              </a:extLst>
            </p:cNvPr>
            <p:cNvSpPr/>
            <p:nvPr/>
          </p:nvSpPr>
          <p:spPr>
            <a:xfrm>
              <a:off x="9153808" y="4092719"/>
              <a:ext cx="516283" cy="258141"/>
            </a:xfrm>
            <a:custGeom>
              <a:avLst/>
              <a:gdLst>
                <a:gd name="connsiteX0" fmla="*/ 96803 w 516282"/>
                <a:gd name="connsiteY0" fmla="*/ 264595 h 258141"/>
                <a:gd name="connsiteX1" fmla="*/ 135525 w 516282"/>
                <a:gd name="connsiteY1" fmla="*/ 96803 h 258141"/>
                <a:gd name="connsiteX2" fmla="*/ 135525 w 516282"/>
                <a:gd name="connsiteY2" fmla="*/ 96803 h 258141"/>
                <a:gd name="connsiteX3" fmla="*/ 471108 w 516282"/>
                <a:gd name="connsiteY3" fmla="*/ 187153 h 258141"/>
                <a:gd name="connsiteX4" fmla="*/ 96803 w 516282"/>
                <a:gd name="connsiteY4" fmla="*/ 264595 h 258141"/>
                <a:gd name="connsiteX5" fmla="*/ 148431 w 516282"/>
                <a:gd name="connsiteY5" fmla="*/ 109710 h 258141"/>
                <a:gd name="connsiteX6" fmla="*/ 109711 w 516282"/>
                <a:gd name="connsiteY6" fmla="*/ 251688 h 258141"/>
                <a:gd name="connsiteX7" fmla="*/ 445294 w 516282"/>
                <a:gd name="connsiteY7" fmla="*/ 187153 h 258141"/>
                <a:gd name="connsiteX8" fmla="*/ 148431 w 516282"/>
                <a:gd name="connsiteY8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258141">
                  <a:moveTo>
                    <a:pt x="96803" y="264595"/>
                  </a:moveTo>
                  <a:lnTo>
                    <a:pt x="135525" y="96803"/>
                  </a:lnTo>
                  <a:lnTo>
                    <a:pt x="135525" y="96803"/>
                  </a:lnTo>
                  <a:lnTo>
                    <a:pt x="471108" y="187153"/>
                  </a:lnTo>
                  <a:lnTo>
                    <a:pt x="96803" y="264595"/>
                  </a:lnTo>
                  <a:close/>
                  <a:moveTo>
                    <a:pt x="148431" y="109710"/>
                  </a:moveTo>
                  <a:lnTo>
                    <a:pt x="109711" y="251688"/>
                  </a:lnTo>
                  <a:lnTo>
                    <a:pt x="445294" y="187153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8" name="Freeform: Shape 2917">
              <a:extLst>
                <a:ext uri="{FF2B5EF4-FFF2-40B4-BE49-F238E27FC236}">
                  <a16:creationId xmlns:a16="http://schemas.microsoft.com/office/drawing/2014/main" id="{7F8C0E67-E512-4CEF-8632-91187C089927}"/>
                </a:ext>
              </a:extLst>
            </p:cNvPr>
            <p:cNvSpPr/>
            <p:nvPr/>
          </p:nvSpPr>
          <p:spPr>
            <a:xfrm>
              <a:off x="9140901" y="4195976"/>
              <a:ext cx="903495" cy="645353"/>
            </a:xfrm>
            <a:custGeom>
              <a:avLst/>
              <a:gdLst>
                <a:gd name="connsiteX0" fmla="*/ 819598 w 903494"/>
                <a:gd name="connsiteY0" fmla="*/ 548550 h 645353"/>
                <a:gd name="connsiteX1" fmla="*/ 96803 w 903494"/>
                <a:gd name="connsiteY1" fmla="*/ 161338 h 645353"/>
                <a:gd name="connsiteX2" fmla="*/ 458201 w 903494"/>
                <a:gd name="connsiteY2" fmla="*/ 96803 h 645353"/>
                <a:gd name="connsiteX3" fmla="*/ 458201 w 903494"/>
                <a:gd name="connsiteY3" fmla="*/ 96803 h 645353"/>
                <a:gd name="connsiteX4" fmla="*/ 819598 w 903494"/>
                <a:gd name="connsiteY4" fmla="*/ 548550 h 645353"/>
                <a:gd name="connsiteX5" fmla="*/ 122618 w 903494"/>
                <a:gd name="connsiteY5" fmla="*/ 161338 h 645353"/>
                <a:gd name="connsiteX6" fmla="*/ 793785 w 903494"/>
                <a:gd name="connsiteY6" fmla="*/ 535643 h 645353"/>
                <a:gd name="connsiteX7" fmla="*/ 458201 w 903494"/>
                <a:gd name="connsiteY7" fmla="*/ 96803 h 645353"/>
                <a:gd name="connsiteX8" fmla="*/ 122618 w 903494"/>
                <a:gd name="connsiteY8" fmla="*/ 161338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645353">
                  <a:moveTo>
                    <a:pt x="819598" y="548550"/>
                  </a:moveTo>
                  <a:lnTo>
                    <a:pt x="96803" y="161338"/>
                  </a:lnTo>
                  <a:lnTo>
                    <a:pt x="458201" y="96803"/>
                  </a:lnTo>
                  <a:lnTo>
                    <a:pt x="458201" y="96803"/>
                  </a:lnTo>
                  <a:lnTo>
                    <a:pt x="819598" y="548550"/>
                  </a:lnTo>
                  <a:close/>
                  <a:moveTo>
                    <a:pt x="122618" y="161338"/>
                  </a:moveTo>
                  <a:lnTo>
                    <a:pt x="793785" y="535643"/>
                  </a:lnTo>
                  <a:lnTo>
                    <a:pt x="458201" y="96803"/>
                  </a:lnTo>
                  <a:lnTo>
                    <a:pt x="122618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19" name="Freeform: Shape 2918">
              <a:extLst>
                <a:ext uri="{FF2B5EF4-FFF2-40B4-BE49-F238E27FC236}">
                  <a16:creationId xmlns:a16="http://schemas.microsoft.com/office/drawing/2014/main" id="{F3F72FA3-2585-4BDF-85F0-E7472D2604F0}"/>
                </a:ext>
              </a:extLst>
            </p:cNvPr>
            <p:cNvSpPr/>
            <p:nvPr/>
          </p:nvSpPr>
          <p:spPr>
            <a:xfrm>
              <a:off x="8650433" y="3821671"/>
              <a:ext cx="258141" cy="387212"/>
            </a:xfrm>
            <a:custGeom>
              <a:avLst/>
              <a:gdLst>
                <a:gd name="connsiteX0" fmla="*/ 135524 w 258141"/>
                <a:gd name="connsiteY0" fmla="*/ 342037 h 387211"/>
                <a:gd name="connsiteX1" fmla="*/ 96803 w 258141"/>
                <a:gd name="connsiteY1" fmla="*/ 96803 h 387211"/>
                <a:gd name="connsiteX2" fmla="*/ 174245 w 258141"/>
                <a:gd name="connsiteY2" fmla="*/ 212967 h 387211"/>
                <a:gd name="connsiteX3" fmla="*/ 174245 w 258141"/>
                <a:gd name="connsiteY3" fmla="*/ 212967 h 387211"/>
                <a:gd name="connsiteX4" fmla="*/ 135524 w 258141"/>
                <a:gd name="connsiteY4" fmla="*/ 342037 h 387211"/>
                <a:gd name="connsiteX5" fmla="*/ 109710 w 258141"/>
                <a:gd name="connsiteY5" fmla="*/ 122617 h 387211"/>
                <a:gd name="connsiteX6" fmla="*/ 135524 w 258141"/>
                <a:gd name="connsiteY6" fmla="*/ 316223 h 387211"/>
                <a:gd name="connsiteX7" fmla="*/ 174245 w 258141"/>
                <a:gd name="connsiteY7" fmla="*/ 212967 h 387211"/>
                <a:gd name="connsiteX8" fmla="*/ 109710 w 258141"/>
                <a:gd name="connsiteY8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387211">
                  <a:moveTo>
                    <a:pt x="135524" y="342037"/>
                  </a:moveTo>
                  <a:lnTo>
                    <a:pt x="96803" y="96803"/>
                  </a:lnTo>
                  <a:lnTo>
                    <a:pt x="174245" y="212967"/>
                  </a:lnTo>
                  <a:lnTo>
                    <a:pt x="174245" y="212967"/>
                  </a:lnTo>
                  <a:lnTo>
                    <a:pt x="135524" y="342037"/>
                  </a:lnTo>
                  <a:close/>
                  <a:moveTo>
                    <a:pt x="109710" y="122617"/>
                  </a:moveTo>
                  <a:lnTo>
                    <a:pt x="135524" y="316223"/>
                  </a:lnTo>
                  <a:lnTo>
                    <a:pt x="174245" y="212967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0" name="Freeform: Shape 2919">
              <a:extLst>
                <a:ext uri="{FF2B5EF4-FFF2-40B4-BE49-F238E27FC236}">
                  <a16:creationId xmlns:a16="http://schemas.microsoft.com/office/drawing/2014/main" id="{5A6140C9-54B7-48B5-A3F4-FAC3FC728F6D}"/>
                </a:ext>
              </a:extLst>
            </p:cNvPr>
            <p:cNvSpPr/>
            <p:nvPr/>
          </p:nvSpPr>
          <p:spPr>
            <a:xfrm>
              <a:off x="8379385" y="3847485"/>
              <a:ext cx="387212" cy="387212"/>
            </a:xfrm>
            <a:custGeom>
              <a:avLst/>
              <a:gdLst>
                <a:gd name="connsiteX0" fmla="*/ 406572 w 387211"/>
                <a:gd name="connsiteY0" fmla="*/ 316223 h 387211"/>
                <a:gd name="connsiteX1" fmla="*/ 96803 w 387211"/>
                <a:gd name="connsiteY1" fmla="*/ 122617 h 387211"/>
                <a:gd name="connsiteX2" fmla="*/ 380759 w 387211"/>
                <a:gd name="connsiteY2" fmla="*/ 96803 h 387211"/>
                <a:gd name="connsiteX3" fmla="*/ 406572 w 387211"/>
                <a:gd name="connsiteY3" fmla="*/ 316223 h 387211"/>
                <a:gd name="connsiteX4" fmla="*/ 122617 w 387211"/>
                <a:gd name="connsiteY4" fmla="*/ 122617 h 387211"/>
                <a:gd name="connsiteX5" fmla="*/ 406572 w 387211"/>
                <a:gd name="connsiteY5" fmla="*/ 303316 h 387211"/>
                <a:gd name="connsiteX6" fmla="*/ 380759 w 387211"/>
                <a:gd name="connsiteY6" fmla="*/ 96803 h 387211"/>
                <a:gd name="connsiteX7" fmla="*/ 122617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406572" y="316223"/>
                  </a:moveTo>
                  <a:lnTo>
                    <a:pt x="96803" y="122617"/>
                  </a:lnTo>
                  <a:lnTo>
                    <a:pt x="380759" y="96803"/>
                  </a:lnTo>
                  <a:lnTo>
                    <a:pt x="406572" y="316223"/>
                  </a:lnTo>
                  <a:close/>
                  <a:moveTo>
                    <a:pt x="122617" y="122617"/>
                  </a:moveTo>
                  <a:lnTo>
                    <a:pt x="406572" y="303316"/>
                  </a:lnTo>
                  <a:lnTo>
                    <a:pt x="380759" y="96803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1" name="Freeform: Shape 2920">
              <a:extLst>
                <a:ext uri="{FF2B5EF4-FFF2-40B4-BE49-F238E27FC236}">
                  <a16:creationId xmlns:a16="http://schemas.microsoft.com/office/drawing/2014/main" id="{AA337708-EED1-4340-8757-64DA85F4C8FB}"/>
                </a:ext>
              </a:extLst>
            </p:cNvPr>
            <p:cNvSpPr/>
            <p:nvPr/>
          </p:nvSpPr>
          <p:spPr>
            <a:xfrm>
              <a:off x="7398448" y="4467024"/>
              <a:ext cx="258141" cy="645353"/>
            </a:xfrm>
            <a:custGeom>
              <a:avLst/>
              <a:gdLst>
                <a:gd name="connsiteX0" fmla="*/ 174246 w 258141"/>
                <a:gd name="connsiteY0" fmla="*/ 664714 h 645353"/>
                <a:gd name="connsiteX1" fmla="*/ 96803 w 258141"/>
                <a:gd name="connsiteY1" fmla="*/ 445294 h 645353"/>
                <a:gd name="connsiteX2" fmla="*/ 96803 w 258141"/>
                <a:gd name="connsiteY2" fmla="*/ 445294 h 645353"/>
                <a:gd name="connsiteX3" fmla="*/ 238781 w 258141"/>
                <a:gd name="connsiteY3" fmla="*/ 96803 h 645353"/>
                <a:gd name="connsiteX4" fmla="*/ 174246 w 258141"/>
                <a:gd name="connsiteY4" fmla="*/ 664714 h 645353"/>
                <a:gd name="connsiteX5" fmla="*/ 109710 w 258141"/>
                <a:gd name="connsiteY5" fmla="*/ 445294 h 645353"/>
                <a:gd name="connsiteX6" fmla="*/ 174246 w 258141"/>
                <a:gd name="connsiteY6" fmla="*/ 638900 h 645353"/>
                <a:gd name="connsiteX7" fmla="*/ 238781 w 258141"/>
                <a:gd name="connsiteY7" fmla="*/ 135524 h 645353"/>
                <a:gd name="connsiteX8" fmla="*/ 109710 w 258141"/>
                <a:gd name="connsiteY8" fmla="*/ 445294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645353">
                  <a:moveTo>
                    <a:pt x="174246" y="664714"/>
                  </a:moveTo>
                  <a:lnTo>
                    <a:pt x="96803" y="445294"/>
                  </a:lnTo>
                  <a:lnTo>
                    <a:pt x="96803" y="445294"/>
                  </a:lnTo>
                  <a:lnTo>
                    <a:pt x="238781" y="96803"/>
                  </a:lnTo>
                  <a:lnTo>
                    <a:pt x="174246" y="664714"/>
                  </a:lnTo>
                  <a:close/>
                  <a:moveTo>
                    <a:pt x="109710" y="445294"/>
                  </a:moveTo>
                  <a:lnTo>
                    <a:pt x="174246" y="638900"/>
                  </a:lnTo>
                  <a:lnTo>
                    <a:pt x="238781" y="135524"/>
                  </a:lnTo>
                  <a:lnTo>
                    <a:pt x="109710" y="4452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2" name="Freeform: Shape 2921">
              <a:extLst>
                <a:ext uri="{FF2B5EF4-FFF2-40B4-BE49-F238E27FC236}">
                  <a16:creationId xmlns:a16="http://schemas.microsoft.com/office/drawing/2014/main" id="{FF62007F-6226-4905-9CC1-D3A50B6EB963}"/>
                </a:ext>
              </a:extLst>
            </p:cNvPr>
            <p:cNvSpPr/>
            <p:nvPr/>
          </p:nvSpPr>
          <p:spPr>
            <a:xfrm>
              <a:off x="7398448" y="4996213"/>
              <a:ext cx="258141" cy="645353"/>
            </a:xfrm>
            <a:custGeom>
              <a:avLst/>
              <a:gdLst>
                <a:gd name="connsiteX0" fmla="*/ 264595 w 258141"/>
                <a:gd name="connsiteY0" fmla="*/ 574364 h 645353"/>
                <a:gd name="connsiteX1" fmla="*/ 96803 w 258141"/>
                <a:gd name="connsiteY1" fmla="*/ 238781 h 645353"/>
                <a:gd name="connsiteX2" fmla="*/ 96803 w 258141"/>
                <a:gd name="connsiteY2" fmla="*/ 238781 h 645353"/>
                <a:gd name="connsiteX3" fmla="*/ 174246 w 258141"/>
                <a:gd name="connsiteY3" fmla="*/ 96803 h 645353"/>
                <a:gd name="connsiteX4" fmla="*/ 264595 w 258141"/>
                <a:gd name="connsiteY4" fmla="*/ 574364 h 645353"/>
                <a:gd name="connsiteX5" fmla="*/ 96803 w 258141"/>
                <a:gd name="connsiteY5" fmla="*/ 251688 h 645353"/>
                <a:gd name="connsiteX6" fmla="*/ 238781 w 258141"/>
                <a:gd name="connsiteY6" fmla="*/ 535643 h 645353"/>
                <a:gd name="connsiteX7" fmla="*/ 161338 w 258141"/>
                <a:gd name="connsiteY7" fmla="*/ 122617 h 645353"/>
                <a:gd name="connsiteX8" fmla="*/ 96803 w 258141"/>
                <a:gd name="connsiteY8" fmla="*/ 251688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645353">
                  <a:moveTo>
                    <a:pt x="264595" y="574364"/>
                  </a:moveTo>
                  <a:lnTo>
                    <a:pt x="96803" y="238781"/>
                  </a:lnTo>
                  <a:lnTo>
                    <a:pt x="96803" y="238781"/>
                  </a:lnTo>
                  <a:lnTo>
                    <a:pt x="174246" y="96803"/>
                  </a:lnTo>
                  <a:lnTo>
                    <a:pt x="264595" y="574364"/>
                  </a:lnTo>
                  <a:close/>
                  <a:moveTo>
                    <a:pt x="96803" y="251688"/>
                  </a:moveTo>
                  <a:lnTo>
                    <a:pt x="238781" y="535643"/>
                  </a:lnTo>
                  <a:lnTo>
                    <a:pt x="161338" y="122617"/>
                  </a:lnTo>
                  <a:lnTo>
                    <a:pt x="96803" y="2516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3" name="Freeform: Shape 2922">
              <a:extLst>
                <a:ext uri="{FF2B5EF4-FFF2-40B4-BE49-F238E27FC236}">
                  <a16:creationId xmlns:a16="http://schemas.microsoft.com/office/drawing/2014/main" id="{6730E856-C2B9-4671-82AF-B773642393B8}"/>
                </a:ext>
              </a:extLst>
            </p:cNvPr>
            <p:cNvSpPr/>
            <p:nvPr/>
          </p:nvSpPr>
          <p:spPr>
            <a:xfrm>
              <a:off x="7540426" y="4170161"/>
              <a:ext cx="903495" cy="387212"/>
            </a:xfrm>
            <a:custGeom>
              <a:avLst/>
              <a:gdLst>
                <a:gd name="connsiteX0" fmla="*/ 96803 w 903494"/>
                <a:gd name="connsiteY0" fmla="*/ 406572 h 387211"/>
                <a:gd name="connsiteX1" fmla="*/ 290409 w 903494"/>
                <a:gd name="connsiteY1" fmla="*/ 96803 h 387211"/>
                <a:gd name="connsiteX2" fmla="*/ 290409 w 903494"/>
                <a:gd name="connsiteY2" fmla="*/ 96803 h 387211"/>
                <a:gd name="connsiteX3" fmla="*/ 909948 w 903494"/>
                <a:gd name="connsiteY3" fmla="*/ 290409 h 387211"/>
                <a:gd name="connsiteX4" fmla="*/ 96803 w 903494"/>
                <a:gd name="connsiteY4" fmla="*/ 406572 h 387211"/>
                <a:gd name="connsiteX5" fmla="*/ 303316 w 903494"/>
                <a:gd name="connsiteY5" fmla="*/ 109710 h 387211"/>
                <a:gd name="connsiteX6" fmla="*/ 109710 w 903494"/>
                <a:gd name="connsiteY6" fmla="*/ 393665 h 387211"/>
                <a:gd name="connsiteX7" fmla="*/ 884134 w 903494"/>
                <a:gd name="connsiteY7" fmla="*/ 290409 h 387211"/>
                <a:gd name="connsiteX8" fmla="*/ 303316 w 903494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387211">
                  <a:moveTo>
                    <a:pt x="96803" y="406572"/>
                  </a:moveTo>
                  <a:lnTo>
                    <a:pt x="290409" y="96803"/>
                  </a:lnTo>
                  <a:lnTo>
                    <a:pt x="290409" y="96803"/>
                  </a:lnTo>
                  <a:lnTo>
                    <a:pt x="909948" y="290409"/>
                  </a:lnTo>
                  <a:lnTo>
                    <a:pt x="96803" y="406572"/>
                  </a:lnTo>
                  <a:close/>
                  <a:moveTo>
                    <a:pt x="303316" y="109710"/>
                  </a:moveTo>
                  <a:lnTo>
                    <a:pt x="109710" y="393665"/>
                  </a:lnTo>
                  <a:lnTo>
                    <a:pt x="884134" y="290409"/>
                  </a:lnTo>
                  <a:lnTo>
                    <a:pt x="303316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4" name="Freeform: Shape 2923">
              <a:extLst>
                <a:ext uri="{FF2B5EF4-FFF2-40B4-BE49-F238E27FC236}">
                  <a16:creationId xmlns:a16="http://schemas.microsoft.com/office/drawing/2014/main" id="{F8251179-436D-4C53-A225-F5A5A56E6AFC}"/>
                </a:ext>
              </a:extLst>
            </p:cNvPr>
            <p:cNvSpPr/>
            <p:nvPr/>
          </p:nvSpPr>
          <p:spPr>
            <a:xfrm>
              <a:off x="7734032" y="3937834"/>
              <a:ext cx="774424" cy="645353"/>
            </a:xfrm>
            <a:custGeom>
              <a:avLst/>
              <a:gdLst>
                <a:gd name="connsiteX0" fmla="*/ 716342 w 774423"/>
                <a:gd name="connsiteY0" fmla="*/ 548550 h 645353"/>
                <a:gd name="connsiteX1" fmla="*/ 96803 w 774423"/>
                <a:gd name="connsiteY1" fmla="*/ 342037 h 645353"/>
                <a:gd name="connsiteX2" fmla="*/ 290409 w 774423"/>
                <a:gd name="connsiteY2" fmla="*/ 96803 h 645353"/>
                <a:gd name="connsiteX3" fmla="*/ 290409 w 774423"/>
                <a:gd name="connsiteY3" fmla="*/ 96803 h 645353"/>
                <a:gd name="connsiteX4" fmla="*/ 716342 w 774423"/>
                <a:gd name="connsiteY4" fmla="*/ 548550 h 645353"/>
                <a:gd name="connsiteX5" fmla="*/ 109710 w 774423"/>
                <a:gd name="connsiteY5" fmla="*/ 342037 h 645353"/>
                <a:gd name="connsiteX6" fmla="*/ 703435 w 774423"/>
                <a:gd name="connsiteY6" fmla="*/ 535643 h 645353"/>
                <a:gd name="connsiteX7" fmla="*/ 290409 w 774423"/>
                <a:gd name="connsiteY7" fmla="*/ 122617 h 645353"/>
                <a:gd name="connsiteX8" fmla="*/ 109710 w 774423"/>
                <a:gd name="connsiteY8" fmla="*/ 34203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645353">
                  <a:moveTo>
                    <a:pt x="716342" y="548550"/>
                  </a:moveTo>
                  <a:lnTo>
                    <a:pt x="96803" y="342037"/>
                  </a:lnTo>
                  <a:lnTo>
                    <a:pt x="290409" y="96803"/>
                  </a:lnTo>
                  <a:lnTo>
                    <a:pt x="290409" y="96803"/>
                  </a:lnTo>
                  <a:lnTo>
                    <a:pt x="716342" y="548550"/>
                  </a:lnTo>
                  <a:close/>
                  <a:moveTo>
                    <a:pt x="109710" y="342037"/>
                  </a:moveTo>
                  <a:lnTo>
                    <a:pt x="703435" y="535643"/>
                  </a:lnTo>
                  <a:lnTo>
                    <a:pt x="290409" y="122617"/>
                  </a:lnTo>
                  <a:lnTo>
                    <a:pt x="109710" y="3420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5" name="Freeform: Shape 2924">
              <a:extLst>
                <a:ext uri="{FF2B5EF4-FFF2-40B4-BE49-F238E27FC236}">
                  <a16:creationId xmlns:a16="http://schemas.microsoft.com/office/drawing/2014/main" id="{AC306AF4-BA4D-4960-BF02-DDB7F7B3895A}"/>
                </a:ext>
              </a:extLst>
            </p:cNvPr>
            <p:cNvSpPr/>
            <p:nvPr/>
          </p:nvSpPr>
          <p:spPr>
            <a:xfrm>
              <a:off x="7914730" y="3924927"/>
              <a:ext cx="516283" cy="645353"/>
            </a:xfrm>
            <a:custGeom>
              <a:avLst/>
              <a:gdLst>
                <a:gd name="connsiteX0" fmla="*/ 535643 w 516282"/>
                <a:gd name="connsiteY0" fmla="*/ 561457 h 645353"/>
                <a:gd name="connsiteX1" fmla="*/ 96803 w 516282"/>
                <a:gd name="connsiteY1" fmla="*/ 109710 h 645353"/>
                <a:gd name="connsiteX2" fmla="*/ 329131 w 516282"/>
                <a:gd name="connsiteY2" fmla="*/ 96803 h 645353"/>
                <a:gd name="connsiteX3" fmla="*/ 329131 w 516282"/>
                <a:gd name="connsiteY3" fmla="*/ 96803 h 645353"/>
                <a:gd name="connsiteX4" fmla="*/ 535643 w 516282"/>
                <a:gd name="connsiteY4" fmla="*/ 561457 h 645353"/>
                <a:gd name="connsiteX5" fmla="*/ 109710 w 516282"/>
                <a:gd name="connsiteY5" fmla="*/ 122617 h 645353"/>
                <a:gd name="connsiteX6" fmla="*/ 509829 w 516282"/>
                <a:gd name="connsiteY6" fmla="*/ 535643 h 645353"/>
                <a:gd name="connsiteX7" fmla="*/ 316223 w 516282"/>
                <a:gd name="connsiteY7" fmla="*/ 109710 h 645353"/>
                <a:gd name="connsiteX8" fmla="*/ 109710 w 516282"/>
                <a:gd name="connsiteY8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535643" y="561457"/>
                  </a:moveTo>
                  <a:lnTo>
                    <a:pt x="96803" y="109710"/>
                  </a:lnTo>
                  <a:lnTo>
                    <a:pt x="329131" y="96803"/>
                  </a:lnTo>
                  <a:lnTo>
                    <a:pt x="329131" y="96803"/>
                  </a:lnTo>
                  <a:lnTo>
                    <a:pt x="535643" y="561457"/>
                  </a:lnTo>
                  <a:close/>
                  <a:moveTo>
                    <a:pt x="109710" y="122617"/>
                  </a:moveTo>
                  <a:lnTo>
                    <a:pt x="509829" y="535643"/>
                  </a:lnTo>
                  <a:lnTo>
                    <a:pt x="316223" y="109710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6" name="Freeform: Shape 2925">
              <a:extLst>
                <a:ext uri="{FF2B5EF4-FFF2-40B4-BE49-F238E27FC236}">
                  <a16:creationId xmlns:a16="http://schemas.microsoft.com/office/drawing/2014/main" id="{EB0E110A-719E-40A7-95DB-2B1D3A9A378D}"/>
                </a:ext>
              </a:extLst>
            </p:cNvPr>
            <p:cNvSpPr/>
            <p:nvPr/>
          </p:nvSpPr>
          <p:spPr>
            <a:xfrm>
              <a:off x="8134150" y="3873299"/>
              <a:ext cx="387212" cy="645353"/>
            </a:xfrm>
            <a:custGeom>
              <a:avLst/>
              <a:gdLst>
                <a:gd name="connsiteX0" fmla="*/ 303316 w 387211"/>
                <a:gd name="connsiteY0" fmla="*/ 613086 h 645353"/>
                <a:gd name="connsiteX1" fmla="*/ 96803 w 387211"/>
                <a:gd name="connsiteY1" fmla="*/ 161338 h 645353"/>
                <a:gd name="connsiteX2" fmla="*/ 354944 w 387211"/>
                <a:gd name="connsiteY2" fmla="*/ 96803 h 645353"/>
                <a:gd name="connsiteX3" fmla="*/ 303316 w 387211"/>
                <a:gd name="connsiteY3" fmla="*/ 613086 h 645353"/>
                <a:gd name="connsiteX4" fmla="*/ 109710 w 387211"/>
                <a:gd name="connsiteY4" fmla="*/ 161338 h 645353"/>
                <a:gd name="connsiteX5" fmla="*/ 303316 w 387211"/>
                <a:gd name="connsiteY5" fmla="*/ 587271 h 645353"/>
                <a:gd name="connsiteX6" fmla="*/ 354944 w 387211"/>
                <a:gd name="connsiteY6" fmla="*/ 96803 h 645353"/>
                <a:gd name="connsiteX7" fmla="*/ 109710 w 387211"/>
                <a:gd name="connsiteY7" fmla="*/ 161338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303316" y="613086"/>
                  </a:moveTo>
                  <a:lnTo>
                    <a:pt x="96803" y="161338"/>
                  </a:lnTo>
                  <a:lnTo>
                    <a:pt x="354944" y="96803"/>
                  </a:lnTo>
                  <a:lnTo>
                    <a:pt x="303316" y="613086"/>
                  </a:lnTo>
                  <a:close/>
                  <a:moveTo>
                    <a:pt x="109710" y="161338"/>
                  </a:moveTo>
                  <a:lnTo>
                    <a:pt x="303316" y="587271"/>
                  </a:lnTo>
                  <a:lnTo>
                    <a:pt x="354944" y="96803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7" name="Freeform: Shape 2926">
              <a:extLst>
                <a:ext uri="{FF2B5EF4-FFF2-40B4-BE49-F238E27FC236}">
                  <a16:creationId xmlns:a16="http://schemas.microsoft.com/office/drawing/2014/main" id="{80679EC9-5FBC-469E-9810-0854B17E85D0}"/>
                </a:ext>
              </a:extLst>
            </p:cNvPr>
            <p:cNvSpPr/>
            <p:nvPr/>
          </p:nvSpPr>
          <p:spPr>
            <a:xfrm>
              <a:off x="8340664" y="3860392"/>
              <a:ext cx="516283" cy="645353"/>
            </a:xfrm>
            <a:custGeom>
              <a:avLst/>
              <a:gdLst>
                <a:gd name="connsiteX0" fmla="*/ 96803 w 516282"/>
                <a:gd name="connsiteY0" fmla="*/ 625993 h 645353"/>
                <a:gd name="connsiteX1" fmla="*/ 148431 w 516282"/>
                <a:gd name="connsiteY1" fmla="*/ 96803 h 645353"/>
                <a:gd name="connsiteX2" fmla="*/ 458200 w 516282"/>
                <a:gd name="connsiteY2" fmla="*/ 290409 h 645353"/>
                <a:gd name="connsiteX3" fmla="*/ 96803 w 516282"/>
                <a:gd name="connsiteY3" fmla="*/ 625993 h 645353"/>
                <a:gd name="connsiteX4" fmla="*/ 148431 w 516282"/>
                <a:gd name="connsiteY4" fmla="*/ 109710 h 645353"/>
                <a:gd name="connsiteX5" fmla="*/ 96803 w 516282"/>
                <a:gd name="connsiteY5" fmla="*/ 613086 h 645353"/>
                <a:gd name="connsiteX6" fmla="*/ 432386 w 516282"/>
                <a:gd name="connsiteY6" fmla="*/ 303316 h 645353"/>
                <a:gd name="connsiteX7" fmla="*/ 148431 w 516282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96803" y="625993"/>
                  </a:moveTo>
                  <a:lnTo>
                    <a:pt x="148431" y="96803"/>
                  </a:lnTo>
                  <a:lnTo>
                    <a:pt x="458200" y="290409"/>
                  </a:lnTo>
                  <a:lnTo>
                    <a:pt x="96803" y="625993"/>
                  </a:lnTo>
                  <a:close/>
                  <a:moveTo>
                    <a:pt x="148431" y="109710"/>
                  </a:moveTo>
                  <a:lnTo>
                    <a:pt x="96803" y="613086"/>
                  </a:lnTo>
                  <a:lnTo>
                    <a:pt x="432386" y="303316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8" name="Freeform: Shape 2927">
              <a:extLst>
                <a:ext uri="{FF2B5EF4-FFF2-40B4-BE49-F238E27FC236}">
                  <a16:creationId xmlns:a16="http://schemas.microsoft.com/office/drawing/2014/main" id="{6C192FD2-EF72-496D-8DF5-BD95DEE7749B}"/>
                </a:ext>
              </a:extLst>
            </p:cNvPr>
            <p:cNvSpPr/>
            <p:nvPr/>
          </p:nvSpPr>
          <p:spPr>
            <a:xfrm>
              <a:off x="8327756" y="4053998"/>
              <a:ext cx="774424" cy="516283"/>
            </a:xfrm>
            <a:custGeom>
              <a:avLst/>
              <a:gdLst>
                <a:gd name="connsiteX0" fmla="*/ 96803 w 774423"/>
                <a:gd name="connsiteY0" fmla="*/ 432387 h 516282"/>
                <a:gd name="connsiteX1" fmla="*/ 458201 w 774423"/>
                <a:gd name="connsiteY1" fmla="*/ 96803 h 516282"/>
                <a:gd name="connsiteX2" fmla="*/ 716342 w 774423"/>
                <a:gd name="connsiteY2" fmla="*/ 238781 h 516282"/>
                <a:gd name="connsiteX3" fmla="*/ 96803 w 774423"/>
                <a:gd name="connsiteY3" fmla="*/ 432387 h 516282"/>
                <a:gd name="connsiteX4" fmla="*/ 458201 w 774423"/>
                <a:gd name="connsiteY4" fmla="*/ 109710 h 516282"/>
                <a:gd name="connsiteX5" fmla="*/ 122617 w 774423"/>
                <a:gd name="connsiteY5" fmla="*/ 419480 h 516282"/>
                <a:gd name="connsiteX6" fmla="*/ 690528 w 774423"/>
                <a:gd name="connsiteY6" fmla="*/ 238781 h 516282"/>
                <a:gd name="connsiteX7" fmla="*/ 458201 w 774423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516282">
                  <a:moveTo>
                    <a:pt x="96803" y="432387"/>
                  </a:moveTo>
                  <a:lnTo>
                    <a:pt x="458201" y="96803"/>
                  </a:lnTo>
                  <a:lnTo>
                    <a:pt x="716342" y="238781"/>
                  </a:lnTo>
                  <a:lnTo>
                    <a:pt x="96803" y="432387"/>
                  </a:lnTo>
                  <a:close/>
                  <a:moveTo>
                    <a:pt x="458201" y="109710"/>
                  </a:moveTo>
                  <a:lnTo>
                    <a:pt x="122617" y="419480"/>
                  </a:lnTo>
                  <a:lnTo>
                    <a:pt x="690528" y="238781"/>
                  </a:lnTo>
                  <a:lnTo>
                    <a:pt x="45820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9" name="Freeform: Shape 2928">
              <a:extLst>
                <a:ext uri="{FF2B5EF4-FFF2-40B4-BE49-F238E27FC236}">
                  <a16:creationId xmlns:a16="http://schemas.microsoft.com/office/drawing/2014/main" id="{AECF9496-BF1C-4619-9950-3D37351CC1F3}"/>
                </a:ext>
              </a:extLst>
            </p:cNvPr>
            <p:cNvSpPr/>
            <p:nvPr/>
          </p:nvSpPr>
          <p:spPr>
            <a:xfrm>
              <a:off x="9166716" y="4260511"/>
              <a:ext cx="903495" cy="903494"/>
            </a:xfrm>
            <a:custGeom>
              <a:avLst/>
              <a:gdLst>
                <a:gd name="connsiteX0" fmla="*/ 135524 w 903494"/>
                <a:gd name="connsiteY0" fmla="*/ 922855 h 903494"/>
                <a:gd name="connsiteX1" fmla="*/ 96803 w 903494"/>
                <a:gd name="connsiteY1" fmla="*/ 96803 h 903494"/>
                <a:gd name="connsiteX2" fmla="*/ 806692 w 903494"/>
                <a:gd name="connsiteY2" fmla="*/ 484015 h 903494"/>
                <a:gd name="connsiteX3" fmla="*/ 135524 w 903494"/>
                <a:gd name="connsiteY3" fmla="*/ 922855 h 903494"/>
                <a:gd name="connsiteX4" fmla="*/ 96803 w 903494"/>
                <a:gd name="connsiteY4" fmla="*/ 96803 h 903494"/>
                <a:gd name="connsiteX5" fmla="*/ 135524 w 903494"/>
                <a:gd name="connsiteY5" fmla="*/ 909948 h 903494"/>
                <a:gd name="connsiteX6" fmla="*/ 780877 w 903494"/>
                <a:gd name="connsiteY6" fmla="*/ 471108 h 903494"/>
                <a:gd name="connsiteX7" fmla="*/ 96803 w 903494"/>
                <a:gd name="connsiteY7" fmla="*/ 96803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3494" h="903494">
                  <a:moveTo>
                    <a:pt x="135524" y="922855"/>
                  </a:moveTo>
                  <a:lnTo>
                    <a:pt x="96803" y="96803"/>
                  </a:lnTo>
                  <a:lnTo>
                    <a:pt x="806692" y="484015"/>
                  </a:lnTo>
                  <a:lnTo>
                    <a:pt x="135524" y="922855"/>
                  </a:lnTo>
                  <a:close/>
                  <a:moveTo>
                    <a:pt x="96803" y="96803"/>
                  </a:moveTo>
                  <a:lnTo>
                    <a:pt x="135524" y="909948"/>
                  </a:lnTo>
                  <a:lnTo>
                    <a:pt x="780877" y="471108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0" name="Freeform: Shape 2929">
              <a:extLst>
                <a:ext uri="{FF2B5EF4-FFF2-40B4-BE49-F238E27FC236}">
                  <a16:creationId xmlns:a16="http://schemas.microsoft.com/office/drawing/2014/main" id="{590E5560-E601-4E39-AC65-5106B68C98C4}"/>
                </a:ext>
              </a:extLst>
            </p:cNvPr>
            <p:cNvSpPr/>
            <p:nvPr/>
          </p:nvSpPr>
          <p:spPr>
            <a:xfrm>
              <a:off x="9192530" y="4634816"/>
              <a:ext cx="774424" cy="645353"/>
            </a:xfrm>
            <a:custGeom>
              <a:avLst/>
              <a:gdLst>
                <a:gd name="connsiteX0" fmla="*/ 96803 w 774423"/>
                <a:gd name="connsiteY0" fmla="*/ 548550 h 645353"/>
                <a:gd name="connsiteX1" fmla="*/ 767970 w 774423"/>
                <a:gd name="connsiteY1" fmla="*/ 96803 h 645353"/>
                <a:gd name="connsiteX2" fmla="*/ 755063 w 774423"/>
                <a:gd name="connsiteY2" fmla="*/ 419480 h 645353"/>
                <a:gd name="connsiteX3" fmla="*/ 755063 w 774423"/>
                <a:gd name="connsiteY3" fmla="*/ 419480 h 645353"/>
                <a:gd name="connsiteX4" fmla="*/ 96803 w 774423"/>
                <a:gd name="connsiteY4" fmla="*/ 548550 h 645353"/>
                <a:gd name="connsiteX5" fmla="*/ 755063 w 774423"/>
                <a:gd name="connsiteY5" fmla="*/ 109710 h 645353"/>
                <a:gd name="connsiteX6" fmla="*/ 122617 w 774423"/>
                <a:gd name="connsiteY6" fmla="*/ 535643 h 645353"/>
                <a:gd name="connsiteX7" fmla="*/ 742156 w 774423"/>
                <a:gd name="connsiteY7" fmla="*/ 406572 h 645353"/>
                <a:gd name="connsiteX8" fmla="*/ 755063 w 774423"/>
                <a:gd name="connsiteY8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645353">
                  <a:moveTo>
                    <a:pt x="96803" y="548550"/>
                  </a:moveTo>
                  <a:lnTo>
                    <a:pt x="767970" y="96803"/>
                  </a:lnTo>
                  <a:lnTo>
                    <a:pt x="755063" y="419480"/>
                  </a:lnTo>
                  <a:lnTo>
                    <a:pt x="755063" y="419480"/>
                  </a:lnTo>
                  <a:lnTo>
                    <a:pt x="96803" y="548550"/>
                  </a:lnTo>
                  <a:close/>
                  <a:moveTo>
                    <a:pt x="755063" y="109710"/>
                  </a:moveTo>
                  <a:lnTo>
                    <a:pt x="122617" y="535643"/>
                  </a:lnTo>
                  <a:lnTo>
                    <a:pt x="742156" y="406572"/>
                  </a:lnTo>
                  <a:lnTo>
                    <a:pt x="75506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1" name="Freeform: Shape 2930">
              <a:extLst>
                <a:ext uri="{FF2B5EF4-FFF2-40B4-BE49-F238E27FC236}">
                  <a16:creationId xmlns:a16="http://schemas.microsoft.com/office/drawing/2014/main" id="{73848F5D-C286-472E-9CA3-A0B1F97BF1C8}"/>
                </a:ext>
              </a:extLst>
            </p:cNvPr>
            <p:cNvSpPr/>
            <p:nvPr/>
          </p:nvSpPr>
          <p:spPr>
            <a:xfrm>
              <a:off x="9192530" y="4944585"/>
              <a:ext cx="903495" cy="387212"/>
            </a:xfrm>
            <a:custGeom>
              <a:avLst/>
              <a:gdLst>
                <a:gd name="connsiteX0" fmla="*/ 909948 w 903494"/>
                <a:gd name="connsiteY0" fmla="*/ 406573 h 387211"/>
                <a:gd name="connsiteX1" fmla="*/ 909948 w 903494"/>
                <a:gd name="connsiteY1" fmla="*/ 406573 h 387211"/>
                <a:gd name="connsiteX2" fmla="*/ 96803 w 903494"/>
                <a:gd name="connsiteY2" fmla="*/ 225874 h 387211"/>
                <a:gd name="connsiteX3" fmla="*/ 755063 w 903494"/>
                <a:gd name="connsiteY3" fmla="*/ 96803 h 387211"/>
                <a:gd name="connsiteX4" fmla="*/ 909948 w 903494"/>
                <a:gd name="connsiteY4" fmla="*/ 406573 h 387211"/>
                <a:gd name="connsiteX5" fmla="*/ 122617 w 903494"/>
                <a:gd name="connsiteY5" fmla="*/ 225874 h 387211"/>
                <a:gd name="connsiteX6" fmla="*/ 897041 w 903494"/>
                <a:gd name="connsiteY6" fmla="*/ 393665 h 387211"/>
                <a:gd name="connsiteX7" fmla="*/ 755063 w 903494"/>
                <a:gd name="connsiteY7" fmla="*/ 109710 h 387211"/>
                <a:gd name="connsiteX8" fmla="*/ 122617 w 903494"/>
                <a:gd name="connsiteY8" fmla="*/ 22587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387211">
                  <a:moveTo>
                    <a:pt x="909948" y="406573"/>
                  </a:moveTo>
                  <a:lnTo>
                    <a:pt x="909948" y="406573"/>
                  </a:lnTo>
                  <a:lnTo>
                    <a:pt x="96803" y="225874"/>
                  </a:lnTo>
                  <a:lnTo>
                    <a:pt x="755063" y="96803"/>
                  </a:lnTo>
                  <a:lnTo>
                    <a:pt x="909948" y="406573"/>
                  </a:lnTo>
                  <a:close/>
                  <a:moveTo>
                    <a:pt x="122617" y="225874"/>
                  </a:moveTo>
                  <a:lnTo>
                    <a:pt x="897041" y="393665"/>
                  </a:lnTo>
                  <a:lnTo>
                    <a:pt x="755063" y="109710"/>
                  </a:lnTo>
                  <a:lnTo>
                    <a:pt x="122617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2" name="Freeform: Shape 2931">
              <a:extLst>
                <a:ext uri="{FF2B5EF4-FFF2-40B4-BE49-F238E27FC236}">
                  <a16:creationId xmlns:a16="http://schemas.microsoft.com/office/drawing/2014/main" id="{42F3F95E-2851-41BA-9B16-1B967FEF4A25}"/>
                </a:ext>
              </a:extLst>
            </p:cNvPr>
            <p:cNvSpPr/>
            <p:nvPr/>
          </p:nvSpPr>
          <p:spPr>
            <a:xfrm>
              <a:off x="8418106" y="5060749"/>
              <a:ext cx="903495" cy="774424"/>
            </a:xfrm>
            <a:custGeom>
              <a:avLst/>
              <a:gdLst>
                <a:gd name="connsiteX0" fmla="*/ 277502 w 903494"/>
                <a:gd name="connsiteY0" fmla="*/ 793784 h 774423"/>
                <a:gd name="connsiteX1" fmla="*/ 277502 w 903494"/>
                <a:gd name="connsiteY1" fmla="*/ 793784 h 774423"/>
                <a:gd name="connsiteX2" fmla="*/ 96803 w 903494"/>
                <a:gd name="connsiteY2" fmla="*/ 690528 h 774423"/>
                <a:gd name="connsiteX3" fmla="*/ 96803 w 903494"/>
                <a:gd name="connsiteY3" fmla="*/ 690528 h 774423"/>
                <a:gd name="connsiteX4" fmla="*/ 897041 w 903494"/>
                <a:gd name="connsiteY4" fmla="*/ 96803 h 774423"/>
                <a:gd name="connsiteX5" fmla="*/ 277502 w 903494"/>
                <a:gd name="connsiteY5" fmla="*/ 793784 h 774423"/>
                <a:gd name="connsiteX6" fmla="*/ 109710 w 903494"/>
                <a:gd name="connsiteY6" fmla="*/ 690528 h 774423"/>
                <a:gd name="connsiteX7" fmla="*/ 277502 w 903494"/>
                <a:gd name="connsiteY7" fmla="*/ 793784 h 774423"/>
                <a:gd name="connsiteX8" fmla="*/ 858320 w 903494"/>
                <a:gd name="connsiteY8" fmla="*/ 135524 h 774423"/>
                <a:gd name="connsiteX9" fmla="*/ 109710 w 903494"/>
                <a:gd name="connsiteY9" fmla="*/ 690528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3494" h="774423">
                  <a:moveTo>
                    <a:pt x="277502" y="793784"/>
                  </a:moveTo>
                  <a:lnTo>
                    <a:pt x="277502" y="793784"/>
                  </a:lnTo>
                  <a:lnTo>
                    <a:pt x="96803" y="690528"/>
                  </a:lnTo>
                  <a:lnTo>
                    <a:pt x="96803" y="690528"/>
                  </a:lnTo>
                  <a:lnTo>
                    <a:pt x="897041" y="96803"/>
                  </a:lnTo>
                  <a:lnTo>
                    <a:pt x="277502" y="793784"/>
                  </a:lnTo>
                  <a:close/>
                  <a:moveTo>
                    <a:pt x="109710" y="690528"/>
                  </a:moveTo>
                  <a:lnTo>
                    <a:pt x="277502" y="793784"/>
                  </a:lnTo>
                  <a:lnTo>
                    <a:pt x="858320" y="135524"/>
                  </a:lnTo>
                  <a:lnTo>
                    <a:pt x="109710" y="6905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3" name="Freeform: Shape 2932">
              <a:extLst>
                <a:ext uri="{FF2B5EF4-FFF2-40B4-BE49-F238E27FC236}">
                  <a16:creationId xmlns:a16="http://schemas.microsoft.com/office/drawing/2014/main" id="{20F56972-1165-4897-8F9C-D7F9E39FE6B2}"/>
                </a:ext>
              </a:extLst>
            </p:cNvPr>
            <p:cNvSpPr/>
            <p:nvPr/>
          </p:nvSpPr>
          <p:spPr>
            <a:xfrm>
              <a:off x="8598805" y="5073656"/>
              <a:ext cx="774424" cy="903494"/>
            </a:xfrm>
            <a:custGeom>
              <a:avLst/>
              <a:gdLst>
                <a:gd name="connsiteX0" fmla="*/ 200059 w 774423"/>
                <a:gd name="connsiteY0" fmla="*/ 922855 h 903494"/>
                <a:gd name="connsiteX1" fmla="*/ 96803 w 774423"/>
                <a:gd name="connsiteY1" fmla="*/ 780877 h 903494"/>
                <a:gd name="connsiteX2" fmla="*/ 96803 w 774423"/>
                <a:gd name="connsiteY2" fmla="*/ 780877 h 903494"/>
                <a:gd name="connsiteX3" fmla="*/ 703435 w 774423"/>
                <a:gd name="connsiteY3" fmla="*/ 96803 h 903494"/>
                <a:gd name="connsiteX4" fmla="*/ 703435 w 774423"/>
                <a:gd name="connsiteY4" fmla="*/ 96803 h 903494"/>
                <a:gd name="connsiteX5" fmla="*/ 200059 w 774423"/>
                <a:gd name="connsiteY5" fmla="*/ 922855 h 903494"/>
                <a:gd name="connsiteX6" fmla="*/ 109710 w 774423"/>
                <a:gd name="connsiteY6" fmla="*/ 780877 h 903494"/>
                <a:gd name="connsiteX7" fmla="*/ 200059 w 774423"/>
                <a:gd name="connsiteY7" fmla="*/ 909948 h 903494"/>
                <a:gd name="connsiteX8" fmla="*/ 677621 w 774423"/>
                <a:gd name="connsiteY8" fmla="*/ 122617 h 903494"/>
                <a:gd name="connsiteX9" fmla="*/ 109710 w 774423"/>
                <a:gd name="connsiteY9" fmla="*/ 780877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4423" h="903494">
                  <a:moveTo>
                    <a:pt x="200059" y="922855"/>
                  </a:moveTo>
                  <a:lnTo>
                    <a:pt x="96803" y="780877"/>
                  </a:lnTo>
                  <a:lnTo>
                    <a:pt x="96803" y="780877"/>
                  </a:lnTo>
                  <a:lnTo>
                    <a:pt x="703435" y="96803"/>
                  </a:lnTo>
                  <a:lnTo>
                    <a:pt x="703435" y="96803"/>
                  </a:lnTo>
                  <a:lnTo>
                    <a:pt x="200059" y="922855"/>
                  </a:lnTo>
                  <a:close/>
                  <a:moveTo>
                    <a:pt x="109710" y="780877"/>
                  </a:moveTo>
                  <a:lnTo>
                    <a:pt x="200059" y="909948"/>
                  </a:lnTo>
                  <a:lnTo>
                    <a:pt x="677621" y="122617"/>
                  </a:lnTo>
                  <a:lnTo>
                    <a:pt x="109710" y="7808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4" name="Freeform: Shape 2933">
              <a:extLst>
                <a:ext uri="{FF2B5EF4-FFF2-40B4-BE49-F238E27FC236}">
                  <a16:creationId xmlns:a16="http://schemas.microsoft.com/office/drawing/2014/main" id="{B0D9E9DB-D484-4DD4-AD4C-1CF09ABE2F9A}"/>
                </a:ext>
              </a:extLst>
            </p:cNvPr>
            <p:cNvSpPr/>
            <p:nvPr/>
          </p:nvSpPr>
          <p:spPr>
            <a:xfrm>
              <a:off x="8572990" y="4247604"/>
              <a:ext cx="774424" cy="1032565"/>
            </a:xfrm>
            <a:custGeom>
              <a:avLst/>
              <a:gdLst>
                <a:gd name="connsiteX0" fmla="*/ 729249 w 774423"/>
                <a:gd name="connsiteY0" fmla="*/ 935762 h 1032565"/>
                <a:gd name="connsiteX1" fmla="*/ 729249 w 774423"/>
                <a:gd name="connsiteY1" fmla="*/ 935762 h 1032565"/>
                <a:gd name="connsiteX2" fmla="*/ 96803 w 774423"/>
                <a:gd name="connsiteY2" fmla="*/ 625993 h 1032565"/>
                <a:gd name="connsiteX3" fmla="*/ 96803 w 774423"/>
                <a:gd name="connsiteY3" fmla="*/ 625993 h 1032565"/>
                <a:gd name="connsiteX4" fmla="*/ 677621 w 774423"/>
                <a:gd name="connsiteY4" fmla="*/ 109710 h 1032565"/>
                <a:gd name="connsiteX5" fmla="*/ 677621 w 774423"/>
                <a:gd name="connsiteY5" fmla="*/ 122617 h 1032565"/>
                <a:gd name="connsiteX6" fmla="*/ 729249 w 774423"/>
                <a:gd name="connsiteY6" fmla="*/ 935762 h 1032565"/>
                <a:gd name="connsiteX7" fmla="*/ 109711 w 774423"/>
                <a:gd name="connsiteY7" fmla="*/ 613086 h 1032565"/>
                <a:gd name="connsiteX8" fmla="*/ 729249 w 774423"/>
                <a:gd name="connsiteY8" fmla="*/ 909948 h 1032565"/>
                <a:gd name="connsiteX9" fmla="*/ 690529 w 774423"/>
                <a:gd name="connsiteY9" fmla="*/ 96803 h 1032565"/>
                <a:gd name="connsiteX10" fmla="*/ 109711 w 774423"/>
                <a:gd name="connsiteY10" fmla="*/ 613086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4423" h="1032565">
                  <a:moveTo>
                    <a:pt x="729249" y="935762"/>
                  </a:moveTo>
                  <a:lnTo>
                    <a:pt x="729249" y="935762"/>
                  </a:lnTo>
                  <a:lnTo>
                    <a:pt x="96803" y="625993"/>
                  </a:lnTo>
                  <a:lnTo>
                    <a:pt x="96803" y="625993"/>
                  </a:lnTo>
                  <a:lnTo>
                    <a:pt x="677621" y="109710"/>
                  </a:lnTo>
                  <a:lnTo>
                    <a:pt x="677621" y="122617"/>
                  </a:lnTo>
                  <a:lnTo>
                    <a:pt x="729249" y="935762"/>
                  </a:lnTo>
                  <a:close/>
                  <a:moveTo>
                    <a:pt x="109711" y="613086"/>
                  </a:moveTo>
                  <a:lnTo>
                    <a:pt x="729249" y="909948"/>
                  </a:lnTo>
                  <a:lnTo>
                    <a:pt x="690529" y="96803"/>
                  </a:lnTo>
                  <a:lnTo>
                    <a:pt x="109711" y="6130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5" name="Freeform: Shape 2934">
              <a:extLst>
                <a:ext uri="{FF2B5EF4-FFF2-40B4-BE49-F238E27FC236}">
                  <a16:creationId xmlns:a16="http://schemas.microsoft.com/office/drawing/2014/main" id="{296AE865-C361-4F04-B072-CDBD21A4017D}"/>
                </a:ext>
              </a:extLst>
            </p:cNvPr>
            <p:cNvSpPr/>
            <p:nvPr/>
          </p:nvSpPr>
          <p:spPr>
            <a:xfrm>
              <a:off x="8340664" y="4183069"/>
              <a:ext cx="774424" cy="774424"/>
            </a:xfrm>
            <a:custGeom>
              <a:avLst/>
              <a:gdLst>
                <a:gd name="connsiteX0" fmla="*/ 329130 w 774423"/>
                <a:gd name="connsiteY0" fmla="*/ 690528 h 774423"/>
                <a:gd name="connsiteX1" fmla="*/ 329130 w 774423"/>
                <a:gd name="connsiteY1" fmla="*/ 690528 h 774423"/>
                <a:gd name="connsiteX2" fmla="*/ 96803 w 774423"/>
                <a:gd name="connsiteY2" fmla="*/ 290409 h 774423"/>
                <a:gd name="connsiteX3" fmla="*/ 96803 w 774423"/>
                <a:gd name="connsiteY3" fmla="*/ 290409 h 774423"/>
                <a:gd name="connsiteX4" fmla="*/ 690528 w 774423"/>
                <a:gd name="connsiteY4" fmla="*/ 96803 h 774423"/>
                <a:gd name="connsiteX5" fmla="*/ 329130 w 774423"/>
                <a:gd name="connsiteY5" fmla="*/ 690528 h 774423"/>
                <a:gd name="connsiteX6" fmla="*/ 109710 w 774423"/>
                <a:gd name="connsiteY6" fmla="*/ 290409 h 774423"/>
                <a:gd name="connsiteX7" fmla="*/ 342037 w 774423"/>
                <a:gd name="connsiteY7" fmla="*/ 677621 h 774423"/>
                <a:gd name="connsiteX8" fmla="*/ 690528 w 774423"/>
                <a:gd name="connsiteY8" fmla="*/ 109710 h 774423"/>
                <a:gd name="connsiteX9" fmla="*/ 109710 w 774423"/>
                <a:gd name="connsiteY9" fmla="*/ 290409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4423" h="774423">
                  <a:moveTo>
                    <a:pt x="329130" y="690528"/>
                  </a:moveTo>
                  <a:lnTo>
                    <a:pt x="329130" y="690528"/>
                  </a:lnTo>
                  <a:lnTo>
                    <a:pt x="96803" y="290409"/>
                  </a:lnTo>
                  <a:lnTo>
                    <a:pt x="96803" y="290409"/>
                  </a:lnTo>
                  <a:lnTo>
                    <a:pt x="690528" y="96803"/>
                  </a:lnTo>
                  <a:lnTo>
                    <a:pt x="329130" y="690528"/>
                  </a:lnTo>
                  <a:close/>
                  <a:moveTo>
                    <a:pt x="109710" y="290409"/>
                  </a:moveTo>
                  <a:lnTo>
                    <a:pt x="342037" y="677621"/>
                  </a:lnTo>
                  <a:lnTo>
                    <a:pt x="690528" y="109710"/>
                  </a:lnTo>
                  <a:lnTo>
                    <a:pt x="109710" y="2904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6" name="Freeform: Shape 2935">
              <a:extLst>
                <a:ext uri="{FF2B5EF4-FFF2-40B4-BE49-F238E27FC236}">
                  <a16:creationId xmlns:a16="http://schemas.microsoft.com/office/drawing/2014/main" id="{CF4B48D2-C9AE-412A-B83B-C8BE3E2CEDD3}"/>
                </a:ext>
              </a:extLst>
            </p:cNvPr>
            <p:cNvSpPr/>
            <p:nvPr/>
          </p:nvSpPr>
          <p:spPr>
            <a:xfrm>
              <a:off x="8560083" y="4195976"/>
              <a:ext cx="774424" cy="774424"/>
            </a:xfrm>
            <a:custGeom>
              <a:avLst/>
              <a:gdLst>
                <a:gd name="connsiteX0" fmla="*/ 96803 w 774423"/>
                <a:gd name="connsiteY0" fmla="*/ 690528 h 774423"/>
                <a:gd name="connsiteX1" fmla="*/ 471108 w 774423"/>
                <a:gd name="connsiteY1" fmla="*/ 96803 h 774423"/>
                <a:gd name="connsiteX2" fmla="*/ 703436 w 774423"/>
                <a:gd name="connsiteY2" fmla="*/ 161338 h 774423"/>
                <a:gd name="connsiteX3" fmla="*/ 703436 w 774423"/>
                <a:gd name="connsiteY3" fmla="*/ 161338 h 774423"/>
                <a:gd name="connsiteX4" fmla="*/ 96803 w 774423"/>
                <a:gd name="connsiteY4" fmla="*/ 690528 h 774423"/>
                <a:gd name="connsiteX5" fmla="*/ 471108 w 774423"/>
                <a:gd name="connsiteY5" fmla="*/ 96803 h 774423"/>
                <a:gd name="connsiteX6" fmla="*/ 122618 w 774423"/>
                <a:gd name="connsiteY6" fmla="*/ 651807 h 774423"/>
                <a:gd name="connsiteX7" fmla="*/ 677621 w 774423"/>
                <a:gd name="connsiteY7" fmla="*/ 161338 h 774423"/>
                <a:gd name="connsiteX8" fmla="*/ 471108 w 774423"/>
                <a:gd name="connsiteY8" fmla="*/ 96803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774423">
                  <a:moveTo>
                    <a:pt x="96803" y="690528"/>
                  </a:moveTo>
                  <a:lnTo>
                    <a:pt x="471108" y="96803"/>
                  </a:lnTo>
                  <a:lnTo>
                    <a:pt x="703436" y="161338"/>
                  </a:lnTo>
                  <a:lnTo>
                    <a:pt x="703436" y="161338"/>
                  </a:lnTo>
                  <a:lnTo>
                    <a:pt x="96803" y="690528"/>
                  </a:lnTo>
                  <a:close/>
                  <a:moveTo>
                    <a:pt x="471108" y="96803"/>
                  </a:moveTo>
                  <a:lnTo>
                    <a:pt x="122618" y="651807"/>
                  </a:lnTo>
                  <a:lnTo>
                    <a:pt x="677621" y="161338"/>
                  </a:lnTo>
                  <a:lnTo>
                    <a:pt x="471108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7" name="Freeform: Shape 2936">
              <a:extLst>
                <a:ext uri="{FF2B5EF4-FFF2-40B4-BE49-F238E27FC236}">
                  <a16:creationId xmlns:a16="http://schemas.microsoft.com/office/drawing/2014/main" id="{7B5A3500-EAE8-4524-9BEA-5B02E715F7BA}"/>
                </a:ext>
              </a:extLst>
            </p:cNvPr>
            <p:cNvSpPr/>
            <p:nvPr/>
          </p:nvSpPr>
          <p:spPr>
            <a:xfrm>
              <a:off x="9502300" y="6274013"/>
              <a:ext cx="774424" cy="516283"/>
            </a:xfrm>
            <a:custGeom>
              <a:avLst/>
              <a:gdLst>
                <a:gd name="connsiteX0" fmla="*/ 716342 w 774423"/>
                <a:gd name="connsiteY0" fmla="*/ 471108 h 516282"/>
                <a:gd name="connsiteX1" fmla="*/ 716342 w 774423"/>
                <a:gd name="connsiteY1" fmla="*/ 471108 h 516282"/>
                <a:gd name="connsiteX2" fmla="*/ 96803 w 774423"/>
                <a:gd name="connsiteY2" fmla="*/ 96803 h 516282"/>
                <a:gd name="connsiteX3" fmla="*/ 625992 w 774423"/>
                <a:gd name="connsiteY3" fmla="*/ 200059 h 516282"/>
                <a:gd name="connsiteX4" fmla="*/ 625992 w 774423"/>
                <a:gd name="connsiteY4" fmla="*/ 200059 h 516282"/>
                <a:gd name="connsiteX5" fmla="*/ 716342 w 774423"/>
                <a:gd name="connsiteY5" fmla="*/ 471108 h 516282"/>
                <a:gd name="connsiteX6" fmla="*/ 135524 w 774423"/>
                <a:gd name="connsiteY6" fmla="*/ 109710 h 516282"/>
                <a:gd name="connsiteX7" fmla="*/ 703435 w 774423"/>
                <a:gd name="connsiteY7" fmla="*/ 458201 h 516282"/>
                <a:gd name="connsiteX8" fmla="*/ 613086 w 774423"/>
                <a:gd name="connsiteY8" fmla="*/ 200059 h 516282"/>
                <a:gd name="connsiteX9" fmla="*/ 135524 w 774423"/>
                <a:gd name="connsiteY9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4423" h="516282">
                  <a:moveTo>
                    <a:pt x="716342" y="471108"/>
                  </a:moveTo>
                  <a:lnTo>
                    <a:pt x="716342" y="471108"/>
                  </a:lnTo>
                  <a:lnTo>
                    <a:pt x="96803" y="96803"/>
                  </a:lnTo>
                  <a:lnTo>
                    <a:pt x="625992" y="200059"/>
                  </a:lnTo>
                  <a:lnTo>
                    <a:pt x="625992" y="200059"/>
                  </a:lnTo>
                  <a:lnTo>
                    <a:pt x="716342" y="471108"/>
                  </a:lnTo>
                  <a:close/>
                  <a:moveTo>
                    <a:pt x="135524" y="109710"/>
                  </a:moveTo>
                  <a:lnTo>
                    <a:pt x="703435" y="458201"/>
                  </a:lnTo>
                  <a:lnTo>
                    <a:pt x="613086" y="200059"/>
                  </a:lnTo>
                  <a:lnTo>
                    <a:pt x="13552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8" name="Freeform: Shape 2937">
              <a:extLst>
                <a:ext uri="{FF2B5EF4-FFF2-40B4-BE49-F238E27FC236}">
                  <a16:creationId xmlns:a16="http://schemas.microsoft.com/office/drawing/2014/main" id="{ACB990F2-BAFE-43B5-A3F8-D3EE123E8AE3}"/>
                </a:ext>
              </a:extLst>
            </p:cNvPr>
            <p:cNvSpPr/>
            <p:nvPr/>
          </p:nvSpPr>
          <p:spPr>
            <a:xfrm>
              <a:off x="8624619" y="5899708"/>
              <a:ext cx="645353" cy="387212"/>
            </a:xfrm>
            <a:custGeom>
              <a:avLst/>
              <a:gdLst>
                <a:gd name="connsiteX0" fmla="*/ 548550 w 645353"/>
                <a:gd name="connsiteY0" fmla="*/ 354944 h 387211"/>
                <a:gd name="connsiteX1" fmla="*/ 96803 w 645353"/>
                <a:gd name="connsiteY1" fmla="*/ 303316 h 387211"/>
                <a:gd name="connsiteX2" fmla="*/ 161338 w 645353"/>
                <a:gd name="connsiteY2" fmla="*/ 96803 h 387211"/>
                <a:gd name="connsiteX3" fmla="*/ 161338 w 645353"/>
                <a:gd name="connsiteY3" fmla="*/ 96803 h 387211"/>
                <a:gd name="connsiteX4" fmla="*/ 548550 w 645353"/>
                <a:gd name="connsiteY4" fmla="*/ 354944 h 387211"/>
                <a:gd name="connsiteX5" fmla="*/ 109710 w 645353"/>
                <a:gd name="connsiteY5" fmla="*/ 290409 h 387211"/>
                <a:gd name="connsiteX6" fmla="*/ 522737 w 645353"/>
                <a:gd name="connsiteY6" fmla="*/ 342037 h 387211"/>
                <a:gd name="connsiteX7" fmla="*/ 174245 w 645353"/>
                <a:gd name="connsiteY7" fmla="*/ 96803 h 387211"/>
                <a:gd name="connsiteX8" fmla="*/ 109710 w 645353"/>
                <a:gd name="connsiteY8" fmla="*/ 29040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548550" y="354944"/>
                  </a:moveTo>
                  <a:lnTo>
                    <a:pt x="96803" y="303316"/>
                  </a:lnTo>
                  <a:lnTo>
                    <a:pt x="161338" y="96803"/>
                  </a:lnTo>
                  <a:lnTo>
                    <a:pt x="161338" y="96803"/>
                  </a:lnTo>
                  <a:lnTo>
                    <a:pt x="548550" y="354944"/>
                  </a:lnTo>
                  <a:close/>
                  <a:moveTo>
                    <a:pt x="109710" y="290409"/>
                  </a:moveTo>
                  <a:lnTo>
                    <a:pt x="522737" y="342037"/>
                  </a:lnTo>
                  <a:lnTo>
                    <a:pt x="174245" y="96803"/>
                  </a:lnTo>
                  <a:lnTo>
                    <a:pt x="109710" y="2904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39" name="Freeform: Shape 2938">
              <a:extLst>
                <a:ext uri="{FF2B5EF4-FFF2-40B4-BE49-F238E27FC236}">
                  <a16:creationId xmlns:a16="http://schemas.microsoft.com/office/drawing/2014/main" id="{36DC5FBA-2E0E-46C6-A11C-DBF3631E86AA}"/>
                </a:ext>
              </a:extLst>
            </p:cNvPr>
            <p:cNvSpPr/>
            <p:nvPr/>
          </p:nvSpPr>
          <p:spPr>
            <a:xfrm>
              <a:off x="8624619" y="6093314"/>
              <a:ext cx="645353" cy="387212"/>
            </a:xfrm>
            <a:custGeom>
              <a:avLst/>
              <a:gdLst>
                <a:gd name="connsiteX0" fmla="*/ 277502 w 645353"/>
                <a:gd name="connsiteY0" fmla="*/ 393665 h 387211"/>
                <a:gd name="connsiteX1" fmla="*/ 277502 w 645353"/>
                <a:gd name="connsiteY1" fmla="*/ 393665 h 387211"/>
                <a:gd name="connsiteX2" fmla="*/ 96803 w 645353"/>
                <a:gd name="connsiteY2" fmla="*/ 96803 h 387211"/>
                <a:gd name="connsiteX3" fmla="*/ 109710 w 645353"/>
                <a:gd name="connsiteY3" fmla="*/ 96803 h 387211"/>
                <a:gd name="connsiteX4" fmla="*/ 548550 w 645353"/>
                <a:gd name="connsiteY4" fmla="*/ 148431 h 387211"/>
                <a:gd name="connsiteX5" fmla="*/ 277502 w 645353"/>
                <a:gd name="connsiteY5" fmla="*/ 393665 h 387211"/>
                <a:gd name="connsiteX6" fmla="*/ 109710 w 645353"/>
                <a:gd name="connsiteY6" fmla="*/ 109710 h 387211"/>
                <a:gd name="connsiteX7" fmla="*/ 290409 w 645353"/>
                <a:gd name="connsiteY7" fmla="*/ 380758 h 387211"/>
                <a:gd name="connsiteX8" fmla="*/ 535643 w 645353"/>
                <a:gd name="connsiteY8" fmla="*/ 148431 h 387211"/>
                <a:gd name="connsiteX9" fmla="*/ 109710 w 645353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387211">
                  <a:moveTo>
                    <a:pt x="277502" y="393665"/>
                  </a:moveTo>
                  <a:lnTo>
                    <a:pt x="277502" y="393665"/>
                  </a:lnTo>
                  <a:lnTo>
                    <a:pt x="96803" y="96803"/>
                  </a:lnTo>
                  <a:lnTo>
                    <a:pt x="109710" y="96803"/>
                  </a:lnTo>
                  <a:lnTo>
                    <a:pt x="548550" y="148431"/>
                  </a:lnTo>
                  <a:lnTo>
                    <a:pt x="277502" y="393665"/>
                  </a:lnTo>
                  <a:close/>
                  <a:moveTo>
                    <a:pt x="109710" y="109710"/>
                  </a:moveTo>
                  <a:lnTo>
                    <a:pt x="290409" y="380758"/>
                  </a:lnTo>
                  <a:lnTo>
                    <a:pt x="535643" y="148431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0" name="Freeform: Shape 2939">
              <a:extLst>
                <a:ext uri="{FF2B5EF4-FFF2-40B4-BE49-F238E27FC236}">
                  <a16:creationId xmlns:a16="http://schemas.microsoft.com/office/drawing/2014/main" id="{1652B564-7370-4372-A570-7E23A15BF82D}"/>
                </a:ext>
              </a:extLst>
            </p:cNvPr>
            <p:cNvSpPr/>
            <p:nvPr/>
          </p:nvSpPr>
          <p:spPr>
            <a:xfrm>
              <a:off x="8689154" y="5060749"/>
              <a:ext cx="645353" cy="1290706"/>
            </a:xfrm>
            <a:custGeom>
              <a:avLst/>
              <a:gdLst>
                <a:gd name="connsiteX0" fmla="*/ 471108 w 645353"/>
                <a:gd name="connsiteY0" fmla="*/ 1193904 h 1290706"/>
                <a:gd name="connsiteX1" fmla="*/ 471108 w 645353"/>
                <a:gd name="connsiteY1" fmla="*/ 1193904 h 1290706"/>
                <a:gd name="connsiteX2" fmla="*/ 96803 w 645353"/>
                <a:gd name="connsiteY2" fmla="*/ 935762 h 1290706"/>
                <a:gd name="connsiteX3" fmla="*/ 96803 w 645353"/>
                <a:gd name="connsiteY3" fmla="*/ 935762 h 1290706"/>
                <a:gd name="connsiteX4" fmla="*/ 613086 w 645353"/>
                <a:gd name="connsiteY4" fmla="*/ 96803 h 1290706"/>
                <a:gd name="connsiteX5" fmla="*/ 471108 w 645353"/>
                <a:gd name="connsiteY5" fmla="*/ 1193904 h 1290706"/>
                <a:gd name="connsiteX6" fmla="*/ 109710 w 645353"/>
                <a:gd name="connsiteY6" fmla="*/ 935762 h 1290706"/>
                <a:gd name="connsiteX7" fmla="*/ 471108 w 645353"/>
                <a:gd name="connsiteY7" fmla="*/ 1180996 h 1290706"/>
                <a:gd name="connsiteX8" fmla="*/ 613086 w 645353"/>
                <a:gd name="connsiteY8" fmla="*/ 122617 h 1290706"/>
                <a:gd name="connsiteX9" fmla="*/ 109710 w 645353"/>
                <a:gd name="connsiteY9" fmla="*/ 935762 h 1290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1290706">
                  <a:moveTo>
                    <a:pt x="471108" y="1193904"/>
                  </a:moveTo>
                  <a:lnTo>
                    <a:pt x="471108" y="1193904"/>
                  </a:lnTo>
                  <a:lnTo>
                    <a:pt x="96803" y="935762"/>
                  </a:lnTo>
                  <a:lnTo>
                    <a:pt x="96803" y="935762"/>
                  </a:lnTo>
                  <a:lnTo>
                    <a:pt x="613086" y="96803"/>
                  </a:lnTo>
                  <a:lnTo>
                    <a:pt x="471108" y="1193904"/>
                  </a:lnTo>
                  <a:close/>
                  <a:moveTo>
                    <a:pt x="109710" y="935762"/>
                  </a:moveTo>
                  <a:lnTo>
                    <a:pt x="471108" y="1180996"/>
                  </a:lnTo>
                  <a:lnTo>
                    <a:pt x="613086" y="122617"/>
                  </a:lnTo>
                  <a:lnTo>
                    <a:pt x="109710" y="935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1" name="Freeform: Shape 2940">
              <a:extLst>
                <a:ext uri="{FF2B5EF4-FFF2-40B4-BE49-F238E27FC236}">
                  <a16:creationId xmlns:a16="http://schemas.microsoft.com/office/drawing/2014/main" id="{CE1F6C93-3234-4B8F-99A7-E949C0E4D88E}"/>
                </a:ext>
              </a:extLst>
            </p:cNvPr>
            <p:cNvSpPr/>
            <p:nvPr/>
          </p:nvSpPr>
          <p:spPr>
            <a:xfrm>
              <a:off x="8805318" y="6132035"/>
              <a:ext cx="387212" cy="774424"/>
            </a:xfrm>
            <a:custGeom>
              <a:avLst/>
              <a:gdLst>
                <a:gd name="connsiteX0" fmla="*/ 148431 w 387211"/>
                <a:gd name="connsiteY0" fmla="*/ 703435 h 774423"/>
                <a:gd name="connsiteX1" fmla="*/ 96803 w 387211"/>
                <a:gd name="connsiteY1" fmla="*/ 342037 h 774423"/>
                <a:gd name="connsiteX2" fmla="*/ 354944 w 387211"/>
                <a:gd name="connsiteY2" fmla="*/ 96803 h 774423"/>
                <a:gd name="connsiteX3" fmla="*/ 148431 w 387211"/>
                <a:gd name="connsiteY3" fmla="*/ 703435 h 774423"/>
                <a:gd name="connsiteX4" fmla="*/ 109710 w 387211"/>
                <a:gd name="connsiteY4" fmla="*/ 354944 h 774423"/>
                <a:gd name="connsiteX5" fmla="*/ 148431 w 387211"/>
                <a:gd name="connsiteY5" fmla="*/ 690528 h 774423"/>
                <a:gd name="connsiteX6" fmla="*/ 342037 w 387211"/>
                <a:gd name="connsiteY6" fmla="*/ 135524 h 774423"/>
                <a:gd name="connsiteX7" fmla="*/ 109710 w 387211"/>
                <a:gd name="connsiteY7" fmla="*/ 354944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774423">
                  <a:moveTo>
                    <a:pt x="148431" y="703435"/>
                  </a:moveTo>
                  <a:lnTo>
                    <a:pt x="96803" y="342037"/>
                  </a:lnTo>
                  <a:lnTo>
                    <a:pt x="354944" y="96803"/>
                  </a:lnTo>
                  <a:lnTo>
                    <a:pt x="148431" y="703435"/>
                  </a:lnTo>
                  <a:close/>
                  <a:moveTo>
                    <a:pt x="109710" y="354944"/>
                  </a:moveTo>
                  <a:lnTo>
                    <a:pt x="148431" y="690528"/>
                  </a:lnTo>
                  <a:lnTo>
                    <a:pt x="342037" y="135524"/>
                  </a:lnTo>
                  <a:lnTo>
                    <a:pt x="109710" y="3549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2" name="Freeform: Shape 2941">
              <a:extLst>
                <a:ext uri="{FF2B5EF4-FFF2-40B4-BE49-F238E27FC236}">
                  <a16:creationId xmlns:a16="http://schemas.microsoft.com/office/drawing/2014/main" id="{6BAB8A87-C29F-4A81-8EC2-97791FF4BEC1}"/>
                </a:ext>
              </a:extLst>
            </p:cNvPr>
            <p:cNvSpPr/>
            <p:nvPr/>
          </p:nvSpPr>
          <p:spPr>
            <a:xfrm>
              <a:off x="8844039" y="6144942"/>
              <a:ext cx="774424" cy="774424"/>
            </a:xfrm>
            <a:custGeom>
              <a:avLst/>
              <a:gdLst>
                <a:gd name="connsiteX0" fmla="*/ 96803 w 774423"/>
                <a:gd name="connsiteY0" fmla="*/ 690528 h 774423"/>
                <a:gd name="connsiteX1" fmla="*/ 303316 w 774423"/>
                <a:gd name="connsiteY1" fmla="*/ 96803 h 774423"/>
                <a:gd name="connsiteX2" fmla="*/ 303316 w 774423"/>
                <a:gd name="connsiteY2" fmla="*/ 96803 h 774423"/>
                <a:gd name="connsiteX3" fmla="*/ 767970 w 774423"/>
                <a:gd name="connsiteY3" fmla="*/ 225874 h 774423"/>
                <a:gd name="connsiteX4" fmla="*/ 96803 w 774423"/>
                <a:gd name="connsiteY4" fmla="*/ 690528 h 774423"/>
                <a:gd name="connsiteX5" fmla="*/ 316223 w 774423"/>
                <a:gd name="connsiteY5" fmla="*/ 109710 h 774423"/>
                <a:gd name="connsiteX6" fmla="*/ 109710 w 774423"/>
                <a:gd name="connsiteY6" fmla="*/ 677621 h 774423"/>
                <a:gd name="connsiteX7" fmla="*/ 767970 w 774423"/>
                <a:gd name="connsiteY7" fmla="*/ 238781 h 774423"/>
                <a:gd name="connsiteX8" fmla="*/ 316223 w 774423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774423">
                  <a:moveTo>
                    <a:pt x="96803" y="690528"/>
                  </a:moveTo>
                  <a:lnTo>
                    <a:pt x="303316" y="96803"/>
                  </a:lnTo>
                  <a:lnTo>
                    <a:pt x="303316" y="96803"/>
                  </a:lnTo>
                  <a:lnTo>
                    <a:pt x="767970" y="225874"/>
                  </a:lnTo>
                  <a:lnTo>
                    <a:pt x="96803" y="690528"/>
                  </a:lnTo>
                  <a:close/>
                  <a:moveTo>
                    <a:pt x="316223" y="109710"/>
                  </a:moveTo>
                  <a:lnTo>
                    <a:pt x="109710" y="677621"/>
                  </a:lnTo>
                  <a:lnTo>
                    <a:pt x="767970" y="238781"/>
                  </a:lnTo>
                  <a:lnTo>
                    <a:pt x="31622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3" name="Freeform: Shape 2942">
              <a:extLst>
                <a:ext uri="{FF2B5EF4-FFF2-40B4-BE49-F238E27FC236}">
                  <a16:creationId xmlns:a16="http://schemas.microsoft.com/office/drawing/2014/main" id="{DE5B03A0-A890-434E-A113-2A50CF2DDD37}"/>
                </a:ext>
              </a:extLst>
            </p:cNvPr>
            <p:cNvSpPr/>
            <p:nvPr/>
          </p:nvSpPr>
          <p:spPr>
            <a:xfrm>
              <a:off x="9063459" y="5073656"/>
              <a:ext cx="1032565" cy="1161636"/>
            </a:xfrm>
            <a:custGeom>
              <a:avLst/>
              <a:gdLst>
                <a:gd name="connsiteX0" fmla="*/ 96803 w 1032565"/>
                <a:gd name="connsiteY0" fmla="*/ 1180997 h 1161635"/>
                <a:gd name="connsiteX1" fmla="*/ 238781 w 1032565"/>
                <a:gd name="connsiteY1" fmla="*/ 96803 h 1161635"/>
                <a:gd name="connsiteX2" fmla="*/ 961576 w 1032565"/>
                <a:gd name="connsiteY2" fmla="*/ 897041 h 1161635"/>
                <a:gd name="connsiteX3" fmla="*/ 961576 w 1032565"/>
                <a:gd name="connsiteY3" fmla="*/ 897041 h 1161635"/>
                <a:gd name="connsiteX4" fmla="*/ 96803 w 1032565"/>
                <a:gd name="connsiteY4" fmla="*/ 1180997 h 1161635"/>
                <a:gd name="connsiteX5" fmla="*/ 238781 w 1032565"/>
                <a:gd name="connsiteY5" fmla="*/ 109710 h 1161635"/>
                <a:gd name="connsiteX6" fmla="*/ 96803 w 1032565"/>
                <a:gd name="connsiteY6" fmla="*/ 1168089 h 1161635"/>
                <a:gd name="connsiteX7" fmla="*/ 935762 w 1032565"/>
                <a:gd name="connsiteY7" fmla="*/ 897041 h 1161635"/>
                <a:gd name="connsiteX8" fmla="*/ 238781 w 1032565"/>
                <a:gd name="connsiteY8" fmla="*/ 109710 h 1161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1161635">
                  <a:moveTo>
                    <a:pt x="96803" y="1180997"/>
                  </a:moveTo>
                  <a:lnTo>
                    <a:pt x="238781" y="96803"/>
                  </a:lnTo>
                  <a:lnTo>
                    <a:pt x="961576" y="897041"/>
                  </a:lnTo>
                  <a:lnTo>
                    <a:pt x="961576" y="897041"/>
                  </a:lnTo>
                  <a:lnTo>
                    <a:pt x="96803" y="1180997"/>
                  </a:lnTo>
                  <a:close/>
                  <a:moveTo>
                    <a:pt x="238781" y="109710"/>
                  </a:moveTo>
                  <a:lnTo>
                    <a:pt x="96803" y="1168089"/>
                  </a:lnTo>
                  <a:lnTo>
                    <a:pt x="935762" y="897041"/>
                  </a:lnTo>
                  <a:lnTo>
                    <a:pt x="23878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4" name="Freeform: Shape 2943">
              <a:extLst>
                <a:ext uri="{FF2B5EF4-FFF2-40B4-BE49-F238E27FC236}">
                  <a16:creationId xmlns:a16="http://schemas.microsoft.com/office/drawing/2014/main" id="{87757A55-B380-499B-A363-7B2C32173D4F}"/>
                </a:ext>
              </a:extLst>
            </p:cNvPr>
            <p:cNvSpPr/>
            <p:nvPr/>
          </p:nvSpPr>
          <p:spPr>
            <a:xfrm>
              <a:off x="9050552" y="5873894"/>
              <a:ext cx="1032565" cy="516283"/>
            </a:xfrm>
            <a:custGeom>
              <a:avLst/>
              <a:gdLst>
                <a:gd name="connsiteX0" fmla="*/ 574364 w 1032565"/>
                <a:gd name="connsiteY0" fmla="*/ 509829 h 516282"/>
                <a:gd name="connsiteX1" fmla="*/ 574364 w 1032565"/>
                <a:gd name="connsiteY1" fmla="*/ 509829 h 516282"/>
                <a:gd name="connsiteX2" fmla="*/ 96803 w 1032565"/>
                <a:gd name="connsiteY2" fmla="*/ 380759 h 516282"/>
                <a:gd name="connsiteX3" fmla="*/ 974483 w 1032565"/>
                <a:gd name="connsiteY3" fmla="*/ 96803 h 516282"/>
                <a:gd name="connsiteX4" fmla="*/ 574364 w 1032565"/>
                <a:gd name="connsiteY4" fmla="*/ 509829 h 516282"/>
                <a:gd name="connsiteX5" fmla="*/ 122617 w 1032565"/>
                <a:gd name="connsiteY5" fmla="*/ 367851 h 516282"/>
                <a:gd name="connsiteX6" fmla="*/ 574364 w 1032565"/>
                <a:gd name="connsiteY6" fmla="*/ 496922 h 516282"/>
                <a:gd name="connsiteX7" fmla="*/ 948669 w 1032565"/>
                <a:gd name="connsiteY7" fmla="*/ 96803 h 516282"/>
                <a:gd name="connsiteX8" fmla="*/ 122617 w 1032565"/>
                <a:gd name="connsiteY8" fmla="*/ 36785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516282">
                  <a:moveTo>
                    <a:pt x="574364" y="509829"/>
                  </a:moveTo>
                  <a:lnTo>
                    <a:pt x="574364" y="509829"/>
                  </a:lnTo>
                  <a:lnTo>
                    <a:pt x="96803" y="380759"/>
                  </a:lnTo>
                  <a:lnTo>
                    <a:pt x="974483" y="96803"/>
                  </a:lnTo>
                  <a:lnTo>
                    <a:pt x="574364" y="509829"/>
                  </a:lnTo>
                  <a:close/>
                  <a:moveTo>
                    <a:pt x="122617" y="367851"/>
                  </a:moveTo>
                  <a:lnTo>
                    <a:pt x="574364" y="496922"/>
                  </a:lnTo>
                  <a:lnTo>
                    <a:pt x="948669" y="96803"/>
                  </a:lnTo>
                  <a:lnTo>
                    <a:pt x="122617" y="367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5" name="Freeform: Shape 2944">
              <a:extLst>
                <a:ext uri="{FF2B5EF4-FFF2-40B4-BE49-F238E27FC236}">
                  <a16:creationId xmlns:a16="http://schemas.microsoft.com/office/drawing/2014/main" id="{67ADC304-B0FF-43C6-AA8B-B41343DEC323}"/>
                </a:ext>
              </a:extLst>
            </p:cNvPr>
            <p:cNvSpPr/>
            <p:nvPr/>
          </p:nvSpPr>
          <p:spPr>
            <a:xfrm>
              <a:off x="9192530" y="5073656"/>
              <a:ext cx="903495" cy="903494"/>
            </a:xfrm>
            <a:custGeom>
              <a:avLst/>
              <a:gdLst>
                <a:gd name="connsiteX0" fmla="*/ 819598 w 903494"/>
                <a:gd name="connsiteY0" fmla="*/ 897041 h 903494"/>
                <a:gd name="connsiteX1" fmla="*/ 819598 w 903494"/>
                <a:gd name="connsiteY1" fmla="*/ 897041 h 903494"/>
                <a:gd name="connsiteX2" fmla="*/ 96803 w 903494"/>
                <a:gd name="connsiteY2" fmla="*/ 96803 h 903494"/>
                <a:gd name="connsiteX3" fmla="*/ 897041 w 903494"/>
                <a:gd name="connsiteY3" fmla="*/ 277502 h 903494"/>
                <a:gd name="connsiteX4" fmla="*/ 897041 w 903494"/>
                <a:gd name="connsiteY4" fmla="*/ 277502 h 903494"/>
                <a:gd name="connsiteX5" fmla="*/ 819598 w 903494"/>
                <a:gd name="connsiteY5" fmla="*/ 897041 h 903494"/>
                <a:gd name="connsiteX6" fmla="*/ 109710 w 903494"/>
                <a:gd name="connsiteY6" fmla="*/ 109710 h 903494"/>
                <a:gd name="connsiteX7" fmla="*/ 806692 w 903494"/>
                <a:gd name="connsiteY7" fmla="*/ 897041 h 903494"/>
                <a:gd name="connsiteX8" fmla="*/ 884134 w 903494"/>
                <a:gd name="connsiteY8" fmla="*/ 290409 h 903494"/>
                <a:gd name="connsiteX9" fmla="*/ 109710 w 903494"/>
                <a:gd name="connsiteY9" fmla="*/ 10971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3494" h="903494">
                  <a:moveTo>
                    <a:pt x="819598" y="897041"/>
                  </a:moveTo>
                  <a:lnTo>
                    <a:pt x="819598" y="897041"/>
                  </a:lnTo>
                  <a:lnTo>
                    <a:pt x="96803" y="96803"/>
                  </a:lnTo>
                  <a:lnTo>
                    <a:pt x="897041" y="277502"/>
                  </a:lnTo>
                  <a:lnTo>
                    <a:pt x="897041" y="277502"/>
                  </a:lnTo>
                  <a:lnTo>
                    <a:pt x="819598" y="897041"/>
                  </a:lnTo>
                  <a:close/>
                  <a:moveTo>
                    <a:pt x="109710" y="109710"/>
                  </a:moveTo>
                  <a:lnTo>
                    <a:pt x="806692" y="897041"/>
                  </a:lnTo>
                  <a:lnTo>
                    <a:pt x="884134" y="290409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6" name="Freeform: Shape 2945">
              <a:extLst>
                <a:ext uri="{FF2B5EF4-FFF2-40B4-BE49-F238E27FC236}">
                  <a16:creationId xmlns:a16="http://schemas.microsoft.com/office/drawing/2014/main" id="{C3948945-8B95-451F-AAC8-D6F63BDFF5B5}"/>
                </a:ext>
              </a:extLst>
            </p:cNvPr>
            <p:cNvSpPr/>
            <p:nvPr/>
          </p:nvSpPr>
          <p:spPr>
            <a:xfrm>
              <a:off x="9515206" y="5860987"/>
              <a:ext cx="645353" cy="645353"/>
            </a:xfrm>
            <a:custGeom>
              <a:avLst/>
              <a:gdLst>
                <a:gd name="connsiteX0" fmla="*/ 613086 w 645353"/>
                <a:gd name="connsiteY0" fmla="*/ 613086 h 645353"/>
                <a:gd name="connsiteX1" fmla="*/ 613086 w 645353"/>
                <a:gd name="connsiteY1" fmla="*/ 613086 h 645353"/>
                <a:gd name="connsiteX2" fmla="*/ 96803 w 645353"/>
                <a:gd name="connsiteY2" fmla="*/ 509829 h 645353"/>
                <a:gd name="connsiteX3" fmla="*/ 496922 w 645353"/>
                <a:gd name="connsiteY3" fmla="*/ 96803 h 645353"/>
                <a:gd name="connsiteX4" fmla="*/ 496922 w 645353"/>
                <a:gd name="connsiteY4" fmla="*/ 96803 h 645353"/>
                <a:gd name="connsiteX5" fmla="*/ 613086 w 645353"/>
                <a:gd name="connsiteY5" fmla="*/ 613086 h 645353"/>
                <a:gd name="connsiteX6" fmla="*/ 109710 w 645353"/>
                <a:gd name="connsiteY6" fmla="*/ 509829 h 645353"/>
                <a:gd name="connsiteX7" fmla="*/ 600179 w 645353"/>
                <a:gd name="connsiteY7" fmla="*/ 600179 h 645353"/>
                <a:gd name="connsiteX8" fmla="*/ 484015 w 645353"/>
                <a:gd name="connsiteY8" fmla="*/ 109710 h 645353"/>
                <a:gd name="connsiteX9" fmla="*/ 109710 w 645353"/>
                <a:gd name="connsiteY9" fmla="*/ 509829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645353">
                  <a:moveTo>
                    <a:pt x="613086" y="613086"/>
                  </a:moveTo>
                  <a:lnTo>
                    <a:pt x="613086" y="613086"/>
                  </a:lnTo>
                  <a:lnTo>
                    <a:pt x="96803" y="509829"/>
                  </a:lnTo>
                  <a:lnTo>
                    <a:pt x="496922" y="96803"/>
                  </a:lnTo>
                  <a:lnTo>
                    <a:pt x="496922" y="96803"/>
                  </a:lnTo>
                  <a:lnTo>
                    <a:pt x="613086" y="613086"/>
                  </a:lnTo>
                  <a:close/>
                  <a:moveTo>
                    <a:pt x="109710" y="509829"/>
                  </a:moveTo>
                  <a:lnTo>
                    <a:pt x="600179" y="600179"/>
                  </a:lnTo>
                  <a:lnTo>
                    <a:pt x="484015" y="109710"/>
                  </a:lnTo>
                  <a:lnTo>
                    <a:pt x="109710" y="5098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7" name="Freeform: Shape 2946">
              <a:extLst>
                <a:ext uri="{FF2B5EF4-FFF2-40B4-BE49-F238E27FC236}">
                  <a16:creationId xmlns:a16="http://schemas.microsoft.com/office/drawing/2014/main" id="{CA1BA9D3-F904-419C-BC62-054CE305501E}"/>
                </a:ext>
              </a:extLst>
            </p:cNvPr>
            <p:cNvSpPr/>
            <p:nvPr/>
          </p:nvSpPr>
          <p:spPr>
            <a:xfrm>
              <a:off x="9915325" y="5873894"/>
              <a:ext cx="387212" cy="645353"/>
            </a:xfrm>
            <a:custGeom>
              <a:avLst/>
              <a:gdLst>
                <a:gd name="connsiteX0" fmla="*/ 212967 w 387211"/>
                <a:gd name="connsiteY0" fmla="*/ 613086 h 645353"/>
                <a:gd name="connsiteX1" fmla="*/ 212967 w 387211"/>
                <a:gd name="connsiteY1" fmla="*/ 613086 h 645353"/>
                <a:gd name="connsiteX2" fmla="*/ 96803 w 387211"/>
                <a:gd name="connsiteY2" fmla="*/ 96803 h 645353"/>
                <a:gd name="connsiteX3" fmla="*/ 393666 w 387211"/>
                <a:gd name="connsiteY3" fmla="*/ 290409 h 645353"/>
                <a:gd name="connsiteX4" fmla="*/ 212967 w 387211"/>
                <a:gd name="connsiteY4" fmla="*/ 613086 h 645353"/>
                <a:gd name="connsiteX5" fmla="*/ 96803 w 387211"/>
                <a:gd name="connsiteY5" fmla="*/ 96803 h 645353"/>
                <a:gd name="connsiteX6" fmla="*/ 212967 w 387211"/>
                <a:gd name="connsiteY6" fmla="*/ 587271 h 645353"/>
                <a:gd name="connsiteX7" fmla="*/ 380759 w 387211"/>
                <a:gd name="connsiteY7" fmla="*/ 277502 h 645353"/>
                <a:gd name="connsiteX8" fmla="*/ 96803 w 387211"/>
                <a:gd name="connsiteY8" fmla="*/ 9680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645353">
                  <a:moveTo>
                    <a:pt x="212967" y="613086"/>
                  </a:moveTo>
                  <a:lnTo>
                    <a:pt x="212967" y="613086"/>
                  </a:lnTo>
                  <a:lnTo>
                    <a:pt x="96803" y="96803"/>
                  </a:lnTo>
                  <a:lnTo>
                    <a:pt x="393666" y="290409"/>
                  </a:lnTo>
                  <a:lnTo>
                    <a:pt x="212967" y="613086"/>
                  </a:lnTo>
                  <a:close/>
                  <a:moveTo>
                    <a:pt x="96803" y="96803"/>
                  </a:moveTo>
                  <a:lnTo>
                    <a:pt x="212967" y="587271"/>
                  </a:lnTo>
                  <a:lnTo>
                    <a:pt x="380759" y="277502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8" name="Freeform: Shape 2947">
              <a:extLst>
                <a:ext uri="{FF2B5EF4-FFF2-40B4-BE49-F238E27FC236}">
                  <a16:creationId xmlns:a16="http://schemas.microsoft.com/office/drawing/2014/main" id="{6D71688F-F65F-462B-8EA7-895CF4C94912}"/>
                </a:ext>
              </a:extLst>
            </p:cNvPr>
            <p:cNvSpPr/>
            <p:nvPr/>
          </p:nvSpPr>
          <p:spPr>
            <a:xfrm>
              <a:off x="9915325" y="5254355"/>
              <a:ext cx="516283" cy="774424"/>
            </a:xfrm>
            <a:custGeom>
              <a:avLst/>
              <a:gdLst>
                <a:gd name="connsiteX0" fmla="*/ 96803 w 516282"/>
                <a:gd name="connsiteY0" fmla="*/ 729249 h 774423"/>
                <a:gd name="connsiteX1" fmla="*/ 174245 w 516282"/>
                <a:gd name="connsiteY1" fmla="*/ 96803 h 774423"/>
                <a:gd name="connsiteX2" fmla="*/ 174245 w 516282"/>
                <a:gd name="connsiteY2" fmla="*/ 96803 h 774423"/>
                <a:gd name="connsiteX3" fmla="*/ 445294 w 516282"/>
                <a:gd name="connsiteY3" fmla="*/ 264595 h 774423"/>
                <a:gd name="connsiteX4" fmla="*/ 445294 w 516282"/>
                <a:gd name="connsiteY4" fmla="*/ 264595 h 774423"/>
                <a:gd name="connsiteX5" fmla="*/ 96803 w 516282"/>
                <a:gd name="connsiteY5" fmla="*/ 729249 h 774423"/>
                <a:gd name="connsiteX6" fmla="*/ 174245 w 516282"/>
                <a:gd name="connsiteY6" fmla="*/ 96803 h 774423"/>
                <a:gd name="connsiteX7" fmla="*/ 96803 w 516282"/>
                <a:gd name="connsiteY7" fmla="*/ 703435 h 774423"/>
                <a:gd name="connsiteX8" fmla="*/ 432386 w 516282"/>
                <a:gd name="connsiteY8" fmla="*/ 251687 h 774423"/>
                <a:gd name="connsiteX9" fmla="*/ 174245 w 516282"/>
                <a:gd name="connsiteY9" fmla="*/ 96803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16282" h="774423">
                  <a:moveTo>
                    <a:pt x="96803" y="729249"/>
                  </a:moveTo>
                  <a:lnTo>
                    <a:pt x="174245" y="96803"/>
                  </a:lnTo>
                  <a:lnTo>
                    <a:pt x="174245" y="96803"/>
                  </a:lnTo>
                  <a:lnTo>
                    <a:pt x="445294" y="264595"/>
                  </a:lnTo>
                  <a:lnTo>
                    <a:pt x="445294" y="264595"/>
                  </a:lnTo>
                  <a:lnTo>
                    <a:pt x="96803" y="729249"/>
                  </a:lnTo>
                  <a:close/>
                  <a:moveTo>
                    <a:pt x="174245" y="96803"/>
                  </a:moveTo>
                  <a:lnTo>
                    <a:pt x="96803" y="703435"/>
                  </a:lnTo>
                  <a:lnTo>
                    <a:pt x="432386" y="251687"/>
                  </a:lnTo>
                  <a:lnTo>
                    <a:pt x="174245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49" name="Freeform: Shape 2948">
              <a:extLst>
                <a:ext uri="{FF2B5EF4-FFF2-40B4-BE49-F238E27FC236}">
                  <a16:creationId xmlns:a16="http://schemas.microsoft.com/office/drawing/2014/main" id="{CAE77367-AC21-4681-8E1F-0D9E6BD099E3}"/>
                </a:ext>
              </a:extLst>
            </p:cNvPr>
            <p:cNvSpPr/>
            <p:nvPr/>
          </p:nvSpPr>
          <p:spPr>
            <a:xfrm>
              <a:off x="9902418" y="5822265"/>
              <a:ext cx="645353" cy="387212"/>
            </a:xfrm>
            <a:custGeom>
              <a:avLst/>
              <a:gdLst>
                <a:gd name="connsiteX0" fmla="*/ 393666 w 645353"/>
                <a:gd name="connsiteY0" fmla="*/ 342037 h 387211"/>
                <a:gd name="connsiteX1" fmla="*/ 393666 w 645353"/>
                <a:gd name="connsiteY1" fmla="*/ 342037 h 387211"/>
                <a:gd name="connsiteX2" fmla="*/ 96803 w 645353"/>
                <a:gd name="connsiteY2" fmla="*/ 148431 h 387211"/>
                <a:gd name="connsiteX3" fmla="*/ 625992 w 645353"/>
                <a:gd name="connsiteY3" fmla="*/ 96803 h 387211"/>
                <a:gd name="connsiteX4" fmla="*/ 393666 w 645353"/>
                <a:gd name="connsiteY4" fmla="*/ 342037 h 387211"/>
                <a:gd name="connsiteX5" fmla="*/ 122617 w 645353"/>
                <a:gd name="connsiteY5" fmla="*/ 148431 h 387211"/>
                <a:gd name="connsiteX6" fmla="*/ 406573 w 645353"/>
                <a:gd name="connsiteY6" fmla="*/ 329130 h 387211"/>
                <a:gd name="connsiteX7" fmla="*/ 613086 w 645353"/>
                <a:gd name="connsiteY7" fmla="*/ 96803 h 387211"/>
                <a:gd name="connsiteX8" fmla="*/ 122617 w 645353"/>
                <a:gd name="connsiteY8" fmla="*/ 14843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393666" y="342037"/>
                  </a:moveTo>
                  <a:lnTo>
                    <a:pt x="393666" y="342037"/>
                  </a:lnTo>
                  <a:lnTo>
                    <a:pt x="96803" y="148431"/>
                  </a:lnTo>
                  <a:lnTo>
                    <a:pt x="625992" y="96803"/>
                  </a:lnTo>
                  <a:lnTo>
                    <a:pt x="393666" y="342037"/>
                  </a:lnTo>
                  <a:close/>
                  <a:moveTo>
                    <a:pt x="122617" y="148431"/>
                  </a:moveTo>
                  <a:lnTo>
                    <a:pt x="406573" y="329130"/>
                  </a:lnTo>
                  <a:lnTo>
                    <a:pt x="613086" y="96803"/>
                  </a:lnTo>
                  <a:lnTo>
                    <a:pt x="122617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0" name="Freeform: Shape 2949">
              <a:extLst>
                <a:ext uri="{FF2B5EF4-FFF2-40B4-BE49-F238E27FC236}">
                  <a16:creationId xmlns:a16="http://schemas.microsoft.com/office/drawing/2014/main" id="{1AA06106-776A-4D2B-B6C4-4658F9107EE5}"/>
                </a:ext>
              </a:extLst>
            </p:cNvPr>
            <p:cNvSpPr/>
            <p:nvPr/>
          </p:nvSpPr>
          <p:spPr>
            <a:xfrm>
              <a:off x="9902418" y="5409239"/>
              <a:ext cx="645353" cy="645353"/>
            </a:xfrm>
            <a:custGeom>
              <a:avLst/>
              <a:gdLst>
                <a:gd name="connsiteX0" fmla="*/ 96803 w 645353"/>
                <a:gd name="connsiteY0" fmla="*/ 561458 h 645353"/>
                <a:gd name="connsiteX1" fmla="*/ 458201 w 645353"/>
                <a:gd name="connsiteY1" fmla="*/ 96803 h 645353"/>
                <a:gd name="connsiteX2" fmla="*/ 613086 w 645353"/>
                <a:gd name="connsiteY2" fmla="*/ 509829 h 645353"/>
                <a:gd name="connsiteX3" fmla="*/ 96803 w 645353"/>
                <a:gd name="connsiteY3" fmla="*/ 561458 h 645353"/>
                <a:gd name="connsiteX4" fmla="*/ 458201 w 645353"/>
                <a:gd name="connsiteY4" fmla="*/ 109710 h 645353"/>
                <a:gd name="connsiteX5" fmla="*/ 109710 w 645353"/>
                <a:gd name="connsiteY5" fmla="*/ 561458 h 645353"/>
                <a:gd name="connsiteX6" fmla="*/ 600179 w 645353"/>
                <a:gd name="connsiteY6" fmla="*/ 509829 h 645353"/>
                <a:gd name="connsiteX7" fmla="*/ 458201 w 645353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96803" y="561458"/>
                  </a:moveTo>
                  <a:lnTo>
                    <a:pt x="458201" y="96803"/>
                  </a:lnTo>
                  <a:lnTo>
                    <a:pt x="613086" y="509829"/>
                  </a:lnTo>
                  <a:lnTo>
                    <a:pt x="96803" y="561458"/>
                  </a:lnTo>
                  <a:close/>
                  <a:moveTo>
                    <a:pt x="458201" y="109710"/>
                  </a:moveTo>
                  <a:lnTo>
                    <a:pt x="109710" y="561458"/>
                  </a:lnTo>
                  <a:lnTo>
                    <a:pt x="600179" y="509829"/>
                  </a:lnTo>
                  <a:lnTo>
                    <a:pt x="45820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1" name="Freeform: Shape 2950">
              <a:extLst>
                <a:ext uri="{FF2B5EF4-FFF2-40B4-BE49-F238E27FC236}">
                  <a16:creationId xmlns:a16="http://schemas.microsoft.com/office/drawing/2014/main" id="{95B61E0A-51C2-4994-BB2A-0DFD46F78F4B}"/>
                </a:ext>
              </a:extLst>
            </p:cNvPr>
            <p:cNvSpPr/>
            <p:nvPr/>
          </p:nvSpPr>
          <p:spPr>
            <a:xfrm>
              <a:off x="9308694" y="6274013"/>
              <a:ext cx="903495" cy="903494"/>
            </a:xfrm>
            <a:custGeom>
              <a:avLst/>
              <a:gdLst>
                <a:gd name="connsiteX0" fmla="*/ 96803 w 903494"/>
                <a:gd name="connsiteY0" fmla="*/ 806692 h 903494"/>
                <a:gd name="connsiteX1" fmla="*/ 96803 w 903494"/>
                <a:gd name="connsiteY1" fmla="*/ 806692 h 903494"/>
                <a:gd name="connsiteX2" fmla="*/ 316223 w 903494"/>
                <a:gd name="connsiteY2" fmla="*/ 96803 h 903494"/>
                <a:gd name="connsiteX3" fmla="*/ 316223 w 903494"/>
                <a:gd name="connsiteY3" fmla="*/ 96803 h 903494"/>
                <a:gd name="connsiteX4" fmla="*/ 909948 w 903494"/>
                <a:gd name="connsiteY4" fmla="*/ 458201 h 903494"/>
                <a:gd name="connsiteX5" fmla="*/ 96803 w 903494"/>
                <a:gd name="connsiteY5" fmla="*/ 806692 h 903494"/>
                <a:gd name="connsiteX6" fmla="*/ 316223 w 903494"/>
                <a:gd name="connsiteY6" fmla="*/ 109710 h 903494"/>
                <a:gd name="connsiteX7" fmla="*/ 109710 w 903494"/>
                <a:gd name="connsiteY7" fmla="*/ 793785 h 903494"/>
                <a:gd name="connsiteX8" fmla="*/ 909948 w 903494"/>
                <a:gd name="connsiteY8" fmla="*/ 471108 h 903494"/>
                <a:gd name="connsiteX9" fmla="*/ 316223 w 903494"/>
                <a:gd name="connsiteY9" fmla="*/ 10971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3494" h="903494">
                  <a:moveTo>
                    <a:pt x="96803" y="806692"/>
                  </a:moveTo>
                  <a:lnTo>
                    <a:pt x="96803" y="806692"/>
                  </a:lnTo>
                  <a:lnTo>
                    <a:pt x="316223" y="96803"/>
                  </a:lnTo>
                  <a:lnTo>
                    <a:pt x="316223" y="96803"/>
                  </a:lnTo>
                  <a:lnTo>
                    <a:pt x="909948" y="458201"/>
                  </a:lnTo>
                  <a:lnTo>
                    <a:pt x="96803" y="806692"/>
                  </a:lnTo>
                  <a:close/>
                  <a:moveTo>
                    <a:pt x="316223" y="109710"/>
                  </a:moveTo>
                  <a:lnTo>
                    <a:pt x="109710" y="793785"/>
                  </a:lnTo>
                  <a:lnTo>
                    <a:pt x="909948" y="471108"/>
                  </a:lnTo>
                  <a:lnTo>
                    <a:pt x="31622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2" name="Freeform: Shape 2951">
              <a:extLst>
                <a:ext uri="{FF2B5EF4-FFF2-40B4-BE49-F238E27FC236}">
                  <a16:creationId xmlns:a16="http://schemas.microsoft.com/office/drawing/2014/main" id="{14F3B632-7935-46CF-8B4C-AD632FC56C33}"/>
                </a:ext>
              </a:extLst>
            </p:cNvPr>
            <p:cNvSpPr/>
            <p:nvPr/>
          </p:nvSpPr>
          <p:spPr>
            <a:xfrm>
              <a:off x="9295787" y="6970994"/>
              <a:ext cx="645353" cy="516283"/>
            </a:xfrm>
            <a:custGeom>
              <a:avLst/>
              <a:gdLst>
                <a:gd name="connsiteX0" fmla="*/ 561457 w 645353"/>
                <a:gd name="connsiteY0" fmla="*/ 535643 h 516282"/>
                <a:gd name="connsiteX1" fmla="*/ 561457 w 645353"/>
                <a:gd name="connsiteY1" fmla="*/ 535643 h 516282"/>
                <a:gd name="connsiteX2" fmla="*/ 96803 w 645353"/>
                <a:gd name="connsiteY2" fmla="*/ 96803 h 516282"/>
                <a:gd name="connsiteX3" fmla="*/ 651806 w 645353"/>
                <a:gd name="connsiteY3" fmla="*/ 303316 h 516282"/>
                <a:gd name="connsiteX4" fmla="*/ 651806 w 645353"/>
                <a:gd name="connsiteY4" fmla="*/ 303316 h 516282"/>
                <a:gd name="connsiteX5" fmla="*/ 561457 w 645353"/>
                <a:gd name="connsiteY5" fmla="*/ 535643 h 516282"/>
                <a:gd name="connsiteX6" fmla="*/ 122617 w 645353"/>
                <a:gd name="connsiteY6" fmla="*/ 109710 h 516282"/>
                <a:gd name="connsiteX7" fmla="*/ 561457 w 645353"/>
                <a:gd name="connsiteY7" fmla="*/ 522736 h 516282"/>
                <a:gd name="connsiteX8" fmla="*/ 638899 w 645353"/>
                <a:gd name="connsiteY8" fmla="*/ 303316 h 516282"/>
                <a:gd name="connsiteX9" fmla="*/ 122617 w 645353"/>
                <a:gd name="connsiteY9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516282">
                  <a:moveTo>
                    <a:pt x="561457" y="535643"/>
                  </a:moveTo>
                  <a:lnTo>
                    <a:pt x="561457" y="535643"/>
                  </a:lnTo>
                  <a:lnTo>
                    <a:pt x="96803" y="96803"/>
                  </a:lnTo>
                  <a:lnTo>
                    <a:pt x="651806" y="303316"/>
                  </a:lnTo>
                  <a:lnTo>
                    <a:pt x="651806" y="303316"/>
                  </a:lnTo>
                  <a:lnTo>
                    <a:pt x="561457" y="535643"/>
                  </a:lnTo>
                  <a:close/>
                  <a:moveTo>
                    <a:pt x="122617" y="109710"/>
                  </a:moveTo>
                  <a:lnTo>
                    <a:pt x="561457" y="522736"/>
                  </a:lnTo>
                  <a:lnTo>
                    <a:pt x="638899" y="303316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3" name="Freeform: Shape 2952">
              <a:extLst>
                <a:ext uri="{FF2B5EF4-FFF2-40B4-BE49-F238E27FC236}">
                  <a16:creationId xmlns:a16="http://schemas.microsoft.com/office/drawing/2014/main" id="{DA2FDBF1-553F-4B60-9F12-763E9DFFFE40}"/>
                </a:ext>
              </a:extLst>
            </p:cNvPr>
            <p:cNvSpPr/>
            <p:nvPr/>
          </p:nvSpPr>
          <p:spPr>
            <a:xfrm>
              <a:off x="9282879" y="6970994"/>
              <a:ext cx="903495" cy="387212"/>
            </a:xfrm>
            <a:custGeom>
              <a:avLst/>
              <a:gdLst>
                <a:gd name="connsiteX0" fmla="*/ 651807 w 903494"/>
                <a:gd name="connsiteY0" fmla="*/ 303316 h 387211"/>
                <a:gd name="connsiteX1" fmla="*/ 651807 w 903494"/>
                <a:gd name="connsiteY1" fmla="*/ 303316 h 387211"/>
                <a:gd name="connsiteX2" fmla="*/ 96803 w 903494"/>
                <a:gd name="connsiteY2" fmla="*/ 96803 h 387211"/>
                <a:gd name="connsiteX3" fmla="*/ 871227 w 903494"/>
                <a:gd name="connsiteY3" fmla="*/ 122617 h 387211"/>
                <a:gd name="connsiteX4" fmla="*/ 651807 w 903494"/>
                <a:gd name="connsiteY4" fmla="*/ 303316 h 387211"/>
                <a:gd name="connsiteX5" fmla="*/ 148431 w 903494"/>
                <a:gd name="connsiteY5" fmla="*/ 109710 h 387211"/>
                <a:gd name="connsiteX6" fmla="*/ 664714 w 903494"/>
                <a:gd name="connsiteY6" fmla="*/ 303316 h 387211"/>
                <a:gd name="connsiteX7" fmla="*/ 871227 w 903494"/>
                <a:gd name="connsiteY7" fmla="*/ 135524 h 387211"/>
                <a:gd name="connsiteX8" fmla="*/ 148431 w 903494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387211">
                  <a:moveTo>
                    <a:pt x="651807" y="303316"/>
                  </a:moveTo>
                  <a:lnTo>
                    <a:pt x="651807" y="303316"/>
                  </a:lnTo>
                  <a:lnTo>
                    <a:pt x="96803" y="96803"/>
                  </a:lnTo>
                  <a:lnTo>
                    <a:pt x="871227" y="122617"/>
                  </a:lnTo>
                  <a:lnTo>
                    <a:pt x="651807" y="303316"/>
                  </a:lnTo>
                  <a:close/>
                  <a:moveTo>
                    <a:pt x="148431" y="109710"/>
                  </a:moveTo>
                  <a:lnTo>
                    <a:pt x="664714" y="303316"/>
                  </a:lnTo>
                  <a:lnTo>
                    <a:pt x="871227" y="135524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4" name="Freeform: Shape 2953">
              <a:extLst>
                <a:ext uri="{FF2B5EF4-FFF2-40B4-BE49-F238E27FC236}">
                  <a16:creationId xmlns:a16="http://schemas.microsoft.com/office/drawing/2014/main" id="{DD871A44-D8CA-487A-A3AD-1C4699CDEE35}"/>
                </a:ext>
              </a:extLst>
            </p:cNvPr>
            <p:cNvSpPr/>
            <p:nvPr/>
          </p:nvSpPr>
          <p:spPr>
            <a:xfrm>
              <a:off x="9295787" y="6648318"/>
              <a:ext cx="903495" cy="516283"/>
            </a:xfrm>
            <a:custGeom>
              <a:avLst/>
              <a:gdLst>
                <a:gd name="connsiteX0" fmla="*/ 858319 w 903494"/>
                <a:gd name="connsiteY0" fmla="*/ 458201 h 516282"/>
                <a:gd name="connsiteX1" fmla="*/ 858319 w 903494"/>
                <a:gd name="connsiteY1" fmla="*/ 458201 h 516282"/>
                <a:gd name="connsiteX2" fmla="*/ 96803 w 903494"/>
                <a:gd name="connsiteY2" fmla="*/ 432386 h 516282"/>
                <a:gd name="connsiteX3" fmla="*/ 922854 w 903494"/>
                <a:gd name="connsiteY3" fmla="*/ 96803 h 516282"/>
                <a:gd name="connsiteX4" fmla="*/ 858319 w 903494"/>
                <a:gd name="connsiteY4" fmla="*/ 458201 h 516282"/>
                <a:gd name="connsiteX5" fmla="*/ 122617 w 903494"/>
                <a:gd name="connsiteY5" fmla="*/ 419480 h 516282"/>
                <a:gd name="connsiteX6" fmla="*/ 858319 w 903494"/>
                <a:gd name="connsiteY6" fmla="*/ 445294 h 516282"/>
                <a:gd name="connsiteX7" fmla="*/ 909948 w 903494"/>
                <a:gd name="connsiteY7" fmla="*/ 96803 h 516282"/>
                <a:gd name="connsiteX8" fmla="*/ 122617 w 903494"/>
                <a:gd name="connsiteY8" fmla="*/ 41948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516282">
                  <a:moveTo>
                    <a:pt x="858319" y="458201"/>
                  </a:moveTo>
                  <a:lnTo>
                    <a:pt x="858319" y="458201"/>
                  </a:lnTo>
                  <a:lnTo>
                    <a:pt x="96803" y="432386"/>
                  </a:lnTo>
                  <a:lnTo>
                    <a:pt x="922854" y="96803"/>
                  </a:lnTo>
                  <a:lnTo>
                    <a:pt x="858319" y="458201"/>
                  </a:lnTo>
                  <a:close/>
                  <a:moveTo>
                    <a:pt x="122617" y="419480"/>
                  </a:moveTo>
                  <a:lnTo>
                    <a:pt x="858319" y="445294"/>
                  </a:lnTo>
                  <a:lnTo>
                    <a:pt x="909948" y="96803"/>
                  </a:lnTo>
                  <a:lnTo>
                    <a:pt x="122617" y="419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5" name="Freeform: Shape 2954">
              <a:extLst>
                <a:ext uri="{FF2B5EF4-FFF2-40B4-BE49-F238E27FC236}">
                  <a16:creationId xmlns:a16="http://schemas.microsoft.com/office/drawing/2014/main" id="{0A1033DE-5D23-4FD7-BF12-A3F3E6B0255D}"/>
                </a:ext>
              </a:extLst>
            </p:cNvPr>
            <p:cNvSpPr/>
            <p:nvPr/>
          </p:nvSpPr>
          <p:spPr>
            <a:xfrm>
              <a:off x="8753689" y="6958087"/>
              <a:ext cx="774424" cy="258141"/>
            </a:xfrm>
            <a:custGeom>
              <a:avLst/>
              <a:gdLst>
                <a:gd name="connsiteX0" fmla="*/ 96803 w 774423"/>
                <a:gd name="connsiteY0" fmla="*/ 251688 h 258141"/>
                <a:gd name="connsiteX1" fmla="*/ 122618 w 774423"/>
                <a:gd name="connsiteY1" fmla="*/ 96803 h 258141"/>
                <a:gd name="connsiteX2" fmla="*/ 690528 w 774423"/>
                <a:gd name="connsiteY2" fmla="*/ 109710 h 258141"/>
                <a:gd name="connsiteX3" fmla="*/ 96803 w 774423"/>
                <a:gd name="connsiteY3" fmla="*/ 251688 h 258141"/>
                <a:gd name="connsiteX4" fmla="*/ 122618 w 774423"/>
                <a:gd name="connsiteY4" fmla="*/ 109710 h 258141"/>
                <a:gd name="connsiteX5" fmla="*/ 109710 w 774423"/>
                <a:gd name="connsiteY5" fmla="*/ 238781 h 258141"/>
                <a:gd name="connsiteX6" fmla="*/ 638900 w 774423"/>
                <a:gd name="connsiteY6" fmla="*/ 109710 h 258141"/>
                <a:gd name="connsiteX7" fmla="*/ 122618 w 774423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258141">
                  <a:moveTo>
                    <a:pt x="96803" y="251688"/>
                  </a:moveTo>
                  <a:lnTo>
                    <a:pt x="122618" y="96803"/>
                  </a:lnTo>
                  <a:lnTo>
                    <a:pt x="690528" y="109710"/>
                  </a:lnTo>
                  <a:lnTo>
                    <a:pt x="96803" y="251688"/>
                  </a:lnTo>
                  <a:close/>
                  <a:moveTo>
                    <a:pt x="122618" y="109710"/>
                  </a:moveTo>
                  <a:lnTo>
                    <a:pt x="109710" y="238781"/>
                  </a:lnTo>
                  <a:lnTo>
                    <a:pt x="638900" y="109710"/>
                  </a:lnTo>
                  <a:lnTo>
                    <a:pt x="12261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6" name="Freeform: Shape 2955">
              <a:extLst>
                <a:ext uri="{FF2B5EF4-FFF2-40B4-BE49-F238E27FC236}">
                  <a16:creationId xmlns:a16="http://schemas.microsoft.com/office/drawing/2014/main" id="{5B8795E1-9FF0-4A14-A048-1E6B22D1B6A1}"/>
                </a:ext>
              </a:extLst>
            </p:cNvPr>
            <p:cNvSpPr/>
            <p:nvPr/>
          </p:nvSpPr>
          <p:spPr>
            <a:xfrm>
              <a:off x="8740783" y="6983901"/>
              <a:ext cx="645353" cy="516283"/>
            </a:xfrm>
            <a:custGeom>
              <a:avLst/>
              <a:gdLst>
                <a:gd name="connsiteX0" fmla="*/ 225874 w 645353"/>
                <a:gd name="connsiteY0" fmla="*/ 471108 h 516282"/>
                <a:gd name="connsiteX1" fmla="*/ 96803 w 645353"/>
                <a:gd name="connsiteY1" fmla="*/ 225874 h 516282"/>
                <a:gd name="connsiteX2" fmla="*/ 96803 w 645353"/>
                <a:gd name="connsiteY2" fmla="*/ 225874 h 516282"/>
                <a:gd name="connsiteX3" fmla="*/ 664714 w 645353"/>
                <a:gd name="connsiteY3" fmla="*/ 96803 h 516282"/>
                <a:gd name="connsiteX4" fmla="*/ 225874 w 645353"/>
                <a:gd name="connsiteY4" fmla="*/ 471108 h 516282"/>
                <a:gd name="connsiteX5" fmla="*/ 109710 w 645353"/>
                <a:gd name="connsiteY5" fmla="*/ 225874 h 516282"/>
                <a:gd name="connsiteX6" fmla="*/ 225874 w 645353"/>
                <a:gd name="connsiteY6" fmla="*/ 458201 h 516282"/>
                <a:gd name="connsiteX7" fmla="*/ 651807 w 645353"/>
                <a:gd name="connsiteY7" fmla="*/ 96803 h 516282"/>
                <a:gd name="connsiteX8" fmla="*/ 109710 w 645353"/>
                <a:gd name="connsiteY8" fmla="*/ 22587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516282">
                  <a:moveTo>
                    <a:pt x="225874" y="471108"/>
                  </a:moveTo>
                  <a:lnTo>
                    <a:pt x="96803" y="225874"/>
                  </a:lnTo>
                  <a:lnTo>
                    <a:pt x="96803" y="225874"/>
                  </a:lnTo>
                  <a:lnTo>
                    <a:pt x="664714" y="96803"/>
                  </a:lnTo>
                  <a:lnTo>
                    <a:pt x="225874" y="471108"/>
                  </a:lnTo>
                  <a:close/>
                  <a:moveTo>
                    <a:pt x="109710" y="225874"/>
                  </a:moveTo>
                  <a:lnTo>
                    <a:pt x="225874" y="458201"/>
                  </a:lnTo>
                  <a:lnTo>
                    <a:pt x="651807" y="96803"/>
                  </a:lnTo>
                  <a:lnTo>
                    <a:pt x="109710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7" name="Freeform: Shape 2956">
              <a:extLst>
                <a:ext uri="{FF2B5EF4-FFF2-40B4-BE49-F238E27FC236}">
                  <a16:creationId xmlns:a16="http://schemas.microsoft.com/office/drawing/2014/main" id="{13FC1FEA-794C-409C-88CD-81DFA007D6C0}"/>
                </a:ext>
              </a:extLst>
            </p:cNvPr>
            <p:cNvSpPr/>
            <p:nvPr/>
          </p:nvSpPr>
          <p:spPr>
            <a:xfrm>
              <a:off x="8766596" y="6712853"/>
              <a:ext cx="645353" cy="387212"/>
            </a:xfrm>
            <a:custGeom>
              <a:avLst/>
              <a:gdLst>
                <a:gd name="connsiteX0" fmla="*/ 651807 w 645353"/>
                <a:gd name="connsiteY0" fmla="*/ 354944 h 387211"/>
                <a:gd name="connsiteX1" fmla="*/ 96803 w 645353"/>
                <a:gd name="connsiteY1" fmla="*/ 342037 h 387211"/>
                <a:gd name="connsiteX2" fmla="*/ 187153 w 645353"/>
                <a:gd name="connsiteY2" fmla="*/ 96803 h 387211"/>
                <a:gd name="connsiteX3" fmla="*/ 187153 w 645353"/>
                <a:gd name="connsiteY3" fmla="*/ 96803 h 387211"/>
                <a:gd name="connsiteX4" fmla="*/ 651807 w 645353"/>
                <a:gd name="connsiteY4" fmla="*/ 354944 h 387211"/>
                <a:gd name="connsiteX5" fmla="*/ 109711 w 645353"/>
                <a:gd name="connsiteY5" fmla="*/ 342037 h 387211"/>
                <a:gd name="connsiteX6" fmla="*/ 625993 w 645353"/>
                <a:gd name="connsiteY6" fmla="*/ 354944 h 387211"/>
                <a:gd name="connsiteX7" fmla="*/ 187153 w 645353"/>
                <a:gd name="connsiteY7" fmla="*/ 122617 h 387211"/>
                <a:gd name="connsiteX8" fmla="*/ 109711 w 645353"/>
                <a:gd name="connsiteY8" fmla="*/ 34203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651807" y="354944"/>
                  </a:moveTo>
                  <a:lnTo>
                    <a:pt x="96803" y="342037"/>
                  </a:lnTo>
                  <a:lnTo>
                    <a:pt x="187153" y="96803"/>
                  </a:lnTo>
                  <a:lnTo>
                    <a:pt x="187153" y="96803"/>
                  </a:lnTo>
                  <a:lnTo>
                    <a:pt x="651807" y="354944"/>
                  </a:lnTo>
                  <a:close/>
                  <a:moveTo>
                    <a:pt x="109711" y="342037"/>
                  </a:moveTo>
                  <a:lnTo>
                    <a:pt x="625993" y="354944"/>
                  </a:lnTo>
                  <a:lnTo>
                    <a:pt x="187153" y="122617"/>
                  </a:lnTo>
                  <a:lnTo>
                    <a:pt x="109711" y="3420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8" name="Freeform: Shape 2957">
              <a:extLst>
                <a:ext uri="{FF2B5EF4-FFF2-40B4-BE49-F238E27FC236}">
                  <a16:creationId xmlns:a16="http://schemas.microsoft.com/office/drawing/2014/main" id="{7105D150-77C2-4F8A-8C5E-BAEC1720E138}"/>
                </a:ext>
              </a:extLst>
            </p:cNvPr>
            <p:cNvSpPr/>
            <p:nvPr/>
          </p:nvSpPr>
          <p:spPr>
            <a:xfrm>
              <a:off x="8844039" y="6286920"/>
              <a:ext cx="774424" cy="774424"/>
            </a:xfrm>
            <a:custGeom>
              <a:avLst/>
              <a:gdLst>
                <a:gd name="connsiteX0" fmla="*/ 561457 w 774423"/>
                <a:gd name="connsiteY0" fmla="*/ 793784 h 774423"/>
                <a:gd name="connsiteX1" fmla="*/ 561457 w 774423"/>
                <a:gd name="connsiteY1" fmla="*/ 793784 h 774423"/>
                <a:gd name="connsiteX2" fmla="*/ 96803 w 774423"/>
                <a:gd name="connsiteY2" fmla="*/ 548550 h 774423"/>
                <a:gd name="connsiteX3" fmla="*/ 96803 w 774423"/>
                <a:gd name="connsiteY3" fmla="*/ 548550 h 774423"/>
                <a:gd name="connsiteX4" fmla="*/ 767970 w 774423"/>
                <a:gd name="connsiteY4" fmla="*/ 96803 h 774423"/>
                <a:gd name="connsiteX5" fmla="*/ 767970 w 774423"/>
                <a:gd name="connsiteY5" fmla="*/ 109710 h 774423"/>
                <a:gd name="connsiteX6" fmla="*/ 561457 w 774423"/>
                <a:gd name="connsiteY6" fmla="*/ 793784 h 774423"/>
                <a:gd name="connsiteX7" fmla="*/ 109710 w 774423"/>
                <a:gd name="connsiteY7" fmla="*/ 535643 h 774423"/>
                <a:gd name="connsiteX8" fmla="*/ 561457 w 774423"/>
                <a:gd name="connsiteY8" fmla="*/ 780877 h 774423"/>
                <a:gd name="connsiteX9" fmla="*/ 767970 w 774423"/>
                <a:gd name="connsiteY9" fmla="*/ 96803 h 774423"/>
                <a:gd name="connsiteX10" fmla="*/ 109710 w 774423"/>
                <a:gd name="connsiteY10" fmla="*/ 535643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4423" h="774423">
                  <a:moveTo>
                    <a:pt x="561457" y="793784"/>
                  </a:moveTo>
                  <a:lnTo>
                    <a:pt x="561457" y="793784"/>
                  </a:lnTo>
                  <a:lnTo>
                    <a:pt x="96803" y="548550"/>
                  </a:lnTo>
                  <a:lnTo>
                    <a:pt x="96803" y="548550"/>
                  </a:lnTo>
                  <a:lnTo>
                    <a:pt x="767970" y="96803"/>
                  </a:lnTo>
                  <a:lnTo>
                    <a:pt x="767970" y="109710"/>
                  </a:lnTo>
                  <a:lnTo>
                    <a:pt x="561457" y="793784"/>
                  </a:lnTo>
                  <a:close/>
                  <a:moveTo>
                    <a:pt x="109710" y="535643"/>
                  </a:moveTo>
                  <a:lnTo>
                    <a:pt x="561457" y="780877"/>
                  </a:lnTo>
                  <a:lnTo>
                    <a:pt x="767970" y="96803"/>
                  </a:lnTo>
                  <a:lnTo>
                    <a:pt x="109710" y="5356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59" name="Freeform: Shape 2958">
              <a:extLst>
                <a:ext uri="{FF2B5EF4-FFF2-40B4-BE49-F238E27FC236}">
                  <a16:creationId xmlns:a16="http://schemas.microsoft.com/office/drawing/2014/main" id="{66819368-C55A-44A2-AEBC-5EF9F9E9153D}"/>
                </a:ext>
              </a:extLst>
            </p:cNvPr>
            <p:cNvSpPr/>
            <p:nvPr/>
          </p:nvSpPr>
          <p:spPr>
            <a:xfrm>
              <a:off x="8869853" y="6958087"/>
              <a:ext cx="1032565" cy="516283"/>
            </a:xfrm>
            <a:custGeom>
              <a:avLst/>
              <a:gdLst>
                <a:gd name="connsiteX0" fmla="*/ 1000298 w 1032565"/>
                <a:gd name="connsiteY0" fmla="*/ 535643 h 516282"/>
                <a:gd name="connsiteX1" fmla="*/ 96803 w 1032565"/>
                <a:gd name="connsiteY1" fmla="*/ 484015 h 516282"/>
                <a:gd name="connsiteX2" fmla="*/ 535643 w 1032565"/>
                <a:gd name="connsiteY2" fmla="*/ 96803 h 516282"/>
                <a:gd name="connsiteX3" fmla="*/ 535643 w 1032565"/>
                <a:gd name="connsiteY3" fmla="*/ 96803 h 516282"/>
                <a:gd name="connsiteX4" fmla="*/ 1000298 w 1032565"/>
                <a:gd name="connsiteY4" fmla="*/ 535643 h 516282"/>
                <a:gd name="connsiteX5" fmla="*/ 109710 w 1032565"/>
                <a:gd name="connsiteY5" fmla="*/ 484015 h 516282"/>
                <a:gd name="connsiteX6" fmla="*/ 974484 w 1032565"/>
                <a:gd name="connsiteY6" fmla="*/ 535643 h 516282"/>
                <a:gd name="connsiteX7" fmla="*/ 535643 w 1032565"/>
                <a:gd name="connsiteY7" fmla="*/ 122617 h 516282"/>
                <a:gd name="connsiteX8" fmla="*/ 109710 w 1032565"/>
                <a:gd name="connsiteY8" fmla="*/ 48401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516282">
                  <a:moveTo>
                    <a:pt x="1000298" y="535643"/>
                  </a:moveTo>
                  <a:lnTo>
                    <a:pt x="96803" y="484015"/>
                  </a:lnTo>
                  <a:lnTo>
                    <a:pt x="535643" y="96803"/>
                  </a:lnTo>
                  <a:lnTo>
                    <a:pt x="535643" y="96803"/>
                  </a:lnTo>
                  <a:lnTo>
                    <a:pt x="1000298" y="535643"/>
                  </a:lnTo>
                  <a:close/>
                  <a:moveTo>
                    <a:pt x="109710" y="484015"/>
                  </a:moveTo>
                  <a:lnTo>
                    <a:pt x="974484" y="535643"/>
                  </a:lnTo>
                  <a:lnTo>
                    <a:pt x="535643" y="122617"/>
                  </a:lnTo>
                  <a:lnTo>
                    <a:pt x="109710" y="4840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0" name="Freeform: Shape 2959">
              <a:extLst>
                <a:ext uri="{FF2B5EF4-FFF2-40B4-BE49-F238E27FC236}">
                  <a16:creationId xmlns:a16="http://schemas.microsoft.com/office/drawing/2014/main" id="{C31F623B-80A2-4EBB-91A5-F0655F96861F}"/>
                </a:ext>
              </a:extLst>
            </p:cNvPr>
            <p:cNvSpPr/>
            <p:nvPr/>
          </p:nvSpPr>
          <p:spPr>
            <a:xfrm>
              <a:off x="7540426" y="4376674"/>
              <a:ext cx="903495" cy="903494"/>
            </a:xfrm>
            <a:custGeom>
              <a:avLst/>
              <a:gdLst>
                <a:gd name="connsiteX0" fmla="*/ 793784 w 903494"/>
                <a:gd name="connsiteY0" fmla="*/ 909948 h 903494"/>
                <a:gd name="connsiteX1" fmla="*/ 96803 w 903494"/>
                <a:gd name="connsiteY1" fmla="*/ 200059 h 903494"/>
                <a:gd name="connsiteX2" fmla="*/ 909948 w 903494"/>
                <a:gd name="connsiteY2" fmla="*/ 96803 h 903494"/>
                <a:gd name="connsiteX3" fmla="*/ 793784 w 903494"/>
                <a:gd name="connsiteY3" fmla="*/ 909948 h 903494"/>
                <a:gd name="connsiteX4" fmla="*/ 109710 w 903494"/>
                <a:gd name="connsiteY4" fmla="*/ 200059 h 903494"/>
                <a:gd name="connsiteX5" fmla="*/ 793784 w 903494"/>
                <a:gd name="connsiteY5" fmla="*/ 884134 h 903494"/>
                <a:gd name="connsiteX6" fmla="*/ 897041 w 903494"/>
                <a:gd name="connsiteY6" fmla="*/ 96803 h 903494"/>
                <a:gd name="connsiteX7" fmla="*/ 109710 w 903494"/>
                <a:gd name="connsiteY7" fmla="*/ 200059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3494" h="903494">
                  <a:moveTo>
                    <a:pt x="793784" y="909948"/>
                  </a:moveTo>
                  <a:lnTo>
                    <a:pt x="96803" y="200059"/>
                  </a:lnTo>
                  <a:lnTo>
                    <a:pt x="909948" y="96803"/>
                  </a:lnTo>
                  <a:lnTo>
                    <a:pt x="793784" y="909948"/>
                  </a:lnTo>
                  <a:close/>
                  <a:moveTo>
                    <a:pt x="109710" y="200059"/>
                  </a:moveTo>
                  <a:lnTo>
                    <a:pt x="793784" y="884134"/>
                  </a:lnTo>
                  <a:lnTo>
                    <a:pt x="897041" y="96803"/>
                  </a:lnTo>
                  <a:lnTo>
                    <a:pt x="109710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1" name="Freeform: Shape 2960">
              <a:extLst>
                <a:ext uri="{FF2B5EF4-FFF2-40B4-BE49-F238E27FC236}">
                  <a16:creationId xmlns:a16="http://schemas.microsoft.com/office/drawing/2014/main" id="{F083400D-8884-475B-BE9B-C8775EAA7E77}"/>
                </a:ext>
              </a:extLst>
            </p:cNvPr>
            <p:cNvSpPr/>
            <p:nvPr/>
          </p:nvSpPr>
          <p:spPr>
            <a:xfrm>
              <a:off x="7553332" y="5176912"/>
              <a:ext cx="774424" cy="645353"/>
            </a:xfrm>
            <a:custGeom>
              <a:avLst/>
              <a:gdLst>
                <a:gd name="connsiteX0" fmla="*/ 367852 w 774423"/>
                <a:gd name="connsiteY0" fmla="*/ 625993 h 645353"/>
                <a:gd name="connsiteX1" fmla="*/ 96803 w 774423"/>
                <a:gd name="connsiteY1" fmla="*/ 380759 h 645353"/>
                <a:gd name="connsiteX2" fmla="*/ 793785 w 774423"/>
                <a:gd name="connsiteY2" fmla="*/ 96803 h 645353"/>
                <a:gd name="connsiteX3" fmla="*/ 367852 w 774423"/>
                <a:gd name="connsiteY3" fmla="*/ 625993 h 645353"/>
                <a:gd name="connsiteX4" fmla="*/ 109710 w 774423"/>
                <a:gd name="connsiteY4" fmla="*/ 380759 h 645353"/>
                <a:gd name="connsiteX5" fmla="*/ 380759 w 774423"/>
                <a:gd name="connsiteY5" fmla="*/ 613086 h 645353"/>
                <a:gd name="connsiteX6" fmla="*/ 780877 w 774423"/>
                <a:gd name="connsiteY6" fmla="*/ 96803 h 645353"/>
                <a:gd name="connsiteX7" fmla="*/ 109710 w 774423"/>
                <a:gd name="connsiteY7" fmla="*/ 380759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645353">
                  <a:moveTo>
                    <a:pt x="367852" y="625993"/>
                  </a:moveTo>
                  <a:lnTo>
                    <a:pt x="96803" y="380759"/>
                  </a:lnTo>
                  <a:lnTo>
                    <a:pt x="793785" y="96803"/>
                  </a:lnTo>
                  <a:lnTo>
                    <a:pt x="367852" y="625993"/>
                  </a:lnTo>
                  <a:close/>
                  <a:moveTo>
                    <a:pt x="109710" y="380759"/>
                  </a:moveTo>
                  <a:lnTo>
                    <a:pt x="380759" y="613086"/>
                  </a:lnTo>
                  <a:lnTo>
                    <a:pt x="780877" y="96803"/>
                  </a:lnTo>
                  <a:lnTo>
                    <a:pt x="109710" y="3807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2" name="Freeform: Shape 2961">
              <a:extLst>
                <a:ext uri="{FF2B5EF4-FFF2-40B4-BE49-F238E27FC236}">
                  <a16:creationId xmlns:a16="http://schemas.microsoft.com/office/drawing/2014/main" id="{268E94C9-BB96-4130-BD4E-8EA27A70883B}"/>
                </a:ext>
              </a:extLst>
            </p:cNvPr>
            <p:cNvSpPr/>
            <p:nvPr/>
          </p:nvSpPr>
          <p:spPr>
            <a:xfrm>
              <a:off x="7824381" y="5176912"/>
              <a:ext cx="645353" cy="645353"/>
            </a:xfrm>
            <a:custGeom>
              <a:avLst/>
              <a:gdLst>
                <a:gd name="connsiteX0" fmla="*/ 96803 w 645353"/>
                <a:gd name="connsiteY0" fmla="*/ 625993 h 645353"/>
                <a:gd name="connsiteX1" fmla="*/ 509829 w 645353"/>
                <a:gd name="connsiteY1" fmla="*/ 96803 h 645353"/>
                <a:gd name="connsiteX2" fmla="*/ 548550 w 645353"/>
                <a:gd name="connsiteY2" fmla="*/ 587271 h 645353"/>
                <a:gd name="connsiteX3" fmla="*/ 96803 w 645353"/>
                <a:gd name="connsiteY3" fmla="*/ 625993 h 645353"/>
                <a:gd name="connsiteX4" fmla="*/ 509829 w 645353"/>
                <a:gd name="connsiteY4" fmla="*/ 109710 h 645353"/>
                <a:gd name="connsiteX5" fmla="*/ 109710 w 645353"/>
                <a:gd name="connsiteY5" fmla="*/ 625993 h 645353"/>
                <a:gd name="connsiteX6" fmla="*/ 548550 w 645353"/>
                <a:gd name="connsiteY6" fmla="*/ 587271 h 645353"/>
                <a:gd name="connsiteX7" fmla="*/ 509829 w 645353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96803" y="625993"/>
                  </a:moveTo>
                  <a:lnTo>
                    <a:pt x="509829" y="96803"/>
                  </a:lnTo>
                  <a:lnTo>
                    <a:pt x="548550" y="587271"/>
                  </a:lnTo>
                  <a:lnTo>
                    <a:pt x="96803" y="625993"/>
                  </a:lnTo>
                  <a:close/>
                  <a:moveTo>
                    <a:pt x="509829" y="109710"/>
                  </a:moveTo>
                  <a:lnTo>
                    <a:pt x="109710" y="625993"/>
                  </a:lnTo>
                  <a:lnTo>
                    <a:pt x="548550" y="587271"/>
                  </a:lnTo>
                  <a:lnTo>
                    <a:pt x="509829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3" name="Freeform: Shape 2962">
              <a:extLst>
                <a:ext uri="{FF2B5EF4-FFF2-40B4-BE49-F238E27FC236}">
                  <a16:creationId xmlns:a16="http://schemas.microsoft.com/office/drawing/2014/main" id="{350E8451-D03C-4635-91F6-64366F943F78}"/>
                </a:ext>
              </a:extLst>
            </p:cNvPr>
            <p:cNvSpPr/>
            <p:nvPr/>
          </p:nvSpPr>
          <p:spPr>
            <a:xfrm>
              <a:off x="8237407" y="5164005"/>
              <a:ext cx="387212" cy="645353"/>
            </a:xfrm>
            <a:custGeom>
              <a:avLst/>
              <a:gdLst>
                <a:gd name="connsiteX0" fmla="*/ 135525 w 387211"/>
                <a:gd name="connsiteY0" fmla="*/ 600178 h 645353"/>
                <a:gd name="connsiteX1" fmla="*/ 135525 w 387211"/>
                <a:gd name="connsiteY1" fmla="*/ 600178 h 645353"/>
                <a:gd name="connsiteX2" fmla="*/ 96803 w 387211"/>
                <a:gd name="connsiteY2" fmla="*/ 96803 h 645353"/>
                <a:gd name="connsiteX3" fmla="*/ 290409 w 387211"/>
                <a:gd name="connsiteY3" fmla="*/ 600178 h 645353"/>
                <a:gd name="connsiteX4" fmla="*/ 135525 w 387211"/>
                <a:gd name="connsiteY4" fmla="*/ 600178 h 645353"/>
                <a:gd name="connsiteX5" fmla="*/ 96803 w 387211"/>
                <a:gd name="connsiteY5" fmla="*/ 135524 h 645353"/>
                <a:gd name="connsiteX6" fmla="*/ 135525 w 387211"/>
                <a:gd name="connsiteY6" fmla="*/ 600178 h 645353"/>
                <a:gd name="connsiteX7" fmla="*/ 277502 w 387211"/>
                <a:gd name="connsiteY7" fmla="*/ 587271 h 645353"/>
                <a:gd name="connsiteX8" fmla="*/ 96803 w 387211"/>
                <a:gd name="connsiteY8" fmla="*/ 135524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645353">
                  <a:moveTo>
                    <a:pt x="135525" y="600178"/>
                  </a:moveTo>
                  <a:lnTo>
                    <a:pt x="135525" y="600178"/>
                  </a:lnTo>
                  <a:lnTo>
                    <a:pt x="96803" y="96803"/>
                  </a:lnTo>
                  <a:lnTo>
                    <a:pt x="290409" y="600178"/>
                  </a:lnTo>
                  <a:lnTo>
                    <a:pt x="135525" y="600178"/>
                  </a:lnTo>
                  <a:close/>
                  <a:moveTo>
                    <a:pt x="96803" y="135524"/>
                  </a:moveTo>
                  <a:lnTo>
                    <a:pt x="135525" y="600178"/>
                  </a:lnTo>
                  <a:lnTo>
                    <a:pt x="277502" y="587271"/>
                  </a:lnTo>
                  <a:lnTo>
                    <a:pt x="96803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4" name="Freeform: Shape 2963">
              <a:extLst>
                <a:ext uri="{FF2B5EF4-FFF2-40B4-BE49-F238E27FC236}">
                  <a16:creationId xmlns:a16="http://schemas.microsoft.com/office/drawing/2014/main" id="{EC06EEB2-D128-4FBE-9EA9-A9345E562CCE}"/>
                </a:ext>
              </a:extLst>
            </p:cNvPr>
            <p:cNvSpPr/>
            <p:nvPr/>
          </p:nvSpPr>
          <p:spPr>
            <a:xfrm>
              <a:off x="8237407" y="4376674"/>
              <a:ext cx="516283" cy="903494"/>
            </a:xfrm>
            <a:custGeom>
              <a:avLst/>
              <a:gdLst>
                <a:gd name="connsiteX0" fmla="*/ 96803 w 516282"/>
                <a:gd name="connsiteY0" fmla="*/ 909948 h 903494"/>
                <a:gd name="connsiteX1" fmla="*/ 96803 w 516282"/>
                <a:gd name="connsiteY1" fmla="*/ 909948 h 903494"/>
                <a:gd name="connsiteX2" fmla="*/ 212967 w 516282"/>
                <a:gd name="connsiteY2" fmla="*/ 96803 h 903494"/>
                <a:gd name="connsiteX3" fmla="*/ 458201 w 516282"/>
                <a:gd name="connsiteY3" fmla="*/ 496922 h 903494"/>
                <a:gd name="connsiteX4" fmla="*/ 458201 w 516282"/>
                <a:gd name="connsiteY4" fmla="*/ 496922 h 903494"/>
                <a:gd name="connsiteX5" fmla="*/ 96803 w 516282"/>
                <a:gd name="connsiteY5" fmla="*/ 909948 h 903494"/>
                <a:gd name="connsiteX6" fmla="*/ 200060 w 516282"/>
                <a:gd name="connsiteY6" fmla="*/ 109710 h 903494"/>
                <a:gd name="connsiteX7" fmla="*/ 96803 w 516282"/>
                <a:gd name="connsiteY7" fmla="*/ 884134 h 903494"/>
                <a:gd name="connsiteX8" fmla="*/ 432386 w 516282"/>
                <a:gd name="connsiteY8" fmla="*/ 484015 h 903494"/>
                <a:gd name="connsiteX9" fmla="*/ 200060 w 516282"/>
                <a:gd name="connsiteY9" fmla="*/ 10971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16282" h="903494">
                  <a:moveTo>
                    <a:pt x="96803" y="909948"/>
                  </a:moveTo>
                  <a:lnTo>
                    <a:pt x="96803" y="909948"/>
                  </a:lnTo>
                  <a:lnTo>
                    <a:pt x="212967" y="96803"/>
                  </a:lnTo>
                  <a:lnTo>
                    <a:pt x="458201" y="496922"/>
                  </a:lnTo>
                  <a:lnTo>
                    <a:pt x="458201" y="496922"/>
                  </a:lnTo>
                  <a:lnTo>
                    <a:pt x="96803" y="909948"/>
                  </a:lnTo>
                  <a:close/>
                  <a:moveTo>
                    <a:pt x="200060" y="109710"/>
                  </a:moveTo>
                  <a:lnTo>
                    <a:pt x="96803" y="884134"/>
                  </a:lnTo>
                  <a:lnTo>
                    <a:pt x="432386" y="484015"/>
                  </a:lnTo>
                  <a:lnTo>
                    <a:pt x="20006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5" name="Freeform: Shape 2964">
              <a:extLst>
                <a:ext uri="{FF2B5EF4-FFF2-40B4-BE49-F238E27FC236}">
                  <a16:creationId xmlns:a16="http://schemas.microsoft.com/office/drawing/2014/main" id="{0EA7FE38-2471-41E0-993D-1B8F1A381C31}"/>
                </a:ext>
              </a:extLst>
            </p:cNvPr>
            <p:cNvSpPr/>
            <p:nvPr/>
          </p:nvSpPr>
          <p:spPr>
            <a:xfrm>
              <a:off x="7475890" y="4467024"/>
              <a:ext cx="903495" cy="903494"/>
            </a:xfrm>
            <a:custGeom>
              <a:avLst/>
              <a:gdLst>
                <a:gd name="connsiteX0" fmla="*/ 871227 w 903494"/>
                <a:gd name="connsiteY0" fmla="*/ 806692 h 903494"/>
                <a:gd name="connsiteX1" fmla="*/ 96803 w 903494"/>
                <a:gd name="connsiteY1" fmla="*/ 638900 h 903494"/>
                <a:gd name="connsiteX2" fmla="*/ 96803 w 903494"/>
                <a:gd name="connsiteY2" fmla="*/ 638900 h 903494"/>
                <a:gd name="connsiteX3" fmla="*/ 161338 w 903494"/>
                <a:gd name="connsiteY3" fmla="*/ 96803 h 903494"/>
                <a:gd name="connsiteX4" fmla="*/ 871227 w 903494"/>
                <a:gd name="connsiteY4" fmla="*/ 806692 h 903494"/>
                <a:gd name="connsiteX5" fmla="*/ 96803 w 903494"/>
                <a:gd name="connsiteY5" fmla="*/ 638900 h 903494"/>
                <a:gd name="connsiteX6" fmla="*/ 845413 w 903494"/>
                <a:gd name="connsiteY6" fmla="*/ 793785 h 903494"/>
                <a:gd name="connsiteX7" fmla="*/ 161338 w 903494"/>
                <a:gd name="connsiteY7" fmla="*/ 109710 h 903494"/>
                <a:gd name="connsiteX8" fmla="*/ 96803 w 903494"/>
                <a:gd name="connsiteY8" fmla="*/ 63890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903494">
                  <a:moveTo>
                    <a:pt x="871227" y="806692"/>
                  </a:moveTo>
                  <a:lnTo>
                    <a:pt x="96803" y="638900"/>
                  </a:lnTo>
                  <a:lnTo>
                    <a:pt x="96803" y="638900"/>
                  </a:lnTo>
                  <a:lnTo>
                    <a:pt x="161338" y="96803"/>
                  </a:lnTo>
                  <a:lnTo>
                    <a:pt x="871227" y="806692"/>
                  </a:lnTo>
                  <a:close/>
                  <a:moveTo>
                    <a:pt x="96803" y="638900"/>
                  </a:moveTo>
                  <a:lnTo>
                    <a:pt x="845413" y="793785"/>
                  </a:lnTo>
                  <a:lnTo>
                    <a:pt x="161338" y="109710"/>
                  </a:lnTo>
                  <a:lnTo>
                    <a:pt x="96803" y="6389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6" name="Freeform: Shape 2965">
              <a:extLst>
                <a:ext uri="{FF2B5EF4-FFF2-40B4-BE49-F238E27FC236}">
                  <a16:creationId xmlns:a16="http://schemas.microsoft.com/office/drawing/2014/main" id="{D3D86714-E909-4EDF-AE38-2383BE1C1A54}"/>
                </a:ext>
              </a:extLst>
            </p:cNvPr>
            <p:cNvSpPr/>
            <p:nvPr/>
          </p:nvSpPr>
          <p:spPr>
            <a:xfrm>
              <a:off x="7475890" y="5009121"/>
              <a:ext cx="903495" cy="645353"/>
            </a:xfrm>
            <a:custGeom>
              <a:avLst/>
              <a:gdLst>
                <a:gd name="connsiteX0" fmla="*/ 174245 w 903494"/>
                <a:gd name="connsiteY0" fmla="*/ 548550 h 645353"/>
                <a:gd name="connsiteX1" fmla="*/ 96803 w 903494"/>
                <a:gd name="connsiteY1" fmla="*/ 96803 h 645353"/>
                <a:gd name="connsiteX2" fmla="*/ 871227 w 903494"/>
                <a:gd name="connsiteY2" fmla="*/ 264595 h 645353"/>
                <a:gd name="connsiteX3" fmla="*/ 174245 w 903494"/>
                <a:gd name="connsiteY3" fmla="*/ 548550 h 645353"/>
                <a:gd name="connsiteX4" fmla="*/ 96803 w 903494"/>
                <a:gd name="connsiteY4" fmla="*/ 109710 h 645353"/>
                <a:gd name="connsiteX5" fmla="*/ 174245 w 903494"/>
                <a:gd name="connsiteY5" fmla="*/ 535643 h 645353"/>
                <a:gd name="connsiteX6" fmla="*/ 845413 w 903494"/>
                <a:gd name="connsiteY6" fmla="*/ 264595 h 645353"/>
                <a:gd name="connsiteX7" fmla="*/ 96803 w 903494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3494" h="645353">
                  <a:moveTo>
                    <a:pt x="174245" y="548550"/>
                  </a:moveTo>
                  <a:lnTo>
                    <a:pt x="96803" y="96803"/>
                  </a:lnTo>
                  <a:lnTo>
                    <a:pt x="871227" y="264595"/>
                  </a:lnTo>
                  <a:lnTo>
                    <a:pt x="174245" y="548550"/>
                  </a:lnTo>
                  <a:close/>
                  <a:moveTo>
                    <a:pt x="96803" y="109710"/>
                  </a:moveTo>
                  <a:lnTo>
                    <a:pt x="174245" y="535643"/>
                  </a:lnTo>
                  <a:lnTo>
                    <a:pt x="845413" y="264595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7" name="Freeform: Shape 2966">
              <a:extLst>
                <a:ext uri="{FF2B5EF4-FFF2-40B4-BE49-F238E27FC236}">
                  <a16:creationId xmlns:a16="http://schemas.microsoft.com/office/drawing/2014/main" id="{BA216A61-A9BF-4232-9ABC-6D1A20A982D7}"/>
                </a:ext>
              </a:extLst>
            </p:cNvPr>
            <p:cNvSpPr/>
            <p:nvPr/>
          </p:nvSpPr>
          <p:spPr>
            <a:xfrm>
              <a:off x="8237407" y="5073656"/>
              <a:ext cx="1161636" cy="774424"/>
            </a:xfrm>
            <a:custGeom>
              <a:avLst/>
              <a:gdLst>
                <a:gd name="connsiteX0" fmla="*/ 290409 w 1161635"/>
                <a:gd name="connsiteY0" fmla="*/ 677621 h 774423"/>
                <a:gd name="connsiteX1" fmla="*/ 290409 w 1161635"/>
                <a:gd name="connsiteY1" fmla="*/ 677621 h 774423"/>
                <a:gd name="connsiteX2" fmla="*/ 96803 w 1161635"/>
                <a:gd name="connsiteY2" fmla="*/ 200059 h 774423"/>
                <a:gd name="connsiteX3" fmla="*/ 1077740 w 1161635"/>
                <a:gd name="connsiteY3" fmla="*/ 96803 h 774423"/>
                <a:gd name="connsiteX4" fmla="*/ 1064833 w 1161635"/>
                <a:gd name="connsiteY4" fmla="*/ 96803 h 774423"/>
                <a:gd name="connsiteX5" fmla="*/ 290409 w 1161635"/>
                <a:gd name="connsiteY5" fmla="*/ 677621 h 774423"/>
                <a:gd name="connsiteX6" fmla="*/ 96803 w 1161635"/>
                <a:gd name="connsiteY6" fmla="*/ 200059 h 774423"/>
                <a:gd name="connsiteX7" fmla="*/ 277502 w 1161635"/>
                <a:gd name="connsiteY7" fmla="*/ 664714 h 774423"/>
                <a:gd name="connsiteX8" fmla="*/ 1051926 w 1161635"/>
                <a:gd name="connsiteY8" fmla="*/ 96803 h 774423"/>
                <a:gd name="connsiteX9" fmla="*/ 96803 w 1161635"/>
                <a:gd name="connsiteY9" fmla="*/ 200059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635" h="774423">
                  <a:moveTo>
                    <a:pt x="290409" y="677621"/>
                  </a:moveTo>
                  <a:lnTo>
                    <a:pt x="290409" y="677621"/>
                  </a:lnTo>
                  <a:lnTo>
                    <a:pt x="96803" y="200059"/>
                  </a:lnTo>
                  <a:lnTo>
                    <a:pt x="1077740" y="96803"/>
                  </a:lnTo>
                  <a:lnTo>
                    <a:pt x="1064833" y="96803"/>
                  </a:lnTo>
                  <a:lnTo>
                    <a:pt x="290409" y="677621"/>
                  </a:lnTo>
                  <a:close/>
                  <a:moveTo>
                    <a:pt x="96803" y="200059"/>
                  </a:moveTo>
                  <a:lnTo>
                    <a:pt x="277502" y="664714"/>
                  </a:lnTo>
                  <a:lnTo>
                    <a:pt x="1051926" y="96803"/>
                  </a:lnTo>
                  <a:lnTo>
                    <a:pt x="96803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8" name="Freeform: Shape 2967">
              <a:extLst>
                <a:ext uri="{FF2B5EF4-FFF2-40B4-BE49-F238E27FC236}">
                  <a16:creationId xmlns:a16="http://schemas.microsoft.com/office/drawing/2014/main" id="{1AA75F76-6D92-476B-87E6-3608DABBDEDF}"/>
                </a:ext>
              </a:extLst>
            </p:cNvPr>
            <p:cNvSpPr/>
            <p:nvPr/>
          </p:nvSpPr>
          <p:spPr>
            <a:xfrm>
              <a:off x="8224500" y="4763886"/>
              <a:ext cx="1161636" cy="516283"/>
            </a:xfrm>
            <a:custGeom>
              <a:avLst/>
              <a:gdLst>
                <a:gd name="connsiteX0" fmla="*/ 96803 w 1161635"/>
                <a:gd name="connsiteY0" fmla="*/ 509829 h 516282"/>
                <a:gd name="connsiteX1" fmla="*/ 445293 w 1161635"/>
                <a:gd name="connsiteY1" fmla="*/ 96803 h 516282"/>
                <a:gd name="connsiteX2" fmla="*/ 445293 w 1161635"/>
                <a:gd name="connsiteY2" fmla="*/ 96803 h 516282"/>
                <a:gd name="connsiteX3" fmla="*/ 1077740 w 1161635"/>
                <a:gd name="connsiteY3" fmla="*/ 406572 h 516282"/>
                <a:gd name="connsiteX4" fmla="*/ 96803 w 1161635"/>
                <a:gd name="connsiteY4" fmla="*/ 509829 h 516282"/>
                <a:gd name="connsiteX5" fmla="*/ 445293 w 1161635"/>
                <a:gd name="connsiteY5" fmla="*/ 109710 h 516282"/>
                <a:gd name="connsiteX6" fmla="*/ 109710 w 1161635"/>
                <a:gd name="connsiteY6" fmla="*/ 509829 h 516282"/>
                <a:gd name="connsiteX7" fmla="*/ 1064833 w 1161635"/>
                <a:gd name="connsiteY7" fmla="*/ 406572 h 516282"/>
                <a:gd name="connsiteX8" fmla="*/ 445293 w 1161635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1635" h="516282">
                  <a:moveTo>
                    <a:pt x="96803" y="509829"/>
                  </a:moveTo>
                  <a:lnTo>
                    <a:pt x="445293" y="96803"/>
                  </a:lnTo>
                  <a:lnTo>
                    <a:pt x="445293" y="96803"/>
                  </a:lnTo>
                  <a:lnTo>
                    <a:pt x="1077740" y="406572"/>
                  </a:lnTo>
                  <a:lnTo>
                    <a:pt x="96803" y="509829"/>
                  </a:lnTo>
                  <a:close/>
                  <a:moveTo>
                    <a:pt x="445293" y="109710"/>
                  </a:moveTo>
                  <a:lnTo>
                    <a:pt x="109710" y="509829"/>
                  </a:lnTo>
                  <a:lnTo>
                    <a:pt x="1064833" y="406572"/>
                  </a:lnTo>
                  <a:lnTo>
                    <a:pt x="44529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69" name="Freeform: Shape 2968">
              <a:extLst>
                <a:ext uri="{FF2B5EF4-FFF2-40B4-BE49-F238E27FC236}">
                  <a16:creationId xmlns:a16="http://schemas.microsoft.com/office/drawing/2014/main" id="{FE486EA1-917E-481A-8067-0CF46A372C84}"/>
                </a:ext>
              </a:extLst>
            </p:cNvPr>
            <p:cNvSpPr/>
            <p:nvPr/>
          </p:nvSpPr>
          <p:spPr>
            <a:xfrm>
              <a:off x="10212188" y="6945180"/>
              <a:ext cx="387212" cy="387212"/>
            </a:xfrm>
            <a:custGeom>
              <a:avLst/>
              <a:gdLst>
                <a:gd name="connsiteX0" fmla="*/ 96803 w 387211"/>
                <a:gd name="connsiteY0" fmla="*/ 393665 h 387211"/>
                <a:gd name="connsiteX1" fmla="*/ 238781 w 387211"/>
                <a:gd name="connsiteY1" fmla="*/ 96803 h 387211"/>
                <a:gd name="connsiteX2" fmla="*/ 290409 w 387211"/>
                <a:gd name="connsiteY2" fmla="*/ 187153 h 387211"/>
                <a:gd name="connsiteX3" fmla="*/ 290409 w 387211"/>
                <a:gd name="connsiteY3" fmla="*/ 187153 h 387211"/>
                <a:gd name="connsiteX4" fmla="*/ 96803 w 387211"/>
                <a:gd name="connsiteY4" fmla="*/ 393665 h 387211"/>
                <a:gd name="connsiteX5" fmla="*/ 238781 w 387211"/>
                <a:gd name="connsiteY5" fmla="*/ 109710 h 387211"/>
                <a:gd name="connsiteX6" fmla="*/ 109710 w 387211"/>
                <a:gd name="connsiteY6" fmla="*/ 367851 h 387211"/>
                <a:gd name="connsiteX7" fmla="*/ 290409 w 387211"/>
                <a:gd name="connsiteY7" fmla="*/ 187153 h 387211"/>
                <a:gd name="connsiteX8" fmla="*/ 238781 w 387211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96803" y="393665"/>
                  </a:moveTo>
                  <a:lnTo>
                    <a:pt x="238781" y="96803"/>
                  </a:lnTo>
                  <a:lnTo>
                    <a:pt x="290409" y="187153"/>
                  </a:lnTo>
                  <a:lnTo>
                    <a:pt x="290409" y="187153"/>
                  </a:lnTo>
                  <a:lnTo>
                    <a:pt x="96803" y="393665"/>
                  </a:lnTo>
                  <a:close/>
                  <a:moveTo>
                    <a:pt x="238781" y="109710"/>
                  </a:moveTo>
                  <a:lnTo>
                    <a:pt x="109710" y="367851"/>
                  </a:lnTo>
                  <a:lnTo>
                    <a:pt x="290409" y="187153"/>
                  </a:lnTo>
                  <a:lnTo>
                    <a:pt x="23878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0" name="Freeform: Shape 2969">
              <a:extLst>
                <a:ext uri="{FF2B5EF4-FFF2-40B4-BE49-F238E27FC236}">
                  <a16:creationId xmlns:a16="http://schemas.microsoft.com/office/drawing/2014/main" id="{86A54DAC-A7C3-4FD3-BEA3-2AA88D7ACB16}"/>
                </a:ext>
              </a:extLst>
            </p:cNvPr>
            <p:cNvSpPr/>
            <p:nvPr/>
          </p:nvSpPr>
          <p:spPr>
            <a:xfrm>
              <a:off x="10354166" y="6764481"/>
              <a:ext cx="387212" cy="387212"/>
            </a:xfrm>
            <a:custGeom>
              <a:avLst/>
              <a:gdLst>
                <a:gd name="connsiteX0" fmla="*/ 148431 w 387211"/>
                <a:gd name="connsiteY0" fmla="*/ 380759 h 387211"/>
                <a:gd name="connsiteX1" fmla="*/ 96803 w 387211"/>
                <a:gd name="connsiteY1" fmla="*/ 290409 h 387211"/>
                <a:gd name="connsiteX2" fmla="*/ 96803 w 387211"/>
                <a:gd name="connsiteY2" fmla="*/ 290409 h 387211"/>
                <a:gd name="connsiteX3" fmla="*/ 303316 w 387211"/>
                <a:gd name="connsiteY3" fmla="*/ 96803 h 387211"/>
                <a:gd name="connsiteX4" fmla="*/ 148431 w 387211"/>
                <a:gd name="connsiteY4" fmla="*/ 380759 h 387211"/>
                <a:gd name="connsiteX5" fmla="*/ 109710 w 387211"/>
                <a:gd name="connsiteY5" fmla="*/ 290409 h 387211"/>
                <a:gd name="connsiteX6" fmla="*/ 161338 w 387211"/>
                <a:gd name="connsiteY6" fmla="*/ 367852 h 387211"/>
                <a:gd name="connsiteX7" fmla="*/ 290409 w 387211"/>
                <a:gd name="connsiteY7" fmla="*/ 109710 h 387211"/>
                <a:gd name="connsiteX8" fmla="*/ 109710 w 387211"/>
                <a:gd name="connsiteY8" fmla="*/ 29040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148431" y="380759"/>
                  </a:moveTo>
                  <a:lnTo>
                    <a:pt x="96803" y="290409"/>
                  </a:lnTo>
                  <a:lnTo>
                    <a:pt x="96803" y="290409"/>
                  </a:lnTo>
                  <a:lnTo>
                    <a:pt x="303316" y="96803"/>
                  </a:lnTo>
                  <a:lnTo>
                    <a:pt x="148431" y="380759"/>
                  </a:lnTo>
                  <a:close/>
                  <a:moveTo>
                    <a:pt x="109710" y="290409"/>
                  </a:moveTo>
                  <a:lnTo>
                    <a:pt x="161338" y="367852"/>
                  </a:lnTo>
                  <a:lnTo>
                    <a:pt x="290409" y="109710"/>
                  </a:lnTo>
                  <a:lnTo>
                    <a:pt x="109710" y="2904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1" name="Freeform: Shape 2970">
              <a:extLst>
                <a:ext uri="{FF2B5EF4-FFF2-40B4-BE49-F238E27FC236}">
                  <a16:creationId xmlns:a16="http://schemas.microsoft.com/office/drawing/2014/main" id="{CFCC06D6-A18F-4569-8409-FA16B0D0DF11}"/>
                </a:ext>
              </a:extLst>
            </p:cNvPr>
            <p:cNvSpPr/>
            <p:nvPr/>
          </p:nvSpPr>
          <p:spPr>
            <a:xfrm>
              <a:off x="10405794" y="6764481"/>
              <a:ext cx="258141" cy="516283"/>
            </a:xfrm>
            <a:custGeom>
              <a:avLst/>
              <a:gdLst>
                <a:gd name="connsiteX0" fmla="*/ 212967 w 258141"/>
                <a:gd name="connsiteY0" fmla="*/ 458201 h 516282"/>
                <a:gd name="connsiteX1" fmla="*/ 96803 w 258141"/>
                <a:gd name="connsiteY1" fmla="*/ 380759 h 516282"/>
                <a:gd name="connsiteX2" fmla="*/ 96803 w 258141"/>
                <a:gd name="connsiteY2" fmla="*/ 380759 h 516282"/>
                <a:gd name="connsiteX3" fmla="*/ 238781 w 258141"/>
                <a:gd name="connsiteY3" fmla="*/ 96803 h 516282"/>
                <a:gd name="connsiteX4" fmla="*/ 212967 w 258141"/>
                <a:gd name="connsiteY4" fmla="*/ 458201 h 516282"/>
                <a:gd name="connsiteX5" fmla="*/ 109710 w 258141"/>
                <a:gd name="connsiteY5" fmla="*/ 367852 h 516282"/>
                <a:gd name="connsiteX6" fmla="*/ 212967 w 258141"/>
                <a:gd name="connsiteY6" fmla="*/ 432387 h 516282"/>
                <a:gd name="connsiteX7" fmla="*/ 238781 w 258141"/>
                <a:gd name="connsiteY7" fmla="*/ 109710 h 516282"/>
                <a:gd name="connsiteX8" fmla="*/ 109710 w 258141"/>
                <a:gd name="connsiteY8" fmla="*/ 367852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516282">
                  <a:moveTo>
                    <a:pt x="212967" y="458201"/>
                  </a:moveTo>
                  <a:lnTo>
                    <a:pt x="96803" y="380759"/>
                  </a:lnTo>
                  <a:lnTo>
                    <a:pt x="96803" y="380759"/>
                  </a:lnTo>
                  <a:lnTo>
                    <a:pt x="238781" y="96803"/>
                  </a:lnTo>
                  <a:lnTo>
                    <a:pt x="212967" y="458201"/>
                  </a:lnTo>
                  <a:close/>
                  <a:moveTo>
                    <a:pt x="109710" y="367852"/>
                  </a:moveTo>
                  <a:lnTo>
                    <a:pt x="212967" y="432387"/>
                  </a:lnTo>
                  <a:lnTo>
                    <a:pt x="238781" y="109710"/>
                  </a:lnTo>
                  <a:lnTo>
                    <a:pt x="109710" y="3678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2" name="Freeform: Shape 2971">
              <a:extLst>
                <a:ext uri="{FF2B5EF4-FFF2-40B4-BE49-F238E27FC236}">
                  <a16:creationId xmlns:a16="http://schemas.microsoft.com/office/drawing/2014/main" id="{40A2F164-6840-4992-A045-7B34203A9404}"/>
                </a:ext>
              </a:extLst>
            </p:cNvPr>
            <p:cNvSpPr/>
            <p:nvPr/>
          </p:nvSpPr>
          <p:spPr>
            <a:xfrm>
              <a:off x="10212188" y="7229136"/>
              <a:ext cx="258141" cy="387212"/>
            </a:xfrm>
            <a:custGeom>
              <a:avLst/>
              <a:gdLst>
                <a:gd name="connsiteX0" fmla="*/ 135524 w 258141"/>
                <a:gd name="connsiteY0" fmla="*/ 316223 h 387211"/>
                <a:gd name="connsiteX1" fmla="*/ 96803 w 258141"/>
                <a:gd name="connsiteY1" fmla="*/ 96803 h 387211"/>
                <a:gd name="connsiteX2" fmla="*/ 251687 w 258141"/>
                <a:gd name="connsiteY2" fmla="*/ 187153 h 387211"/>
                <a:gd name="connsiteX3" fmla="*/ 135524 w 258141"/>
                <a:gd name="connsiteY3" fmla="*/ 316223 h 387211"/>
                <a:gd name="connsiteX4" fmla="*/ 109710 w 258141"/>
                <a:gd name="connsiteY4" fmla="*/ 109710 h 387211"/>
                <a:gd name="connsiteX5" fmla="*/ 135524 w 258141"/>
                <a:gd name="connsiteY5" fmla="*/ 303316 h 387211"/>
                <a:gd name="connsiteX6" fmla="*/ 238781 w 258141"/>
                <a:gd name="connsiteY6" fmla="*/ 200059 h 387211"/>
                <a:gd name="connsiteX7" fmla="*/ 109710 w 25814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35524" y="316223"/>
                  </a:moveTo>
                  <a:lnTo>
                    <a:pt x="96803" y="96803"/>
                  </a:lnTo>
                  <a:lnTo>
                    <a:pt x="251687" y="187153"/>
                  </a:lnTo>
                  <a:lnTo>
                    <a:pt x="135524" y="316223"/>
                  </a:lnTo>
                  <a:close/>
                  <a:moveTo>
                    <a:pt x="109710" y="109710"/>
                  </a:moveTo>
                  <a:lnTo>
                    <a:pt x="135524" y="303316"/>
                  </a:lnTo>
                  <a:lnTo>
                    <a:pt x="238781" y="200059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3" name="Freeform: Shape 2972">
              <a:extLst>
                <a:ext uri="{FF2B5EF4-FFF2-40B4-BE49-F238E27FC236}">
                  <a16:creationId xmlns:a16="http://schemas.microsoft.com/office/drawing/2014/main" id="{D3178260-B0DB-47F7-9C53-0F5A418AC7CD}"/>
                </a:ext>
              </a:extLst>
            </p:cNvPr>
            <p:cNvSpPr/>
            <p:nvPr/>
          </p:nvSpPr>
          <p:spPr>
            <a:xfrm>
              <a:off x="10212188" y="7035530"/>
              <a:ext cx="387212" cy="387212"/>
            </a:xfrm>
            <a:custGeom>
              <a:avLst/>
              <a:gdLst>
                <a:gd name="connsiteX0" fmla="*/ 251687 w 387211"/>
                <a:gd name="connsiteY0" fmla="*/ 380759 h 387211"/>
                <a:gd name="connsiteX1" fmla="*/ 96803 w 387211"/>
                <a:gd name="connsiteY1" fmla="*/ 290409 h 387211"/>
                <a:gd name="connsiteX2" fmla="*/ 290409 w 387211"/>
                <a:gd name="connsiteY2" fmla="*/ 96803 h 387211"/>
                <a:gd name="connsiteX3" fmla="*/ 251687 w 387211"/>
                <a:gd name="connsiteY3" fmla="*/ 380759 h 387211"/>
                <a:gd name="connsiteX4" fmla="*/ 109710 w 387211"/>
                <a:gd name="connsiteY4" fmla="*/ 290409 h 387211"/>
                <a:gd name="connsiteX5" fmla="*/ 238781 w 387211"/>
                <a:gd name="connsiteY5" fmla="*/ 367851 h 387211"/>
                <a:gd name="connsiteX6" fmla="*/ 290409 w 387211"/>
                <a:gd name="connsiteY6" fmla="*/ 109710 h 387211"/>
                <a:gd name="connsiteX7" fmla="*/ 109710 w 387211"/>
                <a:gd name="connsiteY7" fmla="*/ 29040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51687" y="380759"/>
                  </a:moveTo>
                  <a:lnTo>
                    <a:pt x="96803" y="290409"/>
                  </a:lnTo>
                  <a:lnTo>
                    <a:pt x="290409" y="96803"/>
                  </a:lnTo>
                  <a:lnTo>
                    <a:pt x="251687" y="380759"/>
                  </a:lnTo>
                  <a:close/>
                  <a:moveTo>
                    <a:pt x="109710" y="290409"/>
                  </a:moveTo>
                  <a:lnTo>
                    <a:pt x="238781" y="367851"/>
                  </a:lnTo>
                  <a:lnTo>
                    <a:pt x="290409" y="109710"/>
                  </a:lnTo>
                  <a:lnTo>
                    <a:pt x="109710" y="2904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4" name="Freeform: Shape 2973">
              <a:extLst>
                <a:ext uri="{FF2B5EF4-FFF2-40B4-BE49-F238E27FC236}">
                  <a16:creationId xmlns:a16="http://schemas.microsoft.com/office/drawing/2014/main" id="{948B753B-75EE-4507-9CD2-209CDDAE74B6}"/>
                </a:ext>
              </a:extLst>
            </p:cNvPr>
            <p:cNvSpPr/>
            <p:nvPr/>
          </p:nvSpPr>
          <p:spPr>
            <a:xfrm>
              <a:off x="10250909" y="7306578"/>
              <a:ext cx="258141" cy="387212"/>
            </a:xfrm>
            <a:custGeom>
              <a:avLst/>
              <a:gdLst>
                <a:gd name="connsiteX0" fmla="*/ 200060 w 258141"/>
                <a:gd name="connsiteY0" fmla="*/ 316223 h 387211"/>
                <a:gd name="connsiteX1" fmla="*/ 96803 w 258141"/>
                <a:gd name="connsiteY1" fmla="*/ 225874 h 387211"/>
                <a:gd name="connsiteX2" fmla="*/ 212967 w 258141"/>
                <a:gd name="connsiteY2" fmla="*/ 96803 h 387211"/>
                <a:gd name="connsiteX3" fmla="*/ 200060 w 258141"/>
                <a:gd name="connsiteY3" fmla="*/ 316223 h 387211"/>
                <a:gd name="connsiteX4" fmla="*/ 109711 w 258141"/>
                <a:gd name="connsiteY4" fmla="*/ 225874 h 387211"/>
                <a:gd name="connsiteX5" fmla="*/ 200060 w 258141"/>
                <a:gd name="connsiteY5" fmla="*/ 303316 h 387211"/>
                <a:gd name="connsiteX6" fmla="*/ 212967 w 258141"/>
                <a:gd name="connsiteY6" fmla="*/ 109710 h 387211"/>
                <a:gd name="connsiteX7" fmla="*/ 109711 w 258141"/>
                <a:gd name="connsiteY7" fmla="*/ 22587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00060" y="316223"/>
                  </a:moveTo>
                  <a:lnTo>
                    <a:pt x="96803" y="225874"/>
                  </a:lnTo>
                  <a:lnTo>
                    <a:pt x="212967" y="96803"/>
                  </a:lnTo>
                  <a:lnTo>
                    <a:pt x="200060" y="316223"/>
                  </a:lnTo>
                  <a:close/>
                  <a:moveTo>
                    <a:pt x="109711" y="225874"/>
                  </a:moveTo>
                  <a:lnTo>
                    <a:pt x="200060" y="303316"/>
                  </a:lnTo>
                  <a:lnTo>
                    <a:pt x="212967" y="109710"/>
                  </a:lnTo>
                  <a:lnTo>
                    <a:pt x="109711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5" name="Freeform: Shape 2974">
              <a:extLst>
                <a:ext uri="{FF2B5EF4-FFF2-40B4-BE49-F238E27FC236}">
                  <a16:creationId xmlns:a16="http://schemas.microsoft.com/office/drawing/2014/main" id="{2E9302C3-53DD-4B61-8A0B-C8246F31D4D4}"/>
                </a:ext>
              </a:extLst>
            </p:cNvPr>
            <p:cNvSpPr/>
            <p:nvPr/>
          </p:nvSpPr>
          <p:spPr>
            <a:xfrm>
              <a:off x="10354166" y="7319485"/>
              <a:ext cx="258141" cy="387212"/>
            </a:xfrm>
            <a:custGeom>
              <a:avLst/>
              <a:gdLst>
                <a:gd name="connsiteX0" fmla="*/ 96803 w 258141"/>
                <a:gd name="connsiteY0" fmla="*/ 316223 h 387211"/>
                <a:gd name="connsiteX1" fmla="*/ 109710 w 258141"/>
                <a:gd name="connsiteY1" fmla="*/ 96803 h 387211"/>
                <a:gd name="connsiteX2" fmla="*/ 200060 w 258141"/>
                <a:gd name="connsiteY2" fmla="*/ 148431 h 387211"/>
                <a:gd name="connsiteX3" fmla="*/ 96803 w 258141"/>
                <a:gd name="connsiteY3" fmla="*/ 316223 h 387211"/>
                <a:gd name="connsiteX4" fmla="*/ 109710 w 258141"/>
                <a:gd name="connsiteY4" fmla="*/ 96803 h 387211"/>
                <a:gd name="connsiteX5" fmla="*/ 96803 w 258141"/>
                <a:gd name="connsiteY5" fmla="*/ 290409 h 387211"/>
                <a:gd name="connsiteX6" fmla="*/ 187152 w 258141"/>
                <a:gd name="connsiteY6" fmla="*/ 148431 h 387211"/>
                <a:gd name="connsiteX7" fmla="*/ 109710 w 25814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16223"/>
                  </a:moveTo>
                  <a:lnTo>
                    <a:pt x="109710" y="96803"/>
                  </a:lnTo>
                  <a:lnTo>
                    <a:pt x="200060" y="148431"/>
                  </a:lnTo>
                  <a:lnTo>
                    <a:pt x="96803" y="316223"/>
                  </a:lnTo>
                  <a:close/>
                  <a:moveTo>
                    <a:pt x="109710" y="96803"/>
                  </a:moveTo>
                  <a:lnTo>
                    <a:pt x="96803" y="290409"/>
                  </a:lnTo>
                  <a:lnTo>
                    <a:pt x="187152" y="148431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6" name="Freeform: Shape 2975">
              <a:extLst>
                <a:ext uri="{FF2B5EF4-FFF2-40B4-BE49-F238E27FC236}">
                  <a16:creationId xmlns:a16="http://schemas.microsoft.com/office/drawing/2014/main" id="{B4EC9462-9012-4B9C-917D-1A2C63D0C48D}"/>
                </a:ext>
              </a:extLst>
            </p:cNvPr>
            <p:cNvSpPr/>
            <p:nvPr/>
          </p:nvSpPr>
          <p:spPr>
            <a:xfrm>
              <a:off x="10354166" y="7035530"/>
              <a:ext cx="258141" cy="387212"/>
            </a:xfrm>
            <a:custGeom>
              <a:avLst/>
              <a:gdLst>
                <a:gd name="connsiteX0" fmla="*/ 96803 w 258141"/>
                <a:gd name="connsiteY0" fmla="*/ 393665 h 387211"/>
                <a:gd name="connsiteX1" fmla="*/ 148431 w 258141"/>
                <a:gd name="connsiteY1" fmla="*/ 96803 h 387211"/>
                <a:gd name="connsiteX2" fmla="*/ 264595 w 258141"/>
                <a:gd name="connsiteY2" fmla="*/ 174245 h 387211"/>
                <a:gd name="connsiteX3" fmla="*/ 96803 w 258141"/>
                <a:gd name="connsiteY3" fmla="*/ 393665 h 387211"/>
                <a:gd name="connsiteX4" fmla="*/ 161338 w 258141"/>
                <a:gd name="connsiteY4" fmla="*/ 109710 h 387211"/>
                <a:gd name="connsiteX5" fmla="*/ 109710 w 258141"/>
                <a:gd name="connsiteY5" fmla="*/ 367851 h 387211"/>
                <a:gd name="connsiteX6" fmla="*/ 264595 w 258141"/>
                <a:gd name="connsiteY6" fmla="*/ 174245 h 387211"/>
                <a:gd name="connsiteX7" fmla="*/ 161338 w 25814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93665"/>
                  </a:moveTo>
                  <a:lnTo>
                    <a:pt x="148431" y="96803"/>
                  </a:lnTo>
                  <a:lnTo>
                    <a:pt x="264595" y="174245"/>
                  </a:lnTo>
                  <a:lnTo>
                    <a:pt x="96803" y="393665"/>
                  </a:lnTo>
                  <a:close/>
                  <a:moveTo>
                    <a:pt x="161338" y="109710"/>
                  </a:moveTo>
                  <a:lnTo>
                    <a:pt x="109710" y="367851"/>
                  </a:lnTo>
                  <a:lnTo>
                    <a:pt x="264595" y="174245"/>
                  </a:lnTo>
                  <a:lnTo>
                    <a:pt x="16133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7" name="Freeform: Shape 2976">
              <a:extLst>
                <a:ext uri="{FF2B5EF4-FFF2-40B4-BE49-F238E27FC236}">
                  <a16:creationId xmlns:a16="http://schemas.microsoft.com/office/drawing/2014/main" id="{E61EFD84-0002-4665-A7C2-5AC7424F7B5D}"/>
                </a:ext>
              </a:extLst>
            </p:cNvPr>
            <p:cNvSpPr/>
            <p:nvPr/>
          </p:nvSpPr>
          <p:spPr>
            <a:xfrm>
              <a:off x="10354166" y="7100065"/>
              <a:ext cx="258141" cy="387212"/>
            </a:xfrm>
            <a:custGeom>
              <a:avLst/>
              <a:gdLst>
                <a:gd name="connsiteX0" fmla="*/ 200060 w 258141"/>
                <a:gd name="connsiteY0" fmla="*/ 367851 h 387211"/>
                <a:gd name="connsiteX1" fmla="*/ 96803 w 258141"/>
                <a:gd name="connsiteY1" fmla="*/ 316223 h 387211"/>
                <a:gd name="connsiteX2" fmla="*/ 264595 w 258141"/>
                <a:gd name="connsiteY2" fmla="*/ 96803 h 387211"/>
                <a:gd name="connsiteX3" fmla="*/ 200060 w 258141"/>
                <a:gd name="connsiteY3" fmla="*/ 367851 h 387211"/>
                <a:gd name="connsiteX4" fmla="*/ 109710 w 258141"/>
                <a:gd name="connsiteY4" fmla="*/ 316223 h 387211"/>
                <a:gd name="connsiteX5" fmla="*/ 187152 w 258141"/>
                <a:gd name="connsiteY5" fmla="*/ 354944 h 387211"/>
                <a:gd name="connsiteX6" fmla="*/ 251687 w 258141"/>
                <a:gd name="connsiteY6" fmla="*/ 122617 h 387211"/>
                <a:gd name="connsiteX7" fmla="*/ 109710 w 258141"/>
                <a:gd name="connsiteY7" fmla="*/ 31622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00060" y="367851"/>
                  </a:moveTo>
                  <a:lnTo>
                    <a:pt x="96803" y="316223"/>
                  </a:lnTo>
                  <a:lnTo>
                    <a:pt x="264595" y="96803"/>
                  </a:lnTo>
                  <a:lnTo>
                    <a:pt x="200060" y="367851"/>
                  </a:lnTo>
                  <a:close/>
                  <a:moveTo>
                    <a:pt x="109710" y="316223"/>
                  </a:moveTo>
                  <a:lnTo>
                    <a:pt x="187152" y="354944"/>
                  </a:lnTo>
                  <a:lnTo>
                    <a:pt x="251687" y="122617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8" name="Freeform: Shape 2977">
              <a:extLst>
                <a:ext uri="{FF2B5EF4-FFF2-40B4-BE49-F238E27FC236}">
                  <a16:creationId xmlns:a16="http://schemas.microsoft.com/office/drawing/2014/main" id="{464F987F-9957-4C9F-8AF0-D909878826F7}"/>
                </a:ext>
              </a:extLst>
            </p:cNvPr>
            <p:cNvSpPr/>
            <p:nvPr/>
          </p:nvSpPr>
          <p:spPr>
            <a:xfrm>
              <a:off x="10263817" y="5318890"/>
              <a:ext cx="516283" cy="645353"/>
            </a:xfrm>
            <a:custGeom>
              <a:avLst/>
              <a:gdLst>
                <a:gd name="connsiteX0" fmla="*/ 251687 w 516282"/>
                <a:gd name="connsiteY0" fmla="*/ 613086 h 645353"/>
                <a:gd name="connsiteX1" fmla="*/ 96803 w 516282"/>
                <a:gd name="connsiteY1" fmla="*/ 187152 h 645353"/>
                <a:gd name="connsiteX2" fmla="*/ 484015 w 516282"/>
                <a:gd name="connsiteY2" fmla="*/ 96803 h 645353"/>
                <a:gd name="connsiteX3" fmla="*/ 251687 w 516282"/>
                <a:gd name="connsiteY3" fmla="*/ 613086 h 645353"/>
                <a:gd name="connsiteX4" fmla="*/ 96803 w 516282"/>
                <a:gd name="connsiteY4" fmla="*/ 187152 h 645353"/>
                <a:gd name="connsiteX5" fmla="*/ 251687 w 516282"/>
                <a:gd name="connsiteY5" fmla="*/ 587271 h 645353"/>
                <a:gd name="connsiteX6" fmla="*/ 458200 w 516282"/>
                <a:gd name="connsiteY6" fmla="*/ 109710 h 645353"/>
                <a:gd name="connsiteX7" fmla="*/ 96803 w 516282"/>
                <a:gd name="connsiteY7" fmla="*/ 187152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251687" y="613086"/>
                  </a:moveTo>
                  <a:lnTo>
                    <a:pt x="96803" y="187152"/>
                  </a:lnTo>
                  <a:lnTo>
                    <a:pt x="484015" y="96803"/>
                  </a:lnTo>
                  <a:lnTo>
                    <a:pt x="251687" y="613086"/>
                  </a:lnTo>
                  <a:close/>
                  <a:moveTo>
                    <a:pt x="96803" y="187152"/>
                  </a:moveTo>
                  <a:lnTo>
                    <a:pt x="251687" y="587271"/>
                  </a:lnTo>
                  <a:lnTo>
                    <a:pt x="458200" y="109710"/>
                  </a:lnTo>
                  <a:lnTo>
                    <a:pt x="96803" y="1871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79" name="Freeform: Shape 2978">
              <a:extLst>
                <a:ext uri="{FF2B5EF4-FFF2-40B4-BE49-F238E27FC236}">
                  <a16:creationId xmlns:a16="http://schemas.microsoft.com/office/drawing/2014/main" id="{BCE616B4-F74C-4B5E-A0FC-121FE1C3F8C8}"/>
                </a:ext>
              </a:extLst>
            </p:cNvPr>
            <p:cNvSpPr/>
            <p:nvPr/>
          </p:nvSpPr>
          <p:spPr>
            <a:xfrm>
              <a:off x="5604366" y="1679098"/>
              <a:ext cx="387212" cy="258141"/>
            </a:xfrm>
            <a:custGeom>
              <a:avLst/>
              <a:gdLst>
                <a:gd name="connsiteX0" fmla="*/ 329130 w 387211"/>
                <a:gd name="connsiteY0" fmla="*/ 264595 h 258141"/>
                <a:gd name="connsiteX1" fmla="*/ 161338 w 387211"/>
                <a:gd name="connsiteY1" fmla="*/ 212967 h 258141"/>
                <a:gd name="connsiteX2" fmla="*/ 96803 w 387211"/>
                <a:gd name="connsiteY2" fmla="*/ 96803 h 258141"/>
                <a:gd name="connsiteX3" fmla="*/ 329130 w 387211"/>
                <a:gd name="connsiteY3" fmla="*/ 264595 h 258141"/>
                <a:gd name="connsiteX4" fmla="*/ 174245 w 387211"/>
                <a:gd name="connsiteY4" fmla="*/ 212967 h 258141"/>
                <a:gd name="connsiteX5" fmla="*/ 303316 w 387211"/>
                <a:gd name="connsiteY5" fmla="*/ 251688 h 258141"/>
                <a:gd name="connsiteX6" fmla="*/ 122617 w 387211"/>
                <a:gd name="connsiteY6" fmla="*/ 122617 h 258141"/>
                <a:gd name="connsiteX7" fmla="*/ 174245 w 387211"/>
                <a:gd name="connsiteY7" fmla="*/ 21296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29130" y="264595"/>
                  </a:moveTo>
                  <a:lnTo>
                    <a:pt x="161338" y="212967"/>
                  </a:lnTo>
                  <a:lnTo>
                    <a:pt x="96803" y="96803"/>
                  </a:lnTo>
                  <a:lnTo>
                    <a:pt x="329130" y="264595"/>
                  </a:lnTo>
                  <a:close/>
                  <a:moveTo>
                    <a:pt x="174245" y="212967"/>
                  </a:moveTo>
                  <a:lnTo>
                    <a:pt x="303316" y="251688"/>
                  </a:lnTo>
                  <a:lnTo>
                    <a:pt x="122617" y="122617"/>
                  </a:lnTo>
                  <a:lnTo>
                    <a:pt x="174245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0" name="Freeform: Shape 2979">
              <a:extLst>
                <a:ext uri="{FF2B5EF4-FFF2-40B4-BE49-F238E27FC236}">
                  <a16:creationId xmlns:a16="http://schemas.microsoft.com/office/drawing/2014/main" id="{C2E09F1E-E6FE-4C43-AAE9-38D71F9518ED}"/>
                </a:ext>
              </a:extLst>
            </p:cNvPr>
            <p:cNvSpPr/>
            <p:nvPr/>
          </p:nvSpPr>
          <p:spPr>
            <a:xfrm>
              <a:off x="5720529" y="1924332"/>
              <a:ext cx="387212" cy="258141"/>
            </a:xfrm>
            <a:custGeom>
              <a:avLst/>
              <a:gdLst>
                <a:gd name="connsiteX0" fmla="*/ 290409 w 387211"/>
                <a:gd name="connsiteY0" fmla="*/ 225874 h 258141"/>
                <a:gd name="connsiteX1" fmla="*/ 96803 w 387211"/>
                <a:gd name="connsiteY1" fmla="*/ 174245 h 258141"/>
                <a:gd name="connsiteX2" fmla="*/ 251688 w 387211"/>
                <a:gd name="connsiteY2" fmla="*/ 96803 h 258141"/>
                <a:gd name="connsiteX3" fmla="*/ 290409 w 387211"/>
                <a:gd name="connsiteY3" fmla="*/ 225874 h 258141"/>
                <a:gd name="connsiteX4" fmla="*/ 122617 w 387211"/>
                <a:gd name="connsiteY4" fmla="*/ 187152 h 258141"/>
                <a:gd name="connsiteX5" fmla="*/ 290409 w 387211"/>
                <a:gd name="connsiteY5" fmla="*/ 225874 h 258141"/>
                <a:gd name="connsiteX6" fmla="*/ 264595 w 387211"/>
                <a:gd name="connsiteY6" fmla="*/ 122617 h 258141"/>
                <a:gd name="connsiteX7" fmla="*/ 122617 w 387211"/>
                <a:gd name="connsiteY7" fmla="*/ 187152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290409" y="225874"/>
                  </a:moveTo>
                  <a:lnTo>
                    <a:pt x="96803" y="174245"/>
                  </a:lnTo>
                  <a:lnTo>
                    <a:pt x="251688" y="96803"/>
                  </a:lnTo>
                  <a:lnTo>
                    <a:pt x="290409" y="225874"/>
                  </a:lnTo>
                  <a:close/>
                  <a:moveTo>
                    <a:pt x="122617" y="187152"/>
                  </a:moveTo>
                  <a:lnTo>
                    <a:pt x="290409" y="225874"/>
                  </a:lnTo>
                  <a:lnTo>
                    <a:pt x="264595" y="122617"/>
                  </a:lnTo>
                  <a:lnTo>
                    <a:pt x="122617" y="1871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1" name="Freeform: Shape 2980">
              <a:extLst>
                <a:ext uri="{FF2B5EF4-FFF2-40B4-BE49-F238E27FC236}">
                  <a16:creationId xmlns:a16="http://schemas.microsoft.com/office/drawing/2014/main" id="{A9D786FB-E934-431B-A7BB-57FF1EE164EC}"/>
                </a:ext>
              </a:extLst>
            </p:cNvPr>
            <p:cNvSpPr/>
            <p:nvPr/>
          </p:nvSpPr>
          <p:spPr>
            <a:xfrm>
              <a:off x="5694715" y="2001775"/>
              <a:ext cx="387212" cy="258141"/>
            </a:xfrm>
            <a:custGeom>
              <a:avLst/>
              <a:gdLst>
                <a:gd name="connsiteX0" fmla="*/ 96803 w 387211"/>
                <a:gd name="connsiteY0" fmla="*/ 238781 h 258141"/>
                <a:gd name="connsiteX1" fmla="*/ 135524 w 387211"/>
                <a:gd name="connsiteY1" fmla="*/ 96803 h 258141"/>
                <a:gd name="connsiteX2" fmla="*/ 329130 w 387211"/>
                <a:gd name="connsiteY2" fmla="*/ 148431 h 258141"/>
                <a:gd name="connsiteX3" fmla="*/ 96803 w 387211"/>
                <a:gd name="connsiteY3" fmla="*/ 238781 h 258141"/>
                <a:gd name="connsiteX4" fmla="*/ 135524 w 387211"/>
                <a:gd name="connsiteY4" fmla="*/ 109710 h 258141"/>
                <a:gd name="connsiteX5" fmla="*/ 109710 w 387211"/>
                <a:gd name="connsiteY5" fmla="*/ 225874 h 258141"/>
                <a:gd name="connsiteX6" fmla="*/ 303316 w 387211"/>
                <a:gd name="connsiteY6" fmla="*/ 148431 h 258141"/>
                <a:gd name="connsiteX7" fmla="*/ 135524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96803" y="238781"/>
                  </a:moveTo>
                  <a:lnTo>
                    <a:pt x="135524" y="96803"/>
                  </a:lnTo>
                  <a:lnTo>
                    <a:pt x="329130" y="148431"/>
                  </a:lnTo>
                  <a:lnTo>
                    <a:pt x="96803" y="238781"/>
                  </a:lnTo>
                  <a:close/>
                  <a:moveTo>
                    <a:pt x="135524" y="109710"/>
                  </a:moveTo>
                  <a:lnTo>
                    <a:pt x="109710" y="225874"/>
                  </a:lnTo>
                  <a:lnTo>
                    <a:pt x="303316" y="148431"/>
                  </a:lnTo>
                  <a:lnTo>
                    <a:pt x="13552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2" name="Freeform: Shape 2981">
              <a:extLst>
                <a:ext uri="{FF2B5EF4-FFF2-40B4-BE49-F238E27FC236}">
                  <a16:creationId xmlns:a16="http://schemas.microsoft.com/office/drawing/2014/main" id="{540F1B50-9EF5-4F46-A7E7-B549E4486954}"/>
                </a:ext>
              </a:extLst>
            </p:cNvPr>
            <p:cNvSpPr/>
            <p:nvPr/>
          </p:nvSpPr>
          <p:spPr>
            <a:xfrm>
              <a:off x="5694715" y="2040496"/>
              <a:ext cx="387212" cy="387212"/>
            </a:xfrm>
            <a:custGeom>
              <a:avLst/>
              <a:gdLst>
                <a:gd name="connsiteX0" fmla="*/ 187152 w 387211"/>
                <a:gd name="connsiteY0" fmla="*/ 329130 h 387211"/>
                <a:gd name="connsiteX1" fmla="*/ 96803 w 387211"/>
                <a:gd name="connsiteY1" fmla="*/ 187152 h 387211"/>
                <a:gd name="connsiteX2" fmla="*/ 316223 w 387211"/>
                <a:gd name="connsiteY2" fmla="*/ 96803 h 387211"/>
                <a:gd name="connsiteX3" fmla="*/ 187152 w 387211"/>
                <a:gd name="connsiteY3" fmla="*/ 329130 h 387211"/>
                <a:gd name="connsiteX4" fmla="*/ 109710 w 387211"/>
                <a:gd name="connsiteY4" fmla="*/ 200060 h 387211"/>
                <a:gd name="connsiteX5" fmla="*/ 187152 w 387211"/>
                <a:gd name="connsiteY5" fmla="*/ 316223 h 387211"/>
                <a:gd name="connsiteX6" fmla="*/ 303316 w 387211"/>
                <a:gd name="connsiteY6" fmla="*/ 109710 h 387211"/>
                <a:gd name="connsiteX7" fmla="*/ 109710 w 387211"/>
                <a:gd name="connsiteY7" fmla="*/ 20006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87152" y="329130"/>
                  </a:moveTo>
                  <a:lnTo>
                    <a:pt x="96803" y="187152"/>
                  </a:lnTo>
                  <a:lnTo>
                    <a:pt x="316223" y="96803"/>
                  </a:lnTo>
                  <a:lnTo>
                    <a:pt x="187152" y="329130"/>
                  </a:lnTo>
                  <a:close/>
                  <a:moveTo>
                    <a:pt x="109710" y="200060"/>
                  </a:moveTo>
                  <a:lnTo>
                    <a:pt x="187152" y="316223"/>
                  </a:lnTo>
                  <a:lnTo>
                    <a:pt x="303316" y="109710"/>
                  </a:lnTo>
                  <a:lnTo>
                    <a:pt x="109710" y="2000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3" name="Freeform: Shape 2982">
              <a:extLst>
                <a:ext uri="{FF2B5EF4-FFF2-40B4-BE49-F238E27FC236}">
                  <a16:creationId xmlns:a16="http://schemas.microsoft.com/office/drawing/2014/main" id="{E986DEE6-093E-442D-9A0C-338748157700}"/>
                </a:ext>
              </a:extLst>
            </p:cNvPr>
            <p:cNvSpPr/>
            <p:nvPr/>
          </p:nvSpPr>
          <p:spPr>
            <a:xfrm>
              <a:off x="5785064" y="2053403"/>
              <a:ext cx="387212" cy="516283"/>
            </a:xfrm>
            <a:custGeom>
              <a:avLst/>
              <a:gdLst>
                <a:gd name="connsiteX0" fmla="*/ 367852 w 387211"/>
                <a:gd name="connsiteY0" fmla="*/ 432387 h 516282"/>
                <a:gd name="connsiteX1" fmla="*/ 96803 w 387211"/>
                <a:gd name="connsiteY1" fmla="*/ 316223 h 516282"/>
                <a:gd name="connsiteX2" fmla="*/ 225874 w 387211"/>
                <a:gd name="connsiteY2" fmla="*/ 96803 h 516282"/>
                <a:gd name="connsiteX3" fmla="*/ 367852 w 387211"/>
                <a:gd name="connsiteY3" fmla="*/ 432387 h 516282"/>
                <a:gd name="connsiteX4" fmla="*/ 109710 w 387211"/>
                <a:gd name="connsiteY4" fmla="*/ 316223 h 516282"/>
                <a:gd name="connsiteX5" fmla="*/ 354944 w 387211"/>
                <a:gd name="connsiteY5" fmla="*/ 419480 h 516282"/>
                <a:gd name="connsiteX6" fmla="*/ 225874 w 387211"/>
                <a:gd name="connsiteY6" fmla="*/ 109710 h 516282"/>
                <a:gd name="connsiteX7" fmla="*/ 109710 w 387211"/>
                <a:gd name="connsiteY7" fmla="*/ 31622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67852" y="432387"/>
                  </a:moveTo>
                  <a:lnTo>
                    <a:pt x="96803" y="316223"/>
                  </a:lnTo>
                  <a:lnTo>
                    <a:pt x="225874" y="96803"/>
                  </a:lnTo>
                  <a:lnTo>
                    <a:pt x="367852" y="432387"/>
                  </a:lnTo>
                  <a:close/>
                  <a:moveTo>
                    <a:pt x="109710" y="316223"/>
                  </a:moveTo>
                  <a:lnTo>
                    <a:pt x="354944" y="419480"/>
                  </a:lnTo>
                  <a:lnTo>
                    <a:pt x="225874" y="109710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4" name="Freeform: Shape 2983">
              <a:extLst>
                <a:ext uri="{FF2B5EF4-FFF2-40B4-BE49-F238E27FC236}">
                  <a16:creationId xmlns:a16="http://schemas.microsoft.com/office/drawing/2014/main" id="{00AEC334-F486-4081-886E-5F9E90C61BB5}"/>
                </a:ext>
              </a:extLst>
            </p:cNvPr>
            <p:cNvSpPr/>
            <p:nvPr/>
          </p:nvSpPr>
          <p:spPr>
            <a:xfrm>
              <a:off x="5785064" y="2259916"/>
              <a:ext cx="387212" cy="387212"/>
            </a:xfrm>
            <a:custGeom>
              <a:avLst/>
              <a:gdLst>
                <a:gd name="connsiteX0" fmla="*/ 290409 w 387211"/>
                <a:gd name="connsiteY0" fmla="*/ 316223 h 387211"/>
                <a:gd name="connsiteX1" fmla="*/ 96803 w 387211"/>
                <a:gd name="connsiteY1" fmla="*/ 96803 h 387211"/>
                <a:gd name="connsiteX2" fmla="*/ 367852 w 387211"/>
                <a:gd name="connsiteY2" fmla="*/ 212967 h 387211"/>
                <a:gd name="connsiteX3" fmla="*/ 290409 w 387211"/>
                <a:gd name="connsiteY3" fmla="*/ 316223 h 387211"/>
                <a:gd name="connsiteX4" fmla="*/ 109710 w 387211"/>
                <a:gd name="connsiteY4" fmla="*/ 109710 h 387211"/>
                <a:gd name="connsiteX5" fmla="*/ 277502 w 387211"/>
                <a:gd name="connsiteY5" fmla="*/ 303316 h 387211"/>
                <a:gd name="connsiteX6" fmla="*/ 342037 w 387211"/>
                <a:gd name="connsiteY6" fmla="*/ 212967 h 387211"/>
                <a:gd name="connsiteX7" fmla="*/ 109710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90409" y="316223"/>
                  </a:moveTo>
                  <a:lnTo>
                    <a:pt x="96803" y="96803"/>
                  </a:lnTo>
                  <a:lnTo>
                    <a:pt x="367852" y="212967"/>
                  </a:lnTo>
                  <a:lnTo>
                    <a:pt x="290409" y="316223"/>
                  </a:lnTo>
                  <a:close/>
                  <a:moveTo>
                    <a:pt x="109710" y="109710"/>
                  </a:moveTo>
                  <a:lnTo>
                    <a:pt x="277502" y="303316"/>
                  </a:lnTo>
                  <a:lnTo>
                    <a:pt x="342037" y="212967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5" name="Freeform: Shape 2984">
              <a:extLst>
                <a:ext uri="{FF2B5EF4-FFF2-40B4-BE49-F238E27FC236}">
                  <a16:creationId xmlns:a16="http://schemas.microsoft.com/office/drawing/2014/main" id="{39B051E1-470B-4B1F-9212-2F747057B9C6}"/>
                </a:ext>
              </a:extLst>
            </p:cNvPr>
            <p:cNvSpPr/>
            <p:nvPr/>
          </p:nvSpPr>
          <p:spPr>
            <a:xfrm>
              <a:off x="5965764" y="2376080"/>
              <a:ext cx="387212" cy="258141"/>
            </a:xfrm>
            <a:custGeom>
              <a:avLst/>
              <a:gdLst>
                <a:gd name="connsiteX0" fmla="*/ 303316 w 387211"/>
                <a:gd name="connsiteY0" fmla="*/ 251688 h 258141"/>
                <a:gd name="connsiteX1" fmla="*/ 96803 w 387211"/>
                <a:gd name="connsiteY1" fmla="*/ 200059 h 258141"/>
                <a:gd name="connsiteX2" fmla="*/ 174245 w 387211"/>
                <a:gd name="connsiteY2" fmla="*/ 96803 h 258141"/>
                <a:gd name="connsiteX3" fmla="*/ 303316 w 387211"/>
                <a:gd name="connsiteY3" fmla="*/ 251688 h 258141"/>
                <a:gd name="connsiteX4" fmla="*/ 109710 w 387211"/>
                <a:gd name="connsiteY4" fmla="*/ 187152 h 258141"/>
                <a:gd name="connsiteX5" fmla="*/ 290409 w 387211"/>
                <a:gd name="connsiteY5" fmla="*/ 238781 h 258141"/>
                <a:gd name="connsiteX6" fmla="*/ 174245 w 387211"/>
                <a:gd name="connsiteY6" fmla="*/ 109710 h 258141"/>
                <a:gd name="connsiteX7" fmla="*/ 109710 w 387211"/>
                <a:gd name="connsiteY7" fmla="*/ 187152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03316" y="251688"/>
                  </a:moveTo>
                  <a:lnTo>
                    <a:pt x="96803" y="200059"/>
                  </a:lnTo>
                  <a:lnTo>
                    <a:pt x="174245" y="96803"/>
                  </a:lnTo>
                  <a:lnTo>
                    <a:pt x="303316" y="251688"/>
                  </a:lnTo>
                  <a:close/>
                  <a:moveTo>
                    <a:pt x="109710" y="187152"/>
                  </a:moveTo>
                  <a:lnTo>
                    <a:pt x="290409" y="238781"/>
                  </a:lnTo>
                  <a:lnTo>
                    <a:pt x="174245" y="109710"/>
                  </a:lnTo>
                  <a:lnTo>
                    <a:pt x="109710" y="1871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6" name="Freeform: Shape 2985">
              <a:extLst>
                <a:ext uri="{FF2B5EF4-FFF2-40B4-BE49-F238E27FC236}">
                  <a16:creationId xmlns:a16="http://schemas.microsoft.com/office/drawing/2014/main" id="{ACE1AFF2-A995-4E32-9D55-1615E8EC73FB}"/>
                </a:ext>
              </a:extLst>
            </p:cNvPr>
            <p:cNvSpPr/>
            <p:nvPr/>
          </p:nvSpPr>
          <p:spPr>
            <a:xfrm>
              <a:off x="6043206" y="2376080"/>
              <a:ext cx="387212" cy="258141"/>
            </a:xfrm>
            <a:custGeom>
              <a:avLst/>
              <a:gdLst>
                <a:gd name="connsiteX0" fmla="*/ 225874 w 387211"/>
                <a:gd name="connsiteY0" fmla="*/ 251688 h 258141"/>
                <a:gd name="connsiteX1" fmla="*/ 96803 w 387211"/>
                <a:gd name="connsiteY1" fmla="*/ 96803 h 258141"/>
                <a:gd name="connsiteX2" fmla="*/ 303316 w 387211"/>
                <a:gd name="connsiteY2" fmla="*/ 96803 h 258141"/>
                <a:gd name="connsiteX3" fmla="*/ 225874 w 387211"/>
                <a:gd name="connsiteY3" fmla="*/ 251688 h 258141"/>
                <a:gd name="connsiteX4" fmla="*/ 109710 w 387211"/>
                <a:gd name="connsiteY4" fmla="*/ 96803 h 258141"/>
                <a:gd name="connsiteX5" fmla="*/ 225874 w 387211"/>
                <a:gd name="connsiteY5" fmla="*/ 238781 h 258141"/>
                <a:gd name="connsiteX6" fmla="*/ 290409 w 387211"/>
                <a:gd name="connsiteY6" fmla="*/ 109710 h 258141"/>
                <a:gd name="connsiteX7" fmla="*/ 109710 w 387211"/>
                <a:gd name="connsiteY7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225874" y="251688"/>
                  </a:moveTo>
                  <a:lnTo>
                    <a:pt x="96803" y="96803"/>
                  </a:lnTo>
                  <a:lnTo>
                    <a:pt x="303316" y="96803"/>
                  </a:lnTo>
                  <a:lnTo>
                    <a:pt x="225874" y="251688"/>
                  </a:lnTo>
                  <a:close/>
                  <a:moveTo>
                    <a:pt x="109710" y="96803"/>
                  </a:moveTo>
                  <a:lnTo>
                    <a:pt x="225874" y="238781"/>
                  </a:lnTo>
                  <a:lnTo>
                    <a:pt x="290409" y="109710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7" name="Freeform: Shape 2986">
              <a:extLst>
                <a:ext uri="{FF2B5EF4-FFF2-40B4-BE49-F238E27FC236}">
                  <a16:creationId xmlns:a16="http://schemas.microsoft.com/office/drawing/2014/main" id="{67655B1D-E7F6-43FD-A049-142CF7324ABB}"/>
                </a:ext>
              </a:extLst>
            </p:cNvPr>
            <p:cNvSpPr/>
            <p:nvPr/>
          </p:nvSpPr>
          <p:spPr>
            <a:xfrm>
              <a:off x="5901228" y="2053403"/>
              <a:ext cx="516283" cy="516283"/>
            </a:xfrm>
            <a:custGeom>
              <a:avLst/>
              <a:gdLst>
                <a:gd name="connsiteX0" fmla="*/ 445294 w 516282"/>
                <a:gd name="connsiteY0" fmla="*/ 432387 h 516282"/>
                <a:gd name="connsiteX1" fmla="*/ 238781 w 516282"/>
                <a:gd name="connsiteY1" fmla="*/ 432387 h 516282"/>
                <a:gd name="connsiteX2" fmla="*/ 238781 w 516282"/>
                <a:gd name="connsiteY2" fmla="*/ 432387 h 516282"/>
                <a:gd name="connsiteX3" fmla="*/ 96803 w 516282"/>
                <a:gd name="connsiteY3" fmla="*/ 96803 h 516282"/>
                <a:gd name="connsiteX4" fmla="*/ 445294 w 516282"/>
                <a:gd name="connsiteY4" fmla="*/ 432387 h 516282"/>
                <a:gd name="connsiteX5" fmla="*/ 251688 w 516282"/>
                <a:gd name="connsiteY5" fmla="*/ 419480 h 516282"/>
                <a:gd name="connsiteX6" fmla="*/ 432386 w 516282"/>
                <a:gd name="connsiteY6" fmla="*/ 419480 h 516282"/>
                <a:gd name="connsiteX7" fmla="*/ 122617 w 516282"/>
                <a:gd name="connsiteY7" fmla="*/ 109710 h 516282"/>
                <a:gd name="connsiteX8" fmla="*/ 251688 w 516282"/>
                <a:gd name="connsiteY8" fmla="*/ 41948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445294" y="432387"/>
                  </a:moveTo>
                  <a:lnTo>
                    <a:pt x="238781" y="432387"/>
                  </a:lnTo>
                  <a:lnTo>
                    <a:pt x="238781" y="432387"/>
                  </a:lnTo>
                  <a:lnTo>
                    <a:pt x="96803" y="96803"/>
                  </a:lnTo>
                  <a:lnTo>
                    <a:pt x="445294" y="432387"/>
                  </a:lnTo>
                  <a:close/>
                  <a:moveTo>
                    <a:pt x="251688" y="419480"/>
                  </a:moveTo>
                  <a:lnTo>
                    <a:pt x="432386" y="419480"/>
                  </a:lnTo>
                  <a:lnTo>
                    <a:pt x="122617" y="109710"/>
                  </a:lnTo>
                  <a:lnTo>
                    <a:pt x="251688" y="419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8" name="Freeform: Shape 2987">
              <a:extLst>
                <a:ext uri="{FF2B5EF4-FFF2-40B4-BE49-F238E27FC236}">
                  <a16:creationId xmlns:a16="http://schemas.microsoft.com/office/drawing/2014/main" id="{419D90AB-2841-48C4-845C-750870E4389F}"/>
                </a:ext>
              </a:extLst>
            </p:cNvPr>
            <p:cNvSpPr/>
            <p:nvPr/>
          </p:nvSpPr>
          <p:spPr>
            <a:xfrm>
              <a:off x="6727281" y="1808169"/>
              <a:ext cx="516283" cy="387212"/>
            </a:xfrm>
            <a:custGeom>
              <a:avLst/>
              <a:gdLst>
                <a:gd name="connsiteX0" fmla="*/ 96803 w 516282"/>
                <a:gd name="connsiteY0" fmla="*/ 329130 h 387211"/>
                <a:gd name="connsiteX1" fmla="*/ 329130 w 516282"/>
                <a:gd name="connsiteY1" fmla="*/ 96803 h 387211"/>
                <a:gd name="connsiteX2" fmla="*/ 509829 w 516282"/>
                <a:gd name="connsiteY2" fmla="*/ 225874 h 387211"/>
                <a:gd name="connsiteX3" fmla="*/ 96803 w 516282"/>
                <a:gd name="connsiteY3" fmla="*/ 329130 h 387211"/>
                <a:gd name="connsiteX4" fmla="*/ 329130 w 516282"/>
                <a:gd name="connsiteY4" fmla="*/ 109710 h 387211"/>
                <a:gd name="connsiteX5" fmla="*/ 109710 w 516282"/>
                <a:gd name="connsiteY5" fmla="*/ 329130 h 387211"/>
                <a:gd name="connsiteX6" fmla="*/ 484015 w 516282"/>
                <a:gd name="connsiteY6" fmla="*/ 238781 h 387211"/>
                <a:gd name="connsiteX7" fmla="*/ 329130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96803" y="329130"/>
                  </a:moveTo>
                  <a:lnTo>
                    <a:pt x="329130" y="96803"/>
                  </a:lnTo>
                  <a:lnTo>
                    <a:pt x="509829" y="225874"/>
                  </a:lnTo>
                  <a:lnTo>
                    <a:pt x="96803" y="329130"/>
                  </a:lnTo>
                  <a:close/>
                  <a:moveTo>
                    <a:pt x="329130" y="109710"/>
                  </a:moveTo>
                  <a:lnTo>
                    <a:pt x="109710" y="329130"/>
                  </a:lnTo>
                  <a:lnTo>
                    <a:pt x="484015" y="238781"/>
                  </a:lnTo>
                  <a:lnTo>
                    <a:pt x="32913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89" name="Freeform: Shape 2988">
              <a:extLst>
                <a:ext uri="{FF2B5EF4-FFF2-40B4-BE49-F238E27FC236}">
                  <a16:creationId xmlns:a16="http://schemas.microsoft.com/office/drawing/2014/main" id="{3F833F04-D69B-451C-A78C-FE7AC0C894B3}"/>
                </a:ext>
              </a:extLst>
            </p:cNvPr>
            <p:cNvSpPr/>
            <p:nvPr/>
          </p:nvSpPr>
          <p:spPr>
            <a:xfrm>
              <a:off x="6959608" y="1756540"/>
              <a:ext cx="258141" cy="387212"/>
            </a:xfrm>
            <a:custGeom>
              <a:avLst/>
              <a:gdLst>
                <a:gd name="connsiteX0" fmla="*/ 277502 w 258141"/>
                <a:gd name="connsiteY0" fmla="*/ 290409 h 387211"/>
                <a:gd name="connsiteX1" fmla="*/ 96803 w 258141"/>
                <a:gd name="connsiteY1" fmla="*/ 161338 h 387211"/>
                <a:gd name="connsiteX2" fmla="*/ 161338 w 258141"/>
                <a:gd name="connsiteY2" fmla="*/ 96803 h 387211"/>
                <a:gd name="connsiteX3" fmla="*/ 277502 w 258141"/>
                <a:gd name="connsiteY3" fmla="*/ 290409 h 387211"/>
                <a:gd name="connsiteX4" fmla="*/ 96803 w 258141"/>
                <a:gd name="connsiteY4" fmla="*/ 161338 h 387211"/>
                <a:gd name="connsiteX5" fmla="*/ 251688 w 258141"/>
                <a:gd name="connsiteY5" fmla="*/ 277502 h 387211"/>
                <a:gd name="connsiteX6" fmla="*/ 161338 w 258141"/>
                <a:gd name="connsiteY6" fmla="*/ 109710 h 387211"/>
                <a:gd name="connsiteX7" fmla="*/ 96803 w 258141"/>
                <a:gd name="connsiteY7" fmla="*/ 16133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77502" y="290409"/>
                  </a:moveTo>
                  <a:lnTo>
                    <a:pt x="96803" y="161338"/>
                  </a:lnTo>
                  <a:lnTo>
                    <a:pt x="161338" y="96803"/>
                  </a:lnTo>
                  <a:lnTo>
                    <a:pt x="277502" y="290409"/>
                  </a:lnTo>
                  <a:close/>
                  <a:moveTo>
                    <a:pt x="96803" y="161338"/>
                  </a:moveTo>
                  <a:lnTo>
                    <a:pt x="251688" y="277502"/>
                  </a:lnTo>
                  <a:lnTo>
                    <a:pt x="161338" y="109710"/>
                  </a:lnTo>
                  <a:lnTo>
                    <a:pt x="96803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0" name="Freeform: Shape 2989">
              <a:extLst>
                <a:ext uri="{FF2B5EF4-FFF2-40B4-BE49-F238E27FC236}">
                  <a16:creationId xmlns:a16="http://schemas.microsoft.com/office/drawing/2014/main" id="{09BA45D4-2F23-47AB-A226-CB5B80597C4B}"/>
                </a:ext>
              </a:extLst>
            </p:cNvPr>
            <p:cNvSpPr/>
            <p:nvPr/>
          </p:nvSpPr>
          <p:spPr>
            <a:xfrm>
              <a:off x="7011236" y="1756540"/>
              <a:ext cx="387212" cy="387212"/>
            </a:xfrm>
            <a:custGeom>
              <a:avLst/>
              <a:gdLst>
                <a:gd name="connsiteX0" fmla="*/ 212967 w 387211"/>
                <a:gd name="connsiteY0" fmla="*/ 290409 h 387211"/>
                <a:gd name="connsiteX1" fmla="*/ 96803 w 387211"/>
                <a:gd name="connsiteY1" fmla="*/ 96803 h 387211"/>
                <a:gd name="connsiteX2" fmla="*/ 316223 w 387211"/>
                <a:gd name="connsiteY2" fmla="*/ 187152 h 387211"/>
                <a:gd name="connsiteX3" fmla="*/ 212967 w 387211"/>
                <a:gd name="connsiteY3" fmla="*/ 290409 h 387211"/>
                <a:gd name="connsiteX4" fmla="*/ 109710 w 387211"/>
                <a:gd name="connsiteY4" fmla="*/ 109710 h 387211"/>
                <a:gd name="connsiteX5" fmla="*/ 212967 w 387211"/>
                <a:gd name="connsiteY5" fmla="*/ 277502 h 387211"/>
                <a:gd name="connsiteX6" fmla="*/ 303316 w 387211"/>
                <a:gd name="connsiteY6" fmla="*/ 187152 h 387211"/>
                <a:gd name="connsiteX7" fmla="*/ 109710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12967" y="290409"/>
                  </a:moveTo>
                  <a:lnTo>
                    <a:pt x="96803" y="96803"/>
                  </a:lnTo>
                  <a:lnTo>
                    <a:pt x="316223" y="187152"/>
                  </a:lnTo>
                  <a:lnTo>
                    <a:pt x="212967" y="290409"/>
                  </a:lnTo>
                  <a:close/>
                  <a:moveTo>
                    <a:pt x="109710" y="109710"/>
                  </a:moveTo>
                  <a:lnTo>
                    <a:pt x="212967" y="277502"/>
                  </a:lnTo>
                  <a:lnTo>
                    <a:pt x="303316" y="187152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1" name="Freeform: Shape 2990">
              <a:extLst>
                <a:ext uri="{FF2B5EF4-FFF2-40B4-BE49-F238E27FC236}">
                  <a16:creationId xmlns:a16="http://schemas.microsoft.com/office/drawing/2014/main" id="{0AECB3AA-6725-4F94-A8D2-567656691C8F}"/>
                </a:ext>
              </a:extLst>
            </p:cNvPr>
            <p:cNvSpPr/>
            <p:nvPr/>
          </p:nvSpPr>
          <p:spPr>
            <a:xfrm>
              <a:off x="7011236" y="1692005"/>
              <a:ext cx="258141" cy="258141"/>
            </a:xfrm>
            <a:custGeom>
              <a:avLst/>
              <a:gdLst>
                <a:gd name="connsiteX0" fmla="*/ 96803 w 258141"/>
                <a:gd name="connsiteY0" fmla="*/ 161338 h 258141"/>
                <a:gd name="connsiteX1" fmla="*/ 122617 w 258141"/>
                <a:gd name="connsiteY1" fmla="*/ 96803 h 258141"/>
                <a:gd name="connsiteX2" fmla="*/ 277502 w 258141"/>
                <a:gd name="connsiteY2" fmla="*/ 122617 h 258141"/>
                <a:gd name="connsiteX3" fmla="*/ 96803 w 258141"/>
                <a:gd name="connsiteY3" fmla="*/ 161338 h 258141"/>
                <a:gd name="connsiteX4" fmla="*/ 135525 w 258141"/>
                <a:gd name="connsiteY4" fmla="*/ 109710 h 258141"/>
                <a:gd name="connsiteX5" fmla="*/ 109710 w 258141"/>
                <a:gd name="connsiteY5" fmla="*/ 161338 h 258141"/>
                <a:gd name="connsiteX6" fmla="*/ 251688 w 258141"/>
                <a:gd name="connsiteY6" fmla="*/ 135524 h 258141"/>
                <a:gd name="connsiteX7" fmla="*/ 135525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96803" y="161338"/>
                  </a:moveTo>
                  <a:lnTo>
                    <a:pt x="122617" y="96803"/>
                  </a:lnTo>
                  <a:lnTo>
                    <a:pt x="277502" y="122617"/>
                  </a:lnTo>
                  <a:lnTo>
                    <a:pt x="96803" y="161338"/>
                  </a:lnTo>
                  <a:close/>
                  <a:moveTo>
                    <a:pt x="135525" y="109710"/>
                  </a:moveTo>
                  <a:lnTo>
                    <a:pt x="109710" y="161338"/>
                  </a:lnTo>
                  <a:lnTo>
                    <a:pt x="251688" y="135524"/>
                  </a:lnTo>
                  <a:lnTo>
                    <a:pt x="13552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2" name="Freeform: Shape 2991">
              <a:extLst>
                <a:ext uri="{FF2B5EF4-FFF2-40B4-BE49-F238E27FC236}">
                  <a16:creationId xmlns:a16="http://schemas.microsoft.com/office/drawing/2014/main" id="{FB9919D6-5E72-4906-846C-D584F2438D4D}"/>
                </a:ext>
              </a:extLst>
            </p:cNvPr>
            <p:cNvSpPr/>
            <p:nvPr/>
          </p:nvSpPr>
          <p:spPr>
            <a:xfrm>
              <a:off x="6998329" y="1717819"/>
              <a:ext cx="387212" cy="258141"/>
            </a:xfrm>
            <a:custGeom>
              <a:avLst/>
              <a:gdLst>
                <a:gd name="connsiteX0" fmla="*/ 316223 w 387211"/>
                <a:gd name="connsiteY0" fmla="*/ 238781 h 258141"/>
                <a:gd name="connsiteX1" fmla="*/ 96803 w 387211"/>
                <a:gd name="connsiteY1" fmla="*/ 135524 h 258141"/>
                <a:gd name="connsiteX2" fmla="*/ 277502 w 387211"/>
                <a:gd name="connsiteY2" fmla="*/ 96803 h 258141"/>
                <a:gd name="connsiteX3" fmla="*/ 316223 w 387211"/>
                <a:gd name="connsiteY3" fmla="*/ 238781 h 258141"/>
                <a:gd name="connsiteX4" fmla="*/ 122617 w 387211"/>
                <a:gd name="connsiteY4" fmla="*/ 135524 h 258141"/>
                <a:gd name="connsiteX5" fmla="*/ 316223 w 387211"/>
                <a:gd name="connsiteY5" fmla="*/ 225874 h 258141"/>
                <a:gd name="connsiteX6" fmla="*/ 277502 w 387211"/>
                <a:gd name="connsiteY6" fmla="*/ 109710 h 258141"/>
                <a:gd name="connsiteX7" fmla="*/ 122617 w 387211"/>
                <a:gd name="connsiteY7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16223" y="238781"/>
                  </a:moveTo>
                  <a:lnTo>
                    <a:pt x="96803" y="135524"/>
                  </a:lnTo>
                  <a:lnTo>
                    <a:pt x="277502" y="96803"/>
                  </a:lnTo>
                  <a:lnTo>
                    <a:pt x="316223" y="238781"/>
                  </a:lnTo>
                  <a:close/>
                  <a:moveTo>
                    <a:pt x="122617" y="135524"/>
                  </a:moveTo>
                  <a:lnTo>
                    <a:pt x="316223" y="225874"/>
                  </a:lnTo>
                  <a:lnTo>
                    <a:pt x="277502" y="109710"/>
                  </a:lnTo>
                  <a:lnTo>
                    <a:pt x="122617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3" name="Freeform: Shape 2992">
              <a:extLst>
                <a:ext uri="{FF2B5EF4-FFF2-40B4-BE49-F238E27FC236}">
                  <a16:creationId xmlns:a16="http://schemas.microsoft.com/office/drawing/2014/main" id="{A724A764-065B-44B0-BE10-1C062DD3691C}"/>
                </a:ext>
              </a:extLst>
            </p:cNvPr>
            <p:cNvSpPr/>
            <p:nvPr/>
          </p:nvSpPr>
          <p:spPr>
            <a:xfrm>
              <a:off x="7049957" y="1524213"/>
              <a:ext cx="258141" cy="387212"/>
            </a:xfrm>
            <a:custGeom>
              <a:avLst/>
              <a:gdLst>
                <a:gd name="connsiteX0" fmla="*/ 238781 w 258141"/>
                <a:gd name="connsiteY0" fmla="*/ 303316 h 387211"/>
                <a:gd name="connsiteX1" fmla="*/ 96803 w 258141"/>
                <a:gd name="connsiteY1" fmla="*/ 277502 h 387211"/>
                <a:gd name="connsiteX2" fmla="*/ 225874 w 258141"/>
                <a:gd name="connsiteY2" fmla="*/ 96803 h 387211"/>
                <a:gd name="connsiteX3" fmla="*/ 238781 w 258141"/>
                <a:gd name="connsiteY3" fmla="*/ 303316 h 387211"/>
                <a:gd name="connsiteX4" fmla="*/ 96803 w 258141"/>
                <a:gd name="connsiteY4" fmla="*/ 277502 h 387211"/>
                <a:gd name="connsiteX5" fmla="*/ 225874 w 258141"/>
                <a:gd name="connsiteY5" fmla="*/ 303316 h 387211"/>
                <a:gd name="connsiteX6" fmla="*/ 212966 w 258141"/>
                <a:gd name="connsiteY6" fmla="*/ 122617 h 387211"/>
                <a:gd name="connsiteX7" fmla="*/ 96803 w 258141"/>
                <a:gd name="connsiteY7" fmla="*/ 277502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38781" y="303316"/>
                  </a:moveTo>
                  <a:lnTo>
                    <a:pt x="96803" y="277502"/>
                  </a:lnTo>
                  <a:lnTo>
                    <a:pt x="225874" y="96803"/>
                  </a:lnTo>
                  <a:lnTo>
                    <a:pt x="238781" y="303316"/>
                  </a:lnTo>
                  <a:close/>
                  <a:moveTo>
                    <a:pt x="96803" y="277502"/>
                  </a:moveTo>
                  <a:lnTo>
                    <a:pt x="225874" y="303316"/>
                  </a:lnTo>
                  <a:lnTo>
                    <a:pt x="212966" y="122617"/>
                  </a:lnTo>
                  <a:lnTo>
                    <a:pt x="96803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4" name="Freeform: Shape 2993">
              <a:extLst>
                <a:ext uri="{FF2B5EF4-FFF2-40B4-BE49-F238E27FC236}">
                  <a16:creationId xmlns:a16="http://schemas.microsoft.com/office/drawing/2014/main" id="{D0DA3291-D3BE-4F17-8B8D-AFD32CA227FE}"/>
                </a:ext>
              </a:extLst>
            </p:cNvPr>
            <p:cNvSpPr/>
            <p:nvPr/>
          </p:nvSpPr>
          <p:spPr>
            <a:xfrm>
              <a:off x="7166120" y="1524213"/>
              <a:ext cx="258141" cy="387212"/>
            </a:xfrm>
            <a:custGeom>
              <a:avLst/>
              <a:gdLst>
                <a:gd name="connsiteX0" fmla="*/ 109710 w 258141"/>
                <a:gd name="connsiteY0" fmla="*/ 303316 h 387211"/>
                <a:gd name="connsiteX1" fmla="*/ 96803 w 258141"/>
                <a:gd name="connsiteY1" fmla="*/ 96803 h 387211"/>
                <a:gd name="connsiteX2" fmla="*/ 225874 w 258141"/>
                <a:gd name="connsiteY2" fmla="*/ 238781 h 387211"/>
                <a:gd name="connsiteX3" fmla="*/ 109710 w 258141"/>
                <a:gd name="connsiteY3" fmla="*/ 303316 h 387211"/>
                <a:gd name="connsiteX4" fmla="*/ 109710 w 258141"/>
                <a:gd name="connsiteY4" fmla="*/ 109710 h 387211"/>
                <a:gd name="connsiteX5" fmla="*/ 122617 w 258141"/>
                <a:gd name="connsiteY5" fmla="*/ 290409 h 387211"/>
                <a:gd name="connsiteX6" fmla="*/ 225874 w 258141"/>
                <a:gd name="connsiteY6" fmla="*/ 238781 h 387211"/>
                <a:gd name="connsiteX7" fmla="*/ 109710 w 25814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09710" y="303316"/>
                  </a:moveTo>
                  <a:lnTo>
                    <a:pt x="96803" y="96803"/>
                  </a:lnTo>
                  <a:lnTo>
                    <a:pt x="225874" y="238781"/>
                  </a:lnTo>
                  <a:lnTo>
                    <a:pt x="109710" y="303316"/>
                  </a:lnTo>
                  <a:close/>
                  <a:moveTo>
                    <a:pt x="109710" y="109710"/>
                  </a:moveTo>
                  <a:lnTo>
                    <a:pt x="122617" y="290409"/>
                  </a:lnTo>
                  <a:lnTo>
                    <a:pt x="225874" y="238781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5" name="Freeform: Shape 2994">
              <a:extLst>
                <a:ext uri="{FF2B5EF4-FFF2-40B4-BE49-F238E27FC236}">
                  <a16:creationId xmlns:a16="http://schemas.microsoft.com/office/drawing/2014/main" id="{759A8AE3-4015-431C-89D2-9605A9C22311}"/>
                </a:ext>
              </a:extLst>
            </p:cNvPr>
            <p:cNvSpPr/>
            <p:nvPr/>
          </p:nvSpPr>
          <p:spPr>
            <a:xfrm>
              <a:off x="7166120" y="1446771"/>
              <a:ext cx="258141" cy="387212"/>
            </a:xfrm>
            <a:custGeom>
              <a:avLst/>
              <a:gdLst>
                <a:gd name="connsiteX0" fmla="*/ 238781 w 258141"/>
                <a:gd name="connsiteY0" fmla="*/ 329130 h 387211"/>
                <a:gd name="connsiteX1" fmla="*/ 96803 w 258141"/>
                <a:gd name="connsiteY1" fmla="*/ 187152 h 387211"/>
                <a:gd name="connsiteX2" fmla="*/ 174246 w 258141"/>
                <a:gd name="connsiteY2" fmla="*/ 96803 h 387211"/>
                <a:gd name="connsiteX3" fmla="*/ 238781 w 258141"/>
                <a:gd name="connsiteY3" fmla="*/ 329130 h 387211"/>
                <a:gd name="connsiteX4" fmla="*/ 109710 w 258141"/>
                <a:gd name="connsiteY4" fmla="*/ 187152 h 387211"/>
                <a:gd name="connsiteX5" fmla="*/ 225874 w 258141"/>
                <a:gd name="connsiteY5" fmla="*/ 303316 h 387211"/>
                <a:gd name="connsiteX6" fmla="*/ 174246 w 258141"/>
                <a:gd name="connsiteY6" fmla="*/ 109710 h 387211"/>
                <a:gd name="connsiteX7" fmla="*/ 109710 w 258141"/>
                <a:gd name="connsiteY7" fmla="*/ 187152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38781" y="329130"/>
                  </a:moveTo>
                  <a:lnTo>
                    <a:pt x="96803" y="187152"/>
                  </a:lnTo>
                  <a:lnTo>
                    <a:pt x="174246" y="96803"/>
                  </a:lnTo>
                  <a:lnTo>
                    <a:pt x="238781" y="329130"/>
                  </a:lnTo>
                  <a:close/>
                  <a:moveTo>
                    <a:pt x="109710" y="187152"/>
                  </a:moveTo>
                  <a:lnTo>
                    <a:pt x="225874" y="303316"/>
                  </a:lnTo>
                  <a:lnTo>
                    <a:pt x="174246" y="109710"/>
                  </a:lnTo>
                  <a:lnTo>
                    <a:pt x="109710" y="1871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6" name="Freeform: Shape 2995">
              <a:extLst>
                <a:ext uri="{FF2B5EF4-FFF2-40B4-BE49-F238E27FC236}">
                  <a16:creationId xmlns:a16="http://schemas.microsoft.com/office/drawing/2014/main" id="{BB54344E-C7E4-47B2-B28C-A86C8978B6E2}"/>
                </a:ext>
              </a:extLst>
            </p:cNvPr>
            <p:cNvSpPr/>
            <p:nvPr/>
          </p:nvSpPr>
          <p:spPr>
            <a:xfrm>
              <a:off x="7166120" y="1266072"/>
              <a:ext cx="258141" cy="387212"/>
            </a:xfrm>
            <a:custGeom>
              <a:avLst/>
              <a:gdLst>
                <a:gd name="connsiteX0" fmla="*/ 96803 w 258141"/>
                <a:gd name="connsiteY0" fmla="*/ 367851 h 387211"/>
                <a:gd name="connsiteX1" fmla="*/ 96803 w 258141"/>
                <a:gd name="connsiteY1" fmla="*/ 96803 h 387211"/>
                <a:gd name="connsiteX2" fmla="*/ 174246 w 258141"/>
                <a:gd name="connsiteY2" fmla="*/ 277502 h 387211"/>
                <a:gd name="connsiteX3" fmla="*/ 96803 w 258141"/>
                <a:gd name="connsiteY3" fmla="*/ 367851 h 387211"/>
                <a:gd name="connsiteX4" fmla="*/ 96803 w 258141"/>
                <a:gd name="connsiteY4" fmla="*/ 122617 h 387211"/>
                <a:gd name="connsiteX5" fmla="*/ 96803 w 258141"/>
                <a:gd name="connsiteY5" fmla="*/ 354944 h 387211"/>
                <a:gd name="connsiteX6" fmla="*/ 161338 w 258141"/>
                <a:gd name="connsiteY6" fmla="*/ 277502 h 387211"/>
                <a:gd name="connsiteX7" fmla="*/ 96803 w 25814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67851"/>
                  </a:moveTo>
                  <a:lnTo>
                    <a:pt x="96803" y="96803"/>
                  </a:lnTo>
                  <a:lnTo>
                    <a:pt x="174246" y="277502"/>
                  </a:lnTo>
                  <a:lnTo>
                    <a:pt x="96803" y="367851"/>
                  </a:lnTo>
                  <a:close/>
                  <a:moveTo>
                    <a:pt x="96803" y="122617"/>
                  </a:moveTo>
                  <a:lnTo>
                    <a:pt x="96803" y="354944"/>
                  </a:lnTo>
                  <a:lnTo>
                    <a:pt x="161338" y="277502"/>
                  </a:lnTo>
                  <a:lnTo>
                    <a:pt x="96803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7" name="Freeform: Shape 2996">
              <a:extLst>
                <a:ext uri="{FF2B5EF4-FFF2-40B4-BE49-F238E27FC236}">
                  <a16:creationId xmlns:a16="http://schemas.microsoft.com/office/drawing/2014/main" id="{78C41FEC-F66A-4B11-848F-F8DD1DDD2F64}"/>
                </a:ext>
              </a:extLst>
            </p:cNvPr>
            <p:cNvSpPr/>
            <p:nvPr/>
          </p:nvSpPr>
          <p:spPr>
            <a:xfrm>
              <a:off x="7166120" y="1266072"/>
              <a:ext cx="258141" cy="387212"/>
            </a:xfrm>
            <a:custGeom>
              <a:avLst/>
              <a:gdLst>
                <a:gd name="connsiteX0" fmla="*/ 174246 w 258141"/>
                <a:gd name="connsiteY0" fmla="*/ 290409 h 387211"/>
                <a:gd name="connsiteX1" fmla="*/ 96803 w 258141"/>
                <a:gd name="connsiteY1" fmla="*/ 96803 h 387211"/>
                <a:gd name="connsiteX2" fmla="*/ 225874 w 258141"/>
                <a:gd name="connsiteY2" fmla="*/ 212967 h 387211"/>
                <a:gd name="connsiteX3" fmla="*/ 174246 w 258141"/>
                <a:gd name="connsiteY3" fmla="*/ 290409 h 387211"/>
                <a:gd name="connsiteX4" fmla="*/ 109710 w 258141"/>
                <a:gd name="connsiteY4" fmla="*/ 122617 h 387211"/>
                <a:gd name="connsiteX5" fmla="*/ 174246 w 258141"/>
                <a:gd name="connsiteY5" fmla="*/ 277502 h 387211"/>
                <a:gd name="connsiteX6" fmla="*/ 212967 w 258141"/>
                <a:gd name="connsiteY6" fmla="*/ 225874 h 387211"/>
                <a:gd name="connsiteX7" fmla="*/ 109710 w 25814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74246" y="290409"/>
                  </a:moveTo>
                  <a:lnTo>
                    <a:pt x="96803" y="96803"/>
                  </a:lnTo>
                  <a:lnTo>
                    <a:pt x="225874" y="212967"/>
                  </a:lnTo>
                  <a:lnTo>
                    <a:pt x="174246" y="290409"/>
                  </a:lnTo>
                  <a:close/>
                  <a:moveTo>
                    <a:pt x="109710" y="122617"/>
                  </a:moveTo>
                  <a:lnTo>
                    <a:pt x="174246" y="277502"/>
                  </a:lnTo>
                  <a:lnTo>
                    <a:pt x="212967" y="225874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8" name="Freeform: Shape 2997">
              <a:extLst>
                <a:ext uri="{FF2B5EF4-FFF2-40B4-BE49-F238E27FC236}">
                  <a16:creationId xmlns:a16="http://schemas.microsoft.com/office/drawing/2014/main" id="{3EA4B71F-BE27-465A-B7F0-D440669105CB}"/>
                </a:ext>
              </a:extLst>
            </p:cNvPr>
            <p:cNvSpPr/>
            <p:nvPr/>
          </p:nvSpPr>
          <p:spPr>
            <a:xfrm>
              <a:off x="7166120" y="1214444"/>
              <a:ext cx="258141" cy="258141"/>
            </a:xfrm>
            <a:custGeom>
              <a:avLst/>
              <a:gdLst>
                <a:gd name="connsiteX0" fmla="*/ 225874 w 258141"/>
                <a:gd name="connsiteY0" fmla="*/ 277502 h 258141"/>
                <a:gd name="connsiteX1" fmla="*/ 96803 w 258141"/>
                <a:gd name="connsiteY1" fmla="*/ 161338 h 258141"/>
                <a:gd name="connsiteX2" fmla="*/ 200059 w 258141"/>
                <a:gd name="connsiteY2" fmla="*/ 96803 h 258141"/>
                <a:gd name="connsiteX3" fmla="*/ 225874 w 258141"/>
                <a:gd name="connsiteY3" fmla="*/ 277502 h 258141"/>
                <a:gd name="connsiteX4" fmla="*/ 109710 w 258141"/>
                <a:gd name="connsiteY4" fmla="*/ 161338 h 258141"/>
                <a:gd name="connsiteX5" fmla="*/ 212967 w 258141"/>
                <a:gd name="connsiteY5" fmla="*/ 264595 h 258141"/>
                <a:gd name="connsiteX6" fmla="*/ 200059 w 258141"/>
                <a:gd name="connsiteY6" fmla="*/ 109710 h 258141"/>
                <a:gd name="connsiteX7" fmla="*/ 109710 w 258141"/>
                <a:gd name="connsiteY7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225874" y="277502"/>
                  </a:moveTo>
                  <a:lnTo>
                    <a:pt x="96803" y="161338"/>
                  </a:lnTo>
                  <a:lnTo>
                    <a:pt x="200059" y="96803"/>
                  </a:lnTo>
                  <a:lnTo>
                    <a:pt x="225874" y="277502"/>
                  </a:lnTo>
                  <a:close/>
                  <a:moveTo>
                    <a:pt x="109710" y="161338"/>
                  </a:moveTo>
                  <a:lnTo>
                    <a:pt x="212967" y="264595"/>
                  </a:lnTo>
                  <a:lnTo>
                    <a:pt x="200059" y="109710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99" name="Freeform: Shape 2998">
              <a:extLst>
                <a:ext uri="{FF2B5EF4-FFF2-40B4-BE49-F238E27FC236}">
                  <a16:creationId xmlns:a16="http://schemas.microsoft.com/office/drawing/2014/main" id="{85708639-9797-4D16-A9ED-35F7056188BD}"/>
                </a:ext>
              </a:extLst>
            </p:cNvPr>
            <p:cNvSpPr/>
            <p:nvPr/>
          </p:nvSpPr>
          <p:spPr>
            <a:xfrm>
              <a:off x="7256470" y="1214444"/>
              <a:ext cx="516283" cy="258141"/>
            </a:xfrm>
            <a:custGeom>
              <a:avLst/>
              <a:gdLst>
                <a:gd name="connsiteX0" fmla="*/ 122617 w 516282"/>
                <a:gd name="connsiteY0" fmla="*/ 277502 h 258141"/>
                <a:gd name="connsiteX1" fmla="*/ 96803 w 516282"/>
                <a:gd name="connsiteY1" fmla="*/ 96803 h 258141"/>
                <a:gd name="connsiteX2" fmla="*/ 522736 w 516282"/>
                <a:gd name="connsiteY2" fmla="*/ 135524 h 258141"/>
                <a:gd name="connsiteX3" fmla="*/ 122617 w 516282"/>
                <a:gd name="connsiteY3" fmla="*/ 277502 h 258141"/>
                <a:gd name="connsiteX4" fmla="*/ 109710 w 516282"/>
                <a:gd name="connsiteY4" fmla="*/ 109710 h 258141"/>
                <a:gd name="connsiteX5" fmla="*/ 122617 w 516282"/>
                <a:gd name="connsiteY5" fmla="*/ 264595 h 258141"/>
                <a:gd name="connsiteX6" fmla="*/ 484015 w 516282"/>
                <a:gd name="connsiteY6" fmla="*/ 135524 h 258141"/>
                <a:gd name="connsiteX7" fmla="*/ 109710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122617" y="277502"/>
                  </a:moveTo>
                  <a:lnTo>
                    <a:pt x="96803" y="96803"/>
                  </a:lnTo>
                  <a:lnTo>
                    <a:pt x="522736" y="135524"/>
                  </a:lnTo>
                  <a:lnTo>
                    <a:pt x="122617" y="277502"/>
                  </a:lnTo>
                  <a:close/>
                  <a:moveTo>
                    <a:pt x="109710" y="109710"/>
                  </a:moveTo>
                  <a:lnTo>
                    <a:pt x="122617" y="264595"/>
                  </a:lnTo>
                  <a:lnTo>
                    <a:pt x="484015" y="135524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0" name="Freeform: Shape 2999">
              <a:extLst>
                <a:ext uri="{FF2B5EF4-FFF2-40B4-BE49-F238E27FC236}">
                  <a16:creationId xmlns:a16="http://schemas.microsoft.com/office/drawing/2014/main" id="{C24EC338-DCBC-458D-B8A1-BD9AE358768A}"/>
                </a:ext>
              </a:extLst>
            </p:cNvPr>
            <p:cNvSpPr/>
            <p:nvPr/>
          </p:nvSpPr>
          <p:spPr>
            <a:xfrm>
              <a:off x="6869258" y="1124094"/>
              <a:ext cx="516283" cy="258141"/>
            </a:xfrm>
            <a:custGeom>
              <a:avLst/>
              <a:gdLst>
                <a:gd name="connsiteX0" fmla="*/ 393665 w 516282"/>
                <a:gd name="connsiteY0" fmla="*/ 264595 h 258141"/>
                <a:gd name="connsiteX1" fmla="*/ 96803 w 516282"/>
                <a:gd name="connsiteY1" fmla="*/ 96803 h 258141"/>
                <a:gd name="connsiteX2" fmla="*/ 509829 w 516282"/>
                <a:gd name="connsiteY2" fmla="*/ 187152 h 258141"/>
                <a:gd name="connsiteX3" fmla="*/ 393665 w 516282"/>
                <a:gd name="connsiteY3" fmla="*/ 264595 h 258141"/>
                <a:gd name="connsiteX4" fmla="*/ 135524 w 516282"/>
                <a:gd name="connsiteY4" fmla="*/ 109710 h 258141"/>
                <a:gd name="connsiteX5" fmla="*/ 393665 w 516282"/>
                <a:gd name="connsiteY5" fmla="*/ 251688 h 258141"/>
                <a:gd name="connsiteX6" fmla="*/ 484015 w 516282"/>
                <a:gd name="connsiteY6" fmla="*/ 187152 h 258141"/>
                <a:gd name="connsiteX7" fmla="*/ 135524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393665" y="264595"/>
                  </a:moveTo>
                  <a:lnTo>
                    <a:pt x="96803" y="96803"/>
                  </a:lnTo>
                  <a:lnTo>
                    <a:pt x="509829" y="187152"/>
                  </a:lnTo>
                  <a:lnTo>
                    <a:pt x="393665" y="264595"/>
                  </a:lnTo>
                  <a:close/>
                  <a:moveTo>
                    <a:pt x="135524" y="109710"/>
                  </a:moveTo>
                  <a:lnTo>
                    <a:pt x="393665" y="251688"/>
                  </a:lnTo>
                  <a:lnTo>
                    <a:pt x="484015" y="187152"/>
                  </a:lnTo>
                  <a:lnTo>
                    <a:pt x="13552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1" name="Freeform: Shape 3000">
              <a:extLst>
                <a:ext uri="{FF2B5EF4-FFF2-40B4-BE49-F238E27FC236}">
                  <a16:creationId xmlns:a16="http://schemas.microsoft.com/office/drawing/2014/main" id="{6F700BBA-4EB1-43C8-9DD6-F272D0475089}"/>
                </a:ext>
              </a:extLst>
            </p:cNvPr>
            <p:cNvSpPr/>
            <p:nvPr/>
          </p:nvSpPr>
          <p:spPr>
            <a:xfrm>
              <a:off x="5888321" y="1124094"/>
              <a:ext cx="774424" cy="258141"/>
            </a:xfrm>
            <a:custGeom>
              <a:avLst/>
              <a:gdLst>
                <a:gd name="connsiteX0" fmla="*/ 238781 w 774423"/>
                <a:gd name="connsiteY0" fmla="*/ 277502 h 258141"/>
                <a:gd name="connsiteX1" fmla="*/ 96803 w 774423"/>
                <a:gd name="connsiteY1" fmla="*/ 174245 h 258141"/>
                <a:gd name="connsiteX2" fmla="*/ 703435 w 774423"/>
                <a:gd name="connsiteY2" fmla="*/ 96803 h 258141"/>
                <a:gd name="connsiteX3" fmla="*/ 238781 w 774423"/>
                <a:gd name="connsiteY3" fmla="*/ 277502 h 258141"/>
                <a:gd name="connsiteX4" fmla="*/ 109710 w 774423"/>
                <a:gd name="connsiteY4" fmla="*/ 174245 h 258141"/>
                <a:gd name="connsiteX5" fmla="*/ 238781 w 774423"/>
                <a:gd name="connsiteY5" fmla="*/ 264595 h 258141"/>
                <a:gd name="connsiteX6" fmla="*/ 651807 w 774423"/>
                <a:gd name="connsiteY6" fmla="*/ 96803 h 258141"/>
                <a:gd name="connsiteX7" fmla="*/ 109710 w 774423"/>
                <a:gd name="connsiteY7" fmla="*/ 17424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258141">
                  <a:moveTo>
                    <a:pt x="238781" y="277502"/>
                  </a:moveTo>
                  <a:lnTo>
                    <a:pt x="96803" y="174245"/>
                  </a:lnTo>
                  <a:lnTo>
                    <a:pt x="703435" y="96803"/>
                  </a:lnTo>
                  <a:lnTo>
                    <a:pt x="238781" y="277502"/>
                  </a:lnTo>
                  <a:close/>
                  <a:moveTo>
                    <a:pt x="109710" y="174245"/>
                  </a:moveTo>
                  <a:lnTo>
                    <a:pt x="238781" y="264595"/>
                  </a:lnTo>
                  <a:lnTo>
                    <a:pt x="651807" y="96803"/>
                  </a:lnTo>
                  <a:lnTo>
                    <a:pt x="109710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2" name="Freeform: Shape 3001">
              <a:extLst>
                <a:ext uri="{FF2B5EF4-FFF2-40B4-BE49-F238E27FC236}">
                  <a16:creationId xmlns:a16="http://schemas.microsoft.com/office/drawing/2014/main" id="{295BA13E-78BC-47A8-91D0-849D3296FA7A}"/>
                </a:ext>
              </a:extLst>
            </p:cNvPr>
            <p:cNvSpPr/>
            <p:nvPr/>
          </p:nvSpPr>
          <p:spPr>
            <a:xfrm>
              <a:off x="5759251" y="1201537"/>
              <a:ext cx="387212" cy="258141"/>
            </a:xfrm>
            <a:custGeom>
              <a:avLst/>
              <a:gdLst>
                <a:gd name="connsiteX0" fmla="*/ 380758 w 387211"/>
                <a:gd name="connsiteY0" fmla="*/ 212967 h 258141"/>
                <a:gd name="connsiteX1" fmla="*/ 96803 w 387211"/>
                <a:gd name="connsiteY1" fmla="*/ 148431 h 258141"/>
                <a:gd name="connsiteX2" fmla="*/ 238781 w 387211"/>
                <a:gd name="connsiteY2" fmla="*/ 96803 h 258141"/>
                <a:gd name="connsiteX3" fmla="*/ 380758 w 387211"/>
                <a:gd name="connsiteY3" fmla="*/ 212967 h 258141"/>
                <a:gd name="connsiteX4" fmla="*/ 122617 w 387211"/>
                <a:gd name="connsiteY4" fmla="*/ 148431 h 258141"/>
                <a:gd name="connsiteX5" fmla="*/ 354944 w 387211"/>
                <a:gd name="connsiteY5" fmla="*/ 200059 h 258141"/>
                <a:gd name="connsiteX6" fmla="*/ 238781 w 387211"/>
                <a:gd name="connsiteY6" fmla="*/ 109710 h 258141"/>
                <a:gd name="connsiteX7" fmla="*/ 122617 w 387211"/>
                <a:gd name="connsiteY7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80758" y="212967"/>
                  </a:moveTo>
                  <a:lnTo>
                    <a:pt x="96803" y="148431"/>
                  </a:lnTo>
                  <a:lnTo>
                    <a:pt x="238781" y="96803"/>
                  </a:lnTo>
                  <a:lnTo>
                    <a:pt x="380758" y="212967"/>
                  </a:lnTo>
                  <a:close/>
                  <a:moveTo>
                    <a:pt x="122617" y="148431"/>
                  </a:moveTo>
                  <a:lnTo>
                    <a:pt x="354944" y="200059"/>
                  </a:lnTo>
                  <a:lnTo>
                    <a:pt x="238781" y="109710"/>
                  </a:lnTo>
                  <a:lnTo>
                    <a:pt x="122617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3" name="Freeform: Shape 3002">
              <a:extLst>
                <a:ext uri="{FF2B5EF4-FFF2-40B4-BE49-F238E27FC236}">
                  <a16:creationId xmlns:a16="http://schemas.microsoft.com/office/drawing/2014/main" id="{873B15A6-1B98-4AE0-91F5-FEEA1AC8AA22}"/>
                </a:ext>
              </a:extLst>
            </p:cNvPr>
            <p:cNvSpPr/>
            <p:nvPr/>
          </p:nvSpPr>
          <p:spPr>
            <a:xfrm>
              <a:off x="5062269" y="1356421"/>
              <a:ext cx="258141" cy="387212"/>
            </a:xfrm>
            <a:custGeom>
              <a:avLst/>
              <a:gdLst>
                <a:gd name="connsiteX0" fmla="*/ 109710 w 258141"/>
                <a:gd name="connsiteY0" fmla="*/ 329130 h 387211"/>
                <a:gd name="connsiteX1" fmla="*/ 96803 w 258141"/>
                <a:gd name="connsiteY1" fmla="*/ 96803 h 387211"/>
                <a:gd name="connsiteX2" fmla="*/ 264595 w 258141"/>
                <a:gd name="connsiteY2" fmla="*/ 96803 h 387211"/>
                <a:gd name="connsiteX3" fmla="*/ 109710 w 258141"/>
                <a:gd name="connsiteY3" fmla="*/ 329130 h 387211"/>
                <a:gd name="connsiteX4" fmla="*/ 96803 w 258141"/>
                <a:gd name="connsiteY4" fmla="*/ 96803 h 387211"/>
                <a:gd name="connsiteX5" fmla="*/ 109710 w 258141"/>
                <a:gd name="connsiteY5" fmla="*/ 303316 h 387211"/>
                <a:gd name="connsiteX6" fmla="*/ 238781 w 258141"/>
                <a:gd name="connsiteY6" fmla="*/ 96803 h 387211"/>
                <a:gd name="connsiteX7" fmla="*/ 96803 w 25814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09710" y="329130"/>
                  </a:moveTo>
                  <a:lnTo>
                    <a:pt x="96803" y="96803"/>
                  </a:lnTo>
                  <a:lnTo>
                    <a:pt x="264595" y="96803"/>
                  </a:lnTo>
                  <a:lnTo>
                    <a:pt x="109710" y="329130"/>
                  </a:lnTo>
                  <a:close/>
                  <a:moveTo>
                    <a:pt x="96803" y="96803"/>
                  </a:moveTo>
                  <a:lnTo>
                    <a:pt x="109710" y="303316"/>
                  </a:lnTo>
                  <a:lnTo>
                    <a:pt x="238781" y="96803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4" name="Freeform: Shape 3003">
              <a:extLst>
                <a:ext uri="{FF2B5EF4-FFF2-40B4-BE49-F238E27FC236}">
                  <a16:creationId xmlns:a16="http://schemas.microsoft.com/office/drawing/2014/main" id="{64DF8F50-F71E-443D-A33C-30A40BA27C15}"/>
                </a:ext>
              </a:extLst>
            </p:cNvPr>
            <p:cNvSpPr/>
            <p:nvPr/>
          </p:nvSpPr>
          <p:spPr>
            <a:xfrm>
              <a:off x="5036455" y="1201537"/>
              <a:ext cx="516283" cy="258141"/>
            </a:xfrm>
            <a:custGeom>
              <a:avLst/>
              <a:gdLst>
                <a:gd name="connsiteX0" fmla="*/ 96803 w 516282"/>
                <a:gd name="connsiteY0" fmla="*/ 251688 h 258141"/>
                <a:gd name="connsiteX1" fmla="*/ 496922 w 516282"/>
                <a:gd name="connsiteY1" fmla="*/ 96803 h 258141"/>
                <a:gd name="connsiteX2" fmla="*/ 264595 w 516282"/>
                <a:gd name="connsiteY2" fmla="*/ 238781 h 258141"/>
                <a:gd name="connsiteX3" fmla="*/ 96803 w 516282"/>
                <a:gd name="connsiteY3" fmla="*/ 251688 h 258141"/>
                <a:gd name="connsiteX4" fmla="*/ 445294 w 516282"/>
                <a:gd name="connsiteY4" fmla="*/ 135524 h 258141"/>
                <a:gd name="connsiteX5" fmla="*/ 135524 w 516282"/>
                <a:gd name="connsiteY5" fmla="*/ 251688 h 258141"/>
                <a:gd name="connsiteX6" fmla="*/ 264595 w 516282"/>
                <a:gd name="connsiteY6" fmla="*/ 251688 h 258141"/>
                <a:gd name="connsiteX7" fmla="*/ 445294 w 516282"/>
                <a:gd name="connsiteY7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96803" y="251688"/>
                  </a:moveTo>
                  <a:lnTo>
                    <a:pt x="496922" y="96803"/>
                  </a:lnTo>
                  <a:lnTo>
                    <a:pt x="264595" y="238781"/>
                  </a:lnTo>
                  <a:lnTo>
                    <a:pt x="96803" y="251688"/>
                  </a:lnTo>
                  <a:close/>
                  <a:moveTo>
                    <a:pt x="445294" y="135524"/>
                  </a:moveTo>
                  <a:lnTo>
                    <a:pt x="135524" y="251688"/>
                  </a:lnTo>
                  <a:lnTo>
                    <a:pt x="264595" y="251688"/>
                  </a:lnTo>
                  <a:lnTo>
                    <a:pt x="445294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5" name="Freeform: Shape 3004">
              <a:extLst>
                <a:ext uri="{FF2B5EF4-FFF2-40B4-BE49-F238E27FC236}">
                  <a16:creationId xmlns:a16="http://schemas.microsoft.com/office/drawing/2014/main" id="{C57BD4C9-809D-43BC-8119-83EFBBEAB471}"/>
                </a:ext>
              </a:extLst>
            </p:cNvPr>
            <p:cNvSpPr/>
            <p:nvPr/>
          </p:nvSpPr>
          <p:spPr>
            <a:xfrm>
              <a:off x="5062269" y="1343514"/>
              <a:ext cx="516283" cy="387212"/>
            </a:xfrm>
            <a:custGeom>
              <a:avLst/>
              <a:gdLst>
                <a:gd name="connsiteX0" fmla="*/ 96803 w 516282"/>
                <a:gd name="connsiteY0" fmla="*/ 329130 h 387211"/>
                <a:gd name="connsiteX1" fmla="*/ 238781 w 516282"/>
                <a:gd name="connsiteY1" fmla="*/ 96803 h 387211"/>
                <a:gd name="connsiteX2" fmla="*/ 419480 w 516282"/>
                <a:gd name="connsiteY2" fmla="*/ 316223 h 387211"/>
                <a:gd name="connsiteX3" fmla="*/ 96803 w 516282"/>
                <a:gd name="connsiteY3" fmla="*/ 329130 h 387211"/>
                <a:gd name="connsiteX4" fmla="*/ 238781 w 516282"/>
                <a:gd name="connsiteY4" fmla="*/ 109710 h 387211"/>
                <a:gd name="connsiteX5" fmla="*/ 109710 w 516282"/>
                <a:gd name="connsiteY5" fmla="*/ 316223 h 387211"/>
                <a:gd name="connsiteX6" fmla="*/ 406573 w 516282"/>
                <a:gd name="connsiteY6" fmla="*/ 303316 h 387211"/>
                <a:gd name="connsiteX7" fmla="*/ 238781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96803" y="329130"/>
                  </a:moveTo>
                  <a:lnTo>
                    <a:pt x="238781" y="96803"/>
                  </a:lnTo>
                  <a:lnTo>
                    <a:pt x="419480" y="316223"/>
                  </a:lnTo>
                  <a:lnTo>
                    <a:pt x="96803" y="329130"/>
                  </a:lnTo>
                  <a:close/>
                  <a:moveTo>
                    <a:pt x="238781" y="109710"/>
                  </a:moveTo>
                  <a:lnTo>
                    <a:pt x="109710" y="316223"/>
                  </a:lnTo>
                  <a:lnTo>
                    <a:pt x="406573" y="303316"/>
                  </a:lnTo>
                  <a:lnTo>
                    <a:pt x="23878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6" name="Freeform: Shape 3005">
              <a:extLst>
                <a:ext uri="{FF2B5EF4-FFF2-40B4-BE49-F238E27FC236}">
                  <a16:creationId xmlns:a16="http://schemas.microsoft.com/office/drawing/2014/main" id="{202952A0-03FC-4B4B-BC70-C92DB58DB586}"/>
                </a:ext>
              </a:extLst>
            </p:cNvPr>
            <p:cNvSpPr/>
            <p:nvPr/>
          </p:nvSpPr>
          <p:spPr>
            <a:xfrm>
              <a:off x="4804128" y="1356421"/>
              <a:ext cx="387212" cy="258141"/>
            </a:xfrm>
            <a:custGeom>
              <a:avLst/>
              <a:gdLst>
                <a:gd name="connsiteX0" fmla="*/ 225874 w 387211"/>
                <a:gd name="connsiteY0" fmla="*/ 200059 h 258141"/>
                <a:gd name="connsiteX1" fmla="*/ 96803 w 387211"/>
                <a:gd name="connsiteY1" fmla="*/ 174245 h 258141"/>
                <a:gd name="connsiteX2" fmla="*/ 367851 w 387211"/>
                <a:gd name="connsiteY2" fmla="*/ 96803 h 258141"/>
                <a:gd name="connsiteX3" fmla="*/ 225874 w 387211"/>
                <a:gd name="connsiteY3" fmla="*/ 200059 h 258141"/>
                <a:gd name="connsiteX4" fmla="*/ 109710 w 387211"/>
                <a:gd name="connsiteY4" fmla="*/ 174245 h 258141"/>
                <a:gd name="connsiteX5" fmla="*/ 225874 w 387211"/>
                <a:gd name="connsiteY5" fmla="*/ 200059 h 258141"/>
                <a:gd name="connsiteX6" fmla="*/ 342037 w 387211"/>
                <a:gd name="connsiteY6" fmla="*/ 109710 h 258141"/>
                <a:gd name="connsiteX7" fmla="*/ 109710 w 387211"/>
                <a:gd name="connsiteY7" fmla="*/ 17424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225874" y="200059"/>
                  </a:moveTo>
                  <a:lnTo>
                    <a:pt x="96803" y="174245"/>
                  </a:lnTo>
                  <a:lnTo>
                    <a:pt x="367851" y="96803"/>
                  </a:lnTo>
                  <a:lnTo>
                    <a:pt x="225874" y="200059"/>
                  </a:lnTo>
                  <a:close/>
                  <a:moveTo>
                    <a:pt x="109710" y="174245"/>
                  </a:moveTo>
                  <a:lnTo>
                    <a:pt x="225874" y="200059"/>
                  </a:lnTo>
                  <a:lnTo>
                    <a:pt x="342037" y="109710"/>
                  </a:lnTo>
                  <a:lnTo>
                    <a:pt x="109710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7" name="Freeform: Shape 3006">
              <a:extLst>
                <a:ext uri="{FF2B5EF4-FFF2-40B4-BE49-F238E27FC236}">
                  <a16:creationId xmlns:a16="http://schemas.microsoft.com/office/drawing/2014/main" id="{3D21CD8E-A835-4809-AA89-5613B8025E01}"/>
                </a:ext>
              </a:extLst>
            </p:cNvPr>
            <p:cNvSpPr/>
            <p:nvPr/>
          </p:nvSpPr>
          <p:spPr>
            <a:xfrm>
              <a:off x="4804128" y="1420957"/>
              <a:ext cx="258141" cy="258141"/>
            </a:xfrm>
            <a:custGeom>
              <a:avLst/>
              <a:gdLst>
                <a:gd name="connsiteX0" fmla="*/ 174245 w 258141"/>
                <a:gd name="connsiteY0" fmla="*/ 200059 h 258141"/>
                <a:gd name="connsiteX1" fmla="*/ 96803 w 258141"/>
                <a:gd name="connsiteY1" fmla="*/ 96803 h 258141"/>
                <a:gd name="connsiteX2" fmla="*/ 225874 w 258141"/>
                <a:gd name="connsiteY2" fmla="*/ 135524 h 258141"/>
                <a:gd name="connsiteX3" fmla="*/ 174245 w 258141"/>
                <a:gd name="connsiteY3" fmla="*/ 200059 h 258141"/>
                <a:gd name="connsiteX4" fmla="*/ 109710 w 258141"/>
                <a:gd name="connsiteY4" fmla="*/ 109710 h 258141"/>
                <a:gd name="connsiteX5" fmla="*/ 174245 w 258141"/>
                <a:gd name="connsiteY5" fmla="*/ 187152 h 258141"/>
                <a:gd name="connsiteX6" fmla="*/ 225874 w 258141"/>
                <a:gd name="connsiteY6" fmla="*/ 135524 h 258141"/>
                <a:gd name="connsiteX7" fmla="*/ 109710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74245" y="200059"/>
                  </a:moveTo>
                  <a:lnTo>
                    <a:pt x="96803" y="96803"/>
                  </a:lnTo>
                  <a:lnTo>
                    <a:pt x="225874" y="135524"/>
                  </a:lnTo>
                  <a:lnTo>
                    <a:pt x="174245" y="200059"/>
                  </a:lnTo>
                  <a:close/>
                  <a:moveTo>
                    <a:pt x="109710" y="109710"/>
                  </a:moveTo>
                  <a:lnTo>
                    <a:pt x="174245" y="187152"/>
                  </a:lnTo>
                  <a:lnTo>
                    <a:pt x="225874" y="135524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8" name="Freeform: Shape 3007">
              <a:extLst>
                <a:ext uri="{FF2B5EF4-FFF2-40B4-BE49-F238E27FC236}">
                  <a16:creationId xmlns:a16="http://schemas.microsoft.com/office/drawing/2014/main" id="{E84A7242-E13A-40B8-95EE-7824E9386973}"/>
                </a:ext>
              </a:extLst>
            </p:cNvPr>
            <p:cNvSpPr/>
            <p:nvPr/>
          </p:nvSpPr>
          <p:spPr>
            <a:xfrm>
              <a:off x="4933198" y="1343514"/>
              <a:ext cx="258141" cy="387212"/>
            </a:xfrm>
            <a:custGeom>
              <a:avLst/>
              <a:gdLst>
                <a:gd name="connsiteX0" fmla="*/ 238781 w 258141"/>
                <a:gd name="connsiteY0" fmla="*/ 329130 h 387211"/>
                <a:gd name="connsiteX1" fmla="*/ 96803 w 258141"/>
                <a:gd name="connsiteY1" fmla="*/ 212967 h 387211"/>
                <a:gd name="connsiteX2" fmla="*/ 225874 w 258141"/>
                <a:gd name="connsiteY2" fmla="*/ 96803 h 387211"/>
                <a:gd name="connsiteX3" fmla="*/ 238781 w 258141"/>
                <a:gd name="connsiteY3" fmla="*/ 329130 h 387211"/>
                <a:gd name="connsiteX4" fmla="*/ 96803 w 258141"/>
                <a:gd name="connsiteY4" fmla="*/ 212967 h 387211"/>
                <a:gd name="connsiteX5" fmla="*/ 225874 w 258141"/>
                <a:gd name="connsiteY5" fmla="*/ 316223 h 387211"/>
                <a:gd name="connsiteX6" fmla="*/ 212967 w 258141"/>
                <a:gd name="connsiteY6" fmla="*/ 109710 h 387211"/>
                <a:gd name="connsiteX7" fmla="*/ 96803 w 258141"/>
                <a:gd name="connsiteY7" fmla="*/ 21296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38781" y="329130"/>
                  </a:moveTo>
                  <a:lnTo>
                    <a:pt x="96803" y="212967"/>
                  </a:lnTo>
                  <a:lnTo>
                    <a:pt x="225874" y="96803"/>
                  </a:lnTo>
                  <a:lnTo>
                    <a:pt x="238781" y="329130"/>
                  </a:lnTo>
                  <a:close/>
                  <a:moveTo>
                    <a:pt x="96803" y="212967"/>
                  </a:moveTo>
                  <a:lnTo>
                    <a:pt x="225874" y="316223"/>
                  </a:lnTo>
                  <a:lnTo>
                    <a:pt x="212967" y="109710"/>
                  </a:lnTo>
                  <a:lnTo>
                    <a:pt x="96803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09" name="Freeform: Shape 3008">
              <a:extLst>
                <a:ext uri="{FF2B5EF4-FFF2-40B4-BE49-F238E27FC236}">
                  <a16:creationId xmlns:a16="http://schemas.microsoft.com/office/drawing/2014/main" id="{A81952D5-3555-4B92-A3D7-9BDA5CC3A37D}"/>
                </a:ext>
              </a:extLst>
            </p:cNvPr>
            <p:cNvSpPr/>
            <p:nvPr/>
          </p:nvSpPr>
          <p:spPr>
            <a:xfrm>
              <a:off x="4881570" y="1459678"/>
              <a:ext cx="387212" cy="258141"/>
            </a:xfrm>
            <a:custGeom>
              <a:avLst/>
              <a:gdLst>
                <a:gd name="connsiteX0" fmla="*/ 303316 w 387211"/>
                <a:gd name="connsiteY0" fmla="*/ 212967 h 258141"/>
                <a:gd name="connsiteX1" fmla="*/ 96803 w 387211"/>
                <a:gd name="connsiteY1" fmla="*/ 148431 h 258141"/>
                <a:gd name="connsiteX2" fmla="*/ 148431 w 387211"/>
                <a:gd name="connsiteY2" fmla="*/ 96803 h 258141"/>
                <a:gd name="connsiteX3" fmla="*/ 303316 w 387211"/>
                <a:gd name="connsiteY3" fmla="*/ 212967 h 258141"/>
                <a:gd name="connsiteX4" fmla="*/ 109710 w 387211"/>
                <a:gd name="connsiteY4" fmla="*/ 148431 h 258141"/>
                <a:gd name="connsiteX5" fmla="*/ 277502 w 387211"/>
                <a:gd name="connsiteY5" fmla="*/ 200059 h 258141"/>
                <a:gd name="connsiteX6" fmla="*/ 148431 w 387211"/>
                <a:gd name="connsiteY6" fmla="*/ 96803 h 258141"/>
                <a:gd name="connsiteX7" fmla="*/ 109710 w 387211"/>
                <a:gd name="connsiteY7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03316" y="212967"/>
                  </a:moveTo>
                  <a:lnTo>
                    <a:pt x="96803" y="148431"/>
                  </a:lnTo>
                  <a:lnTo>
                    <a:pt x="148431" y="96803"/>
                  </a:lnTo>
                  <a:lnTo>
                    <a:pt x="303316" y="212967"/>
                  </a:lnTo>
                  <a:close/>
                  <a:moveTo>
                    <a:pt x="109710" y="148431"/>
                  </a:moveTo>
                  <a:lnTo>
                    <a:pt x="277502" y="200059"/>
                  </a:lnTo>
                  <a:lnTo>
                    <a:pt x="148431" y="96803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0" name="Freeform: Shape 3009">
              <a:extLst>
                <a:ext uri="{FF2B5EF4-FFF2-40B4-BE49-F238E27FC236}">
                  <a16:creationId xmlns:a16="http://schemas.microsoft.com/office/drawing/2014/main" id="{7E866F37-0C0B-4E29-B24C-62A7674AAC20}"/>
                </a:ext>
              </a:extLst>
            </p:cNvPr>
            <p:cNvSpPr/>
            <p:nvPr/>
          </p:nvSpPr>
          <p:spPr>
            <a:xfrm>
              <a:off x="6456232" y="1124094"/>
              <a:ext cx="516283" cy="258141"/>
            </a:xfrm>
            <a:custGeom>
              <a:avLst/>
              <a:gdLst>
                <a:gd name="connsiteX0" fmla="*/ 471108 w 516282"/>
                <a:gd name="connsiteY0" fmla="*/ 277502 h 258141"/>
                <a:gd name="connsiteX1" fmla="*/ 96803 w 516282"/>
                <a:gd name="connsiteY1" fmla="*/ 96803 h 258141"/>
                <a:gd name="connsiteX2" fmla="*/ 535643 w 516282"/>
                <a:gd name="connsiteY2" fmla="*/ 96803 h 258141"/>
                <a:gd name="connsiteX3" fmla="*/ 471108 w 516282"/>
                <a:gd name="connsiteY3" fmla="*/ 277502 h 258141"/>
                <a:gd name="connsiteX4" fmla="*/ 122617 w 516282"/>
                <a:gd name="connsiteY4" fmla="*/ 109710 h 258141"/>
                <a:gd name="connsiteX5" fmla="*/ 458201 w 516282"/>
                <a:gd name="connsiteY5" fmla="*/ 277502 h 258141"/>
                <a:gd name="connsiteX6" fmla="*/ 509829 w 516282"/>
                <a:gd name="connsiteY6" fmla="*/ 109710 h 258141"/>
                <a:gd name="connsiteX7" fmla="*/ 122617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471108" y="277502"/>
                  </a:moveTo>
                  <a:lnTo>
                    <a:pt x="96803" y="96803"/>
                  </a:lnTo>
                  <a:lnTo>
                    <a:pt x="535643" y="96803"/>
                  </a:lnTo>
                  <a:lnTo>
                    <a:pt x="471108" y="277502"/>
                  </a:lnTo>
                  <a:close/>
                  <a:moveTo>
                    <a:pt x="122617" y="109710"/>
                  </a:moveTo>
                  <a:lnTo>
                    <a:pt x="458201" y="277502"/>
                  </a:lnTo>
                  <a:lnTo>
                    <a:pt x="509829" y="109710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1" name="Freeform: Shape 3010">
              <a:extLst>
                <a:ext uri="{FF2B5EF4-FFF2-40B4-BE49-F238E27FC236}">
                  <a16:creationId xmlns:a16="http://schemas.microsoft.com/office/drawing/2014/main" id="{E2AACDF5-2B9A-4573-B0DB-4C9EF5C1BB4B}"/>
                </a:ext>
              </a:extLst>
            </p:cNvPr>
            <p:cNvSpPr/>
            <p:nvPr/>
          </p:nvSpPr>
          <p:spPr>
            <a:xfrm>
              <a:off x="6830537" y="1124094"/>
              <a:ext cx="516283" cy="258141"/>
            </a:xfrm>
            <a:custGeom>
              <a:avLst/>
              <a:gdLst>
                <a:gd name="connsiteX0" fmla="*/ 96803 w 516282"/>
                <a:gd name="connsiteY0" fmla="*/ 277502 h 258141"/>
                <a:gd name="connsiteX1" fmla="*/ 161338 w 516282"/>
                <a:gd name="connsiteY1" fmla="*/ 96803 h 258141"/>
                <a:gd name="connsiteX2" fmla="*/ 458201 w 516282"/>
                <a:gd name="connsiteY2" fmla="*/ 251688 h 258141"/>
                <a:gd name="connsiteX3" fmla="*/ 96803 w 516282"/>
                <a:gd name="connsiteY3" fmla="*/ 277502 h 258141"/>
                <a:gd name="connsiteX4" fmla="*/ 161338 w 516282"/>
                <a:gd name="connsiteY4" fmla="*/ 109710 h 258141"/>
                <a:gd name="connsiteX5" fmla="*/ 109710 w 516282"/>
                <a:gd name="connsiteY5" fmla="*/ 277502 h 258141"/>
                <a:gd name="connsiteX6" fmla="*/ 432386 w 516282"/>
                <a:gd name="connsiteY6" fmla="*/ 251688 h 258141"/>
                <a:gd name="connsiteX7" fmla="*/ 161338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96803" y="277502"/>
                  </a:moveTo>
                  <a:lnTo>
                    <a:pt x="161338" y="96803"/>
                  </a:lnTo>
                  <a:lnTo>
                    <a:pt x="458201" y="251688"/>
                  </a:lnTo>
                  <a:lnTo>
                    <a:pt x="96803" y="277502"/>
                  </a:lnTo>
                  <a:close/>
                  <a:moveTo>
                    <a:pt x="161338" y="109710"/>
                  </a:moveTo>
                  <a:lnTo>
                    <a:pt x="109710" y="277502"/>
                  </a:lnTo>
                  <a:lnTo>
                    <a:pt x="432386" y="251688"/>
                  </a:lnTo>
                  <a:lnTo>
                    <a:pt x="16133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2" name="Freeform: Shape 3011">
              <a:extLst>
                <a:ext uri="{FF2B5EF4-FFF2-40B4-BE49-F238E27FC236}">
                  <a16:creationId xmlns:a16="http://schemas.microsoft.com/office/drawing/2014/main" id="{065BB274-DEF2-4E2C-AE9D-04EF0184EEC8}"/>
                </a:ext>
              </a:extLst>
            </p:cNvPr>
            <p:cNvSpPr/>
            <p:nvPr/>
          </p:nvSpPr>
          <p:spPr>
            <a:xfrm>
              <a:off x="6830537" y="1291886"/>
              <a:ext cx="516283" cy="516283"/>
            </a:xfrm>
            <a:custGeom>
              <a:avLst/>
              <a:gdLst>
                <a:gd name="connsiteX0" fmla="*/ 316223 w 516282"/>
                <a:gd name="connsiteY0" fmla="*/ 509829 h 516282"/>
                <a:gd name="connsiteX1" fmla="*/ 96803 w 516282"/>
                <a:gd name="connsiteY1" fmla="*/ 96803 h 516282"/>
                <a:gd name="connsiteX2" fmla="*/ 445294 w 516282"/>
                <a:gd name="connsiteY2" fmla="*/ 329130 h 516282"/>
                <a:gd name="connsiteX3" fmla="*/ 316223 w 516282"/>
                <a:gd name="connsiteY3" fmla="*/ 509829 h 516282"/>
                <a:gd name="connsiteX4" fmla="*/ 109710 w 516282"/>
                <a:gd name="connsiteY4" fmla="*/ 122617 h 516282"/>
                <a:gd name="connsiteX5" fmla="*/ 316223 w 516282"/>
                <a:gd name="connsiteY5" fmla="*/ 496922 h 516282"/>
                <a:gd name="connsiteX6" fmla="*/ 432386 w 516282"/>
                <a:gd name="connsiteY6" fmla="*/ 342037 h 516282"/>
                <a:gd name="connsiteX7" fmla="*/ 109710 w 516282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316223" y="509829"/>
                  </a:moveTo>
                  <a:lnTo>
                    <a:pt x="96803" y="96803"/>
                  </a:lnTo>
                  <a:lnTo>
                    <a:pt x="445294" y="329130"/>
                  </a:lnTo>
                  <a:lnTo>
                    <a:pt x="316223" y="509829"/>
                  </a:lnTo>
                  <a:close/>
                  <a:moveTo>
                    <a:pt x="109710" y="122617"/>
                  </a:moveTo>
                  <a:lnTo>
                    <a:pt x="316223" y="496922"/>
                  </a:lnTo>
                  <a:lnTo>
                    <a:pt x="432386" y="342037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3" name="Freeform: Shape 3012">
              <a:extLst>
                <a:ext uri="{FF2B5EF4-FFF2-40B4-BE49-F238E27FC236}">
                  <a16:creationId xmlns:a16="http://schemas.microsoft.com/office/drawing/2014/main" id="{EE721650-B1CD-4844-AD33-4C6901FE09A6}"/>
                </a:ext>
              </a:extLst>
            </p:cNvPr>
            <p:cNvSpPr/>
            <p:nvPr/>
          </p:nvSpPr>
          <p:spPr>
            <a:xfrm>
              <a:off x="6830537" y="1278979"/>
              <a:ext cx="516283" cy="387212"/>
            </a:xfrm>
            <a:custGeom>
              <a:avLst/>
              <a:gdLst>
                <a:gd name="connsiteX0" fmla="*/ 445294 w 516282"/>
                <a:gd name="connsiteY0" fmla="*/ 354944 h 387211"/>
                <a:gd name="connsiteX1" fmla="*/ 96803 w 516282"/>
                <a:gd name="connsiteY1" fmla="*/ 122617 h 387211"/>
                <a:gd name="connsiteX2" fmla="*/ 445294 w 516282"/>
                <a:gd name="connsiteY2" fmla="*/ 96803 h 387211"/>
                <a:gd name="connsiteX3" fmla="*/ 445294 w 516282"/>
                <a:gd name="connsiteY3" fmla="*/ 354944 h 387211"/>
                <a:gd name="connsiteX4" fmla="*/ 109710 w 516282"/>
                <a:gd name="connsiteY4" fmla="*/ 122617 h 387211"/>
                <a:gd name="connsiteX5" fmla="*/ 432386 w 516282"/>
                <a:gd name="connsiteY5" fmla="*/ 342037 h 387211"/>
                <a:gd name="connsiteX6" fmla="*/ 432386 w 516282"/>
                <a:gd name="connsiteY6" fmla="*/ 96803 h 387211"/>
                <a:gd name="connsiteX7" fmla="*/ 109710 w 516282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45294" y="354944"/>
                  </a:moveTo>
                  <a:lnTo>
                    <a:pt x="96803" y="122617"/>
                  </a:lnTo>
                  <a:lnTo>
                    <a:pt x="445294" y="96803"/>
                  </a:lnTo>
                  <a:lnTo>
                    <a:pt x="445294" y="354944"/>
                  </a:lnTo>
                  <a:close/>
                  <a:moveTo>
                    <a:pt x="109710" y="122617"/>
                  </a:moveTo>
                  <a:lnTo>
                    <a:pt x="432386" y="342037"/>
                  </a:lnTo>
                  <a:lnTo>
                    <a:pt x="432386" y="96803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4" name="Freeform: Shape 3013">
              <a:extLst>
                <a:ext uri="{FF2B5EF4-FFF2-40B4-BE49-F238E27FC236}">
                  <a16:creationId xmlns:a16="http://schemas.microsoft.com/office/drawing/2014/main" id="{D3700E5D-3C7D-4E86-9950-EFB7C6F032C6}"/>
                </a:ext>
              </a:extLst>
            </p:cNvPr>
            <p:cNvSpPr/>
            <p:nvPr/>
          </p:nvSpPr>
          <p:spPr>
            <a:xfrm>
              <a:off x="6727281" y="1666191"/>
              <a:ext cx="387212" cy="516283"/>
            </a:xfrm>
            <a:custGeom>
              <a:avLst/>
              <a:gdLst>
                <a:gd name="connsiteX0" fmla="*/ 96803 w 387211"/>
                <a:gd name="connsiteY0" fmla="*/ 484015 h 516282"/>
                <a:gd name="connsiteX1" fmla="*/ 161338 w 387211"/>
                <a:gd name="connsiteY1" fmla="*/ 96803 h 516282"/>
                <a:gd name="connsiteX2" fmla="*/ 329130 w 387211"/>
                <a:gd name="connsiteY2" fmla="*/ 251688 h 516282"/>
                <a:gd name="connsiteX3" fmla="*/ 96803 w 387211"/>
                <a:gd name="connsiteY3" fmla="*/ 484015 h 516282"/>
                <a:gd name="connsiteX4" fmla="*/ 174245 w 387211"/>
                <a:gd name="connsiteY4" fmla="*/ 109710 h 516282"/>
                <a:gd name="connsiteX5" fmla="*/ 109710 w 387211"/>
                <a:gd name="connsiteY5" fmla="*/ 458201 h 516282"/>
                <a:gd name="connsiteX6" fmla="*/ 316223 w 387211"/>
                <a:gd name="connsiteY6" fmla="*/ 251688 h 516282"/>
                <a:gd name="connsiteX7" fmla="*/ 174245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96803" y="484015"/>
                  </a:moveTo>
                  <a:lnTo>
                    <a:pt x="161338" y="96803"/>
                  </a:lnTo>
                  <a:lnTo>
                    <a:pt x="329130" y="251688"/>
                  </a:lnTo>
                  <a:lnTo>
                    <a:pt x="96803" y="484015"/>
                  </a:lnTo>
                  <a:close/>
                  <a:moveTo>
                    <a:pt x="174245" y="109710"/>
                  </a:moveTo>
                  <a:lnTo>
                    <a:pt x="109710" y="458201"/>
                  </a:lnTo>
                  <a:lnTo>
                    <a:pt x="316223" y="251688"/>
                  </a:lnTo>
                  <a:lnTo>
                    <a:pt x="17424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5" name="Freeform: Shape 3014">
              <a:extLst>
                <a:ext uri="{FF2B5EF4-FFF2-40B4-BE49-F238E27FC236}">
                  <a16:creationId xmlns:a16="http://schemas.microsoft.com/office/drawing/2014/main" id="{38246558-332D-4B72-8AEE-F4F12851EBDB}"/>
                </a:ext>
              </a:extLst>
            </p:cNvPr>
            <p:cNvSpPr/>
            <p:nvPr/>
          </p:nvSpPr>
          <p:spPr>
            <a:xfrm>
              <a:off x="6804723" y="1304793"/>
              <a:ext cx="387212" cy="516283"/>
            </a:xfrm>
            <a:custGeom>
              <a:avLst/>
              <a:gdLst>
                <a:gd name="connsiteX0" fmla="*/ 342037 w 387211"/>
                <a:gd name="connsiteY0" fmla="*/ 496922 h 516282"/>
                <a:gd name="connsiteX1" fmla="*/ 96803 w 387211"/>
                <a:gd name="connsiteY1" fmla="*/ 471108 h 516282"/>
                <a:gd name="connsiteX2" fmla="*/ 96803 w 387211"/>
                <a:gd name="connsiteY2" fmla="*/ 471108 h 516282"/>
                <a:gd name="connsiteX3" fmla="*/ 122617 w 387211"/>
                <a:gd name="connsiteY3" fmla="*/ 96803 h 516282"/>
                <a:gd name="connsiteX4" fmla="*/ 342037 w 387211"/>
                <a:gd name="connsiteY4" fmla="*/ 496922 h 516282"/>
                <a:gd name="connsiteX5" fmla="*/ 96803 w 387211"/>
                <a:gd name="connsiteY5" fmla="*/ 458201 h 516282"/>
                <a:gd name="connsiteX6" fmla="*/ 329130 w 387211"/>
                <a:gd name="connsiteY6" fmla="*/ 484015 h 516282"/>
                <a:gd name="connsiteX7" fmla="*/ 122617 w 387211"/>
                <a:gd name="connsiteY7" fmla="*/ 96803 h 516282"/>
                <a:gd name="connsiteX8" fmla="*/ 96803 w 387211"/>
                <a:gd name="connsiteY8" fmla="*/ 45820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516282">
                  <a:moveTo>
                    <a:pt x="342037" y="496922"/>
                  </a:moveTo>
                  <a:lnTo>
                    <a:pt x="96803" y="471108"/>
                  </a:lnTo>
                  <a:lnTo>
                    <a:pt x="96803" y="471108"/>
                  </a:lnTo>
                  <a:lnTo>
                    <a:pt x="122617" y="96803"/>
                  </a:lnTo>
                  <a:lnTo>
                    <a:pt x="342037" y="496922"/>
                  </a:lnTo>
                  <a:close/>
                  <a:moveTo>
                    <a:pt x="96803" y="458201"/>
                  </a:moveTo>
                  <a:lnTo>
                    <a:pt x="329130" y="484015"/>
                  </a:lnTo>
                  <a:lnTo>
                    <a:pt x="122617" y="96803"/>
                  </a:lnTo>
                  <a:lnTo>
                    <a:pt x="96803" y="4582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6" name="Freeform: Shape 3015">
              <a:extLst>
                <a:ext uri="{FF2B5EF4-FFF2-40B4-BE49-F238E27FC236}">
                  <a16:creationId xmlns:a16="http://schemas.microsoft.com/office/drawing/2014/main" id="{F58A776A-D438-4BF8-AD08-C1043EDBDF31}"/>
                </a:ext>
              </a:extLst>
            </p:cNvPr>
            <p:cNvSpPr/>
            <p:nvPr/>
          </p:nvSpPr>
          <p:spPr>
            <a:xfrm>
              <a:off x="6791816" y="1653284"/>
              <a:ext cx="387212" cy="258141"/>
            </a:xfrm>
            <a:custGeom>
              <a:avLst/>
              <a:gdLst>
                <a:gd name="connsiteX0" fmla="*/ 264595 w 387211"/>
                <a:gd name="connsiteY0" fmla="*/ 264595 h 258141"/>
                <a:gd name="connsiteX1" fmla="*/ 96803 w 387211"/>
                <a:gd name="connsiteY1" fmla="*/ 96803 h 258141"/>
                <a:gd name="connsiteX2" fmla="*/ 329130 w 387211"/>
                <a:gd name="connsiteY2" fmla="*/ 187152 h 258141"/>
                <a:gd name="connsiteX3" fmla="*/ 264595 w 387211"/>
                <a:gd name="connsiteY3" fmla="*/ 264595 h 258141"/>
                <a:gd name="connsiteX4" fmla="*/ 122617 w 387211"/>
                <a:gd name="connsiteY4" fmla="*/ 122617 h 258141"/>
                <a:gd name="connsiteX5" fmla="*/ 264595 w 387211"/>
                <a:gd name="connsiteY5" fmla="*/ 264595 h 258141"/>
                <a:gd name="connsiteX6" fmla="*/ 316223 w 387211"/>
                <a:gd name="connsiteY6" fmla="*/ 200060 h 258141"/>
                <a:gd name="connsiteX7" fmla="*/ 122617 w 387211"/>
                <a:gd name="connsiteY7" fmla="*/ 12261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264595" y="264595"/>
                  </a:moveTo>
                  <a:lnTo>
                    <a:pt x="96803" y="96803"/>
                  </a:lnTo>
                  <a:lnTo>
                    <a:pt x="329130" y="187152"/>
                  </a:lnTo>
                  <a:lnTo>
                    <a:pt x="264595" y="264595"/>
                  </a:lnTo>
                  <a:close/>
                  <a:moveTo>
                    <a:pt x="122617" y="122617"/>
                  </a:moveTo>
                  <a:lnTo>
                    <a:pt x="264595" y="264595"/>
                  </a:lnTo>
                  <a:lnTo>
                    <a:pt x="316223" y="200060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7" name="Freeform: Shape 3016">
              <a:extLst>
                <a:ext uri="{FF2B5EF4-FFF2-40B4-BE49-F238E27FC236}">
                  <a16:creationId xmlns:a16="http://schemas.microsoft.com/office/drawing/2014/main" id="{82540605-88A2-49B5-970D-3C9DE65AFA94}"/>
                </a:ext>
              </a:extLst>
            </p:cNvPr>
            <p:cNvSpPr/>
            <p:nvPr/>
          </p:nvSpPr>
          <p:spPr>
            <a:xfrm>
              <a:off x="6778909" y="1666191"/>
              <a:ext cx="387212" cy="258141"/>
            </a:xfrm>
            <a:custGeom>
              <a:avLst/>
              <a:gdLst>
                <a:gd name="connsiteX0" fmla="*/ 342037 w 387211"/>
                <a:gd name="connsiteY0" fmla="*/ 187152 h 258141"/>
                <a:gd name="connsiteX1" fmla="*/ 96803 w 387211"/>
                <a:gd name="connsiteY1" fmla="*/ 96803 h 258141"/>
                <a:gd name="connsiteX2" fmla="*/ 367852 w 387211"/>
                <a:gd name="connsiteY2" fmla="*/ 122617 h 258141"/>
                <a:gd name="connsiteX3" fmla="*/ 342037 w 387211"/>
                <a:gd name="connsiteY3" fmla="*/ 187152 h 258141"/>
                <a:gd name="connsiteX4" fmla="*/ 148431 w 387211"/>
                <a:gd name="connsiteY4" fmla="*/ 109710 h 258141"/>
                <a:gd name="connsiteX5" fmla="*/ 342037 w 387211"/>
                <a:gd name="connsiteY5" fmla="*/ 187152 h 258141"/>
                <a:gd name="connsiteX6" fmla="*/ 367852 w 387211"/>
                <a:gd name="connsiteY6" fmla="*/ 135524 h 258141"/>
                <a:gd name="connsiteX7" fmla="*/ 148431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42037" y="187152"/>
                  </a:moveTo>
                  <a:lnTo>
                    <a:pt x="96803" y="96803"/>
                  </a:lnTo>
                  <a:lnTo>
                    <a:pt x="367852" y="122617"/>
                  </a:lnTo>
                  <a:lnTo>
                    <a:pt x="342037" y="187152"/>
                  </a:lnTo>
                  <a:close/>
                  <a:moveTo>
                    <a:pt x="148431" y="109710"/>
                  </a:moveTo>
                  <a:lnTo>
                    <a:pt x="342037" y="187152"/>
                  </a:lnTo>
                  <a:lnTo>
                    <a:pt x="367852" y="135524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8" name="Freeform: Shape 3017">
              <a:extLst>
                <a:ext uri="{FF2B5EF4-FFF2-40B4-BE49-F238E27FC236}">
                  <a16:creationId xmlns:a16="http://schemas.microsoft.com/office/drawing/2014/main" id="{484DBB1A-3803-4342-A60D-6D1DE2E9D516}"/>
                </a:ext>
              </a:extLst>
            </p:cNvPr>
            <p:cNvSpPr/>
            <p:nvPr/>
          </p:nvSpPr>
          <p:spPr>
            <a:xfrm>
              <a:off x="6017392" y="1124094"/>
              <a:ext cx="645353" cy="387212"/>
            </a:xfrm>
            <a:custGeom>
              <a:avLst/>
              <a:gdLst>
                <a:gd name="connsiteX0" fmla="*/ 496922 w 645353"/>
                <a:gd name="connsiteY0" fmla="*/ 354944 h 387211"/>
                <a:gd name="connsiteX1" fmla="*/ 96803 w 645353"/>
                <a:gd name="connsiteY1" fmla="*/ 277502 h 387211"/>
                <a:gd name="connsiteX2" fmla="*/ 561457 w 645353"/>
                <a:gd name="connsiteY2" fmla="*/ 96803 h 387211"/>
                <a:gd name="connsiteX3" fmla="*/ 496922 w 645353"/>
                <a:gd name="connsiteY3" fmla="*/ 354944 h 387211"/>
                <a:gd name="connsiteX4" fmla="*/ 122617 w 645353"/>
                <a:gd name="connsiteY4" fmla="*/ 277502 h 387211"/>
                <a:gd name="connsiteX5" fmla="*/ 496922 w 645353"/>
                <a:gd name="connsiteY5" fmla="*/ 354944 h 387211"/>
                <a:gd name="connsiteX6" fmla="*/ 548550 w 645353"/>
                <a:gd name="connsiteY6" fmla="*/ 109710 h 387211"/>
                <a:gd name="connsiteX7" fmla="*/ 122617 w 645353"/>
                <a:gd name="connsiteY7" fmla="*/ 277502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496922" y="354944"/>
                  </a:moveTo>
                  <a:lnTo>
                    <a:pt x="96803" y="277502"/>
                  </a:lnTo>
                  <a:lnTo>
                    <a:pt x="561457" y="96803"/>
                  </a:lnTo>
                  <a:lnTo>
                    <a:pt x="496922" y="354944"/>
                  </a:lnTo>
                  <a:close/>
                  <a:moveTo>
                    <a:pt x="122617" y="277502"/>
                  </a:moveTo>
                  <a:lnTo>
                    <a:pt x="496922" y="354944"/>
                  </a:lnTo>
                  <a:lnTo>
                    <a:pt x="548550" y="109710"/>
                  </a:lnTo>
                  <a:lnTo>
                    <a:pt x="122617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19" name="Freeform: Shape 3018">
              <a:extLst>
                <a:ext uri="{FF2B5EF4-FFF2-40B4-BE49-F238E27FC236}">
                  <a16:creationId xmlns:a16="http://schemas.microsoft.com/office/drawing/2014/main" id="{D6033676-8F66-4D9C-87BF-3BE3BD09CAEE}"/>
                </a:ext>
              </a:extLst>
            </p:cNvPr>
            <p:cNvSpPr/>
            <p:nvPr/>
          </p:nvSpPr>
          <p:spPr>
            <a:xfrm>
              <a:off x="6417511" y="1124094"/>
              <a:ext cx="516283" cy="387212"/>
            </a:xfrm>
            <a:custGeom>
              <a:avLst/>
              <a:gdLst>
                <a:gd name="connsiteX0" fmla="*/ 96803 w 516282"/>
                <a:gd name="connsiteY0" fmla="*/ 354944 h 387211"/>
                <a:gd name="connsiteX1" fmla="*/ 161338 w 516282"/>
                <a:gd name="connsiteY1" fmla="*/ 96803 h 387211"/>
                <a:gd name="connsiteX2" fmla="*/ 535643 w 516282"/>
                <a:gd name="connsiteY2" fmla="*/ 277502 h 387211"/>
                <a:gd name="connsiteX3" fmla="*/ 96803 w 516282"/>
                <a:gd name="connsiteY3" fmla="*/ 354944 h 387211"/>
                <a:gd name="connsiteX4" fmla="*/ 161338 w 516282"/>
                <a:gd name="connsiteY4" fmla="*/ 109710 h 387211"/>
                <a:gd name="connsiteX5" fmla="*/ 109710 w 516282"/>
                <a:gd name="connsiteY5" fmla="*/ 354944 h 387211"/>
                <a:gd name="connsiteX6" fmla="*/ 509829 w 516282"/>
                <a:gd name="connsiteY6" fmla="*/ 277502 h 387211"/>
                <a:gd name="connsiteX7" fmla="*/ 161338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96803" y="354944"/>
                  </a:moveTo>
                  <a:lnTo>
                    <a:pt x="161338" y="96803"/>
                  </a:lnTo>
                  <a:lnTo>
                    <a:pt x="535643" y="277502"/>
                  </a:lnTo>
                  <a:lnTo>
                    <a:pt x="96803" y="354944"/>
                  </a:lnTo>
                  <a:close/>
                  <a:moveTo>
                    <a:pt x="161338" y="109710"/>
                  </a:moveTo>
                  <a:lnTo>
                    <a:pt x="109710" y="354944"/>
                  </a:lnTo>
                  <a:lnTo>
                    <a:pt x="509829" y="277502"/>
                  </a:lnTo>
                  <a:lnTo>
                    <a:pt x="16133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0" name="Freeform: Shape 3019">
              <a:extLst>
                <a:ext uri="{FF2B5EF4-FFF2-40B4-BE49-F238E27FC236}">
                  <a16:creationId xmlns:a16="http://schemas.microsoft.com/office/drawing/2014/main" id="{3170EF2A-B4B5-4B4C-B75A-71787F6E4A58}"/>
                </a:ext>
              </a:extLst>
            </p:cNvPr>
            <p:cNvSpPr/>
            <p:nvPr/>
          </p:nvSpPr>
          <p:spPr>
            <a:xfrm>
              <a:off x="6404604" y="1304793"/>
              <a:ext cx="516283" cy="516283"/>
            </a:xfrm>
            <a:custGeom>
              <a:avLst/>
              <a:gdLst>
                <a:gd name="connsiteX0" fmla="*/ 496922 w 516282"/>
                <a:gd name="connsiteY0" fmla="*/ 471108 h 516282"/>
                <a:gd name="connsiteX1" fmla="*/ 96803 w 516282"/>
                <a:gd name="connsiteY1" fmla="*/ 174245 h 516282"/>
                <a:gd name="connsiteX2" fmla="*/ 522736 w 516282"/>
                <a:gd name="connsiteY2" fmla="*/ 96803 h 516282"/>
                <a:gd name="connsiteX3" fmla="*/ 496922 w 516282"/>
                <a:gd name="connsiteY3" fmla="*/ 471108 h 516282"/>
                <a:gd name="connsiteX4" fmla="*/ 122617 w 516282"/>
                <a:gd name="connsiteY4" fmla="*/ 174245 h 516282"/>
                <a:gd name="connsiteX5" fmla="*/ 496922 w 516282"/>
                <a:gd name="connsiteY5" fmla="*/ 458201 h 516282"/>
                <a:gd name="connsiteX6" fmla="*/ 522736 w 516282"/>
                <a:gd name="connsiteY6" fmla="*/ 96803 h 516282"/>
                <a:gd name="connsiteX7" fmla="*/ 122617 w 516282"/>
                <a:gd name="connsiteY7" fmla="*/ 17424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496922" y="471108"/>
                  </a:moveTo>
                  <a:lnTo>
                    <a:pt x="96803" y="174245"/>
                  </a:lnTo>
                  <a:lnTo>
                    <a:pt x="522736" y="96803"/>
                  </a:lnTo>
                  <a:lnTo>
                    <a:pt x="496922" y="471108"/>
                  </a:lnTo>
                  <a:close/>
                  <a:moveTo>
                    <a:pt x="122617" y="174245"/>
                  </a:moveTo>
                  <a:lnTo>
                    <a:pt x="496922" y="458201"/>
                  </a:lnTo>
                  <a:lnTo>
                    <a:pt x="522736" y="96803"/>
                  </a:lnTo>
                  <a:lnTo>
                    <a:pt x="122617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1" name="Freeform: Shape 3020">
              <a:extLst>
                <a:ext uri="{FF2B5EF4-FFF2-40B4-BE49-F238E27FC236}">
                  <a16:creationId xmlns:a16="http://schemas.microsoft.com/office/drawing/2014/main" id="{EBBECFE8-7C0F-4696-A5D9-90A8D46EA76E}"/>
                </a:ext>
              </a:extLst>
            </p:cNvPr>
            <p:cNvSpPr/>
            <p:nvPr/>
          </p:nvSpPr>
          <p:spPr>
            <a:xfrm>
              <a:off x="6262626" y="1872704"/>
              <a:ext cx="387212" cy="516283"/>
            </a:xfrm>
            <a:custGeom>
              <a:avLst/>
              <a:gdLst>
                <a:gd name="connsiteX0" fmla="*/ 174246 w 387211"/>
                <a:gd name="connsiteY0" fmla="*/ 445294 h 516282"/>
                <a:gd name="connsiteX1" fmla="*/ 96803 w 387211"/>
                <a:gd name="connsiteY1" fmla="*/ 96803 h 516282"/>
                <a:gd name="connsiteX2" fmla="*/ 367852 w 387211"/>
                <a:gd name="connsiteY2" fmla="*/ 380758 h 516282"/>
                <a:gd name="connsiteX3" fmla="*/ 174246 w 387211"/>
                <a:gd name="connsiteY3" fmla="*/ 445294 h 516282"/>
                <a:gd name="connsiteX4" fmla="*/ 109710 w 387211"/>
                <a:gd name="connsiteY4" fmla="*/ 122617 h 516282"/>
                <a:gd name="connsiteX5" fmla="*/ 174246 w 387211"/>
                <a:gd name="connsiteY5" fmla="*/ 445294 h 516282"/>
                <a:gd name="connsiteX6" fmla="*/ 354944 w 387211"/>
                <a:gd name="connsiteY6" fmla="*/ 380758 h 516282"/>
                <a:gd name="connsiteX7" fmla="*/ 109710 w 387211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174246" y="445294"/>
                  </a:moveTo>
                  <a:lnTo>
                    <a:pt x="96803" y="96803"/>
                  </a:lnTo>
                  <a:lnTo>
                    <a:pt x="367852" y="380758"/>
                  </a:lnTo>
                  <a:lnTo>
                    <a:pt x="174246" y="445294"/>
                  </a:lnTo>
                  <a:close/>
                  <a:moveTo>
                    <a:pt x="109710" y="122617"/>
                  </a:moveTo>
                  <a:lnTo>
                    <a:pt x="174246" y="445294"/>
                  </a:lnTo>
                  <a:lnTo>
                    <a:pt x="354944" y="380758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2" name="Freeform: Shape 3021">
              <a:extLst>
                <a:ext uri="{FF2B5EF4-FFF2-40B4-BE49-F238E27FC236}">
                  <a16:creationId xmlns:a16="http://schemas.microsoft.com/office/drawing/2014/main" id="{3EC32876-00DA-4669-B687-B04F056B85AF}"/>
                </a:ext>
              </a:extLst>
            </p:cNvPr>
            <p:cNvSpPr/>
            <p:nvPr/>
          </p:nvSpPr>
          <p:spPr>
            <a:xfrm>
              <a:off x="6262626" y="1885611"/>
              <a:ext cx="645353" cy="387212"/>
            </a:xfrm>
            <a:custGeom>
              <a:avLst/>
              <a:gdLst>
                <a:gd name="connsiteX0" fmla="*/ 367852 w 645353"/>
                <a:gd name="connsiteY0" fmla="*/ 380758 h 387211"/>
                <a:gd name="connsiteX1" fmla="*/ 96803 w 645353"/>
                <a:gd name="connsiteY1" fmla="*/ 96803 h 387211"/>
                <a:gd name="connsiteX2" fmla="*/ 574365 w 645353"/>
                <a:gd name="connsiteY2" fmla="*/ 251688 h 387211"/>
                <a:gd name="connsiteX3" fmla="*/ 367852 w 645353"/>
                <a:gd name="connsiteY3" fmla="*/ 380758 h 387211"/>
                <a:gd name="connsiteX4" fmla="*/ 122617 w 645353"/>
                <a:gd name="connsiteY4" fmla="*/ 96803 h 387211"/>
                <a:gd name="connsiteX5" fmla="*/ 367852 w 645353"/>
                <a:gd name="connsiteY5" fmla="*/ 367851 h 387211"/>
                <a:gd name="connsiteX6" fmla="*/ 561458 w 645353"/>
                <a:gd name="connsiteY6" fmla="*/ 251688 h 387211"/>
                <a:gd name="connsiteX7" fmla="*/ 122617 w 645353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367852" y="380758"/>
                  </a:moveTo>
                  <a:lnTo>
                    <a:pt x="96803" y="96803"/>
                  </a:lnTo>
                  <a:lnTo>
                    <a:pt x="574365" y="251688"/>
                  </a:lnTo>
                  <a:lnTo>
                    <a:pt x="367852" y="380758"/>
                  </a:lnTo>
                  <a:close/>
                  <a:moveTo>
                    <a:pt x="122617" y="96803"/>
                  </a:moveTo>
                  <a:lnTo>
                    <a:pt x="367852" y="367851"/>
                  </a:lnTo>
                  <a:lnTo>
                    <a:pt x="561458" y="251688"/>
                  </a:lnTo>
                  <a:lnTo>
                    <a:pt x="122617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3" name="Freeform: Shape 3022">
              <a:extLst>
                <a:ext uri="{FF2B5EF4-FFF2-40B4-BE49-F238E27FC236}">
                  <a16:creationId xmlns:a16="http://schemas.microsoft.com/office/drawing/2014/main" id="{66CC93BE-2D16-4874-8585-319B93266CBC}"/>
                </a:ext>
              </a:extLst>
            </p:cNvPr>
            <p:cNvSpPr/>
            <p:nvPr/>
          </p:nvSpPr>
          <p:spPr>
            <a:xfrm>
              <a:off x="6262626" y="1666191"/>
              <a:ext cx="645353" cy="516283"/>
            </a:xfrm>
            <a:custGeom>
              <a:avLst/>
              <a:gdLst>
                <a:gd name="connsiteX0" fmla="*/ 574365 w 645353"/>
                <a:gd name="connsiteY0" fmla="*/ 471108 h 516282"/>
                <a:gd name="connsiteX1" fmla="*/ 96803 w 645353"/>
                <a:gd name="connsiteY1" fmla="*/ 316223 h 516282"/>
                <a:gd name="connsiteX2" fmla="*/ 638900 w 645353"/>
                <a:gd name="connsiteY2" fmla="*/ 96803 h 516282"/>
                <a:gd name="connsiteX3" fmla="*/ 574365 w 645353"/>
                <a:gd name="connsiteY3" fmla="*/ 471108 h 516282"/>
                <a:gd name="connsiteX4" fmla="*/ 122617 w 645353"/>
                <a:gd name="connsiteY4" fmla="*/ 316223 h 516282"/>
                <a:gd name="connsiteX5" fmla="*/ 574365 w 645353"/>
                <a:gd name="connsiteY5" fmla="*/ 471108 h 516282"/>
                <a:gd name="connsiteX6" fmla="*/ 638900 w 645353"/>
                <a:gd name="connsiteY6" fmla="*/ 109710 h 516282"/>
                <a:gd name="connsiteX7" fmla="*/ 122617 w 645353"/>
                <a:gd name="connsiteY7" fmla="*/ 31622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574365" y="471108"/>
                  </a:moveTo>
                  <a:lnTo>
                    <a:pt x="96803" y="316223"/>
                  </a:lnTo>
                  <a:lnTo>
                    <a:pt x="638900" y="96803"/>
                  </a:lnTo>
                  <a:lnTo>
                    <a:pt x="574365" y="471108"/>
                  </a:lnTo>
                  <a:close/>
                  <a:moveTo>
                    <a:pt x="122617" y="316223"/>
                  </a:moveTo>
                  <a:lnTo>
                    <a:pt x="574365" y="471108"/>
                  </a:lnTo>
                  <a:lnTo>
                    <a:pt x="638900" y="109710"/>
                  </a:lnTo>
                  <a:lnTo>
                    <a:pt x="122617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4" name="Freeform: Shape 3023">
              <a:extLst>
                <a:ext uri="{FF2B5EF4-FFF2-40B4-BE49-F238E27FC236}">
                  <a16:creationId xmlns:a16="http://schemas.microsoft.com/office/drawing/2014/main" id="{CA65B28A-D2C5-4BAB-AECB-60D94EA437E9}"/>
                </a:ext>
              </a:extLst>
            </p:cNvPr>
            <p:cNvSpPr/>
            <p:nvPr/>
          </p:nvSpPr>
          <p:spPr>
            <a:xfrm>
              <a:off x="6017392" y="1304793"/>
              <a:ext cx="516283" cy="387212"/>
            </a:xfrm>
            <a:custGeom>
              <a:avLst/>
              <a:gdLst>
                <a:gd name="connsiteX0" fmla="*/ 161338 w 516282"/>
                <a:gd name="connsiteY0" fmla="*/ 354944 h 387211"/>
                <a:gd name="connsiteX1" fmla="*/ 96803 w 516282"/>
                <a:gd name="connsiteY1" fmla="*/ 96803 h 387211"/>
                <a:gd name="connsiteX2" fmla="*/ 496922 w 516282"/>
                <a:gd name="connsiteY2" fmla="*/ 174245 h 387211"/>
                <a:gd name="connsiteX3" fmla="*/ 161338 w 516282"/>
                <a:gd name="connsiteY3" fmla="*/ 354944 h 387211"/>
                <a:gd name="connsiteX4" fmla="*/ 109710 w 516282"/>
                <a:gd name="connsiteY4" fmla="*/ 96803 h 387211"/>
                <a:gd name="connsiteX5" fmla="*/ 174245 w 516282"/>
                <a:gd name="connsiteY5" fmla="*/ 342037 h 387211"/>
                <a:gd name="connsiteX6" fmla="*/ 484015 w 516282"/>
                <a:gd name="connsiteY6" fmla="*/ 174245 h 387211"/>
                <a:gd name="connsiteX7" fmla="*/ 109710 w 516282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161338" y="354944"/>
                  </a:moveTo>
                  <a:lnTo>
                    <a:pt x="96803" y="96803"/>
                  </a:lnTo>
                  <a:lnTo>
                    <a:pt x="496922" y="174245"/>
                  </a:lnTo>
                  <a:lnTo>
                    <a:pt x="161338" y="354944"/>
                  </a:lnTo>
                  <a:close/>
                  <a:moveTo>
                    <a:pt x="109710" y="96803"/>
                  </a:moveTo>
                  <a:lnTo>
                    <a:pt x="174245" y="342037"/>
                  </a:lnTo>
                  <a:lnTo>
                    <a:pt x="484015" y="174245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5" name="Freeform: Shape 3024">
              <a:extLst>
                <a:ext uri="{FF2B5EF4-FFF2-40B4-BE49-F238E27FC236}">
                  <a16:creationId xmlns:a16="http://schemas.microsoft.com/office/drawing/2014/main" id="{0175FD21-9CB7-4D09-B3FE-9C4CB15B1ED8}"/>
                </a:ext>
              </a:extLst>
            </p:cNvPr>
            <p:cNvSpPr/>
            <p:nvPr/>
          </p:nvSpPr>
          <p:spPr>
            <a:xfrm>
              <a:off x="5604366" y="1240258"/>
              <a:ext cx="645353" cy="645353"/>
            </a:xfrm>
            <a:custGeom>
              <a:avLst/>
              <a:gdLst>
                <a:gd name="connsiteX0" fmla="*/ 96803 w 645353"/>
                <a:gd name="connsiteY0" fmla="*/ 548550 h 645353"/>
                <a:gd name="connsiteX1" fmla="*/ 264595 w 645353"/>
                <a:gd name="connsiteY1" fmla="*/ 96803 h 645353"/>
                <a:gd name="connsiteX2" fmla="*/ 587271 w 645353"/>
                <a:gd name="connsiteY2" fmla="*/ 406573 h 645353"/>
                <a:gd name="connsiteX3" fmla="*/ 96803 w 645353"/>
                <a:gd name="connsiteY3" fmla="*/ 548550 h 645353"/>
                <a:gd name="connsiteX4" fmla="*/ 264595 w 645353"/>
                <a:gd name="connsiteY4" fmla="*/ 109710 h 645353"/>
                <a:gd name="connsiteX5" fmla="*/ 109710 w 645353"/>
                <a:gd name="connsiteY5" fmla="*/ 535643 h 645353"/>
                <a:gd name="connsiteX6" fmla="*/ 574365 w 645353"/>
                <a:gd name="connsiteY6" fmla="*/ 406573 h 645353"/>
                <a:gd name="connsiteX7" fmla="*/ 264595 w 645353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96803" y="548550"/>
                  </a:moveTo>
                  <a:lnTo>
                    <a:pt x="264595" y="96803"/>
                  </a:lnTo>
                  <a:lnTo>
                    <a:pt x="587271" y="406573"/>
                  </a:lnTo>
                  <a:lnTo>
                    <a:pt x="96803" y="548550"/>
                  </a:lnTo>
                  <a:close/>
                  <a:moveTo>
                    <a:pt x="264595" y="109710"/>
                  </a:moveTo>
                  <a:lnTo>
                    <a:pt x="109710" y="535643"/>
                  </a:lnTo>
                  <a:lnTo>
                    <a:pt x="574365" y="406573"/>
                  </a:lnTo>
                  <a:lnTo>
                    <a:pt x="26459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6" name="Freeform: Shape 3025">
              <a:extLst>
                <a:ext uri="{FF2B5EF4-FFF2-40B4-BE49-F238E27FC236}">
                  <a16:creationId xmlns:a16="http://schemas.microsoft.com/office/drawing/2014/main" id="{4B19BAD9-EA2C-4FBC-99E2-3C324A6C5F5A}"/>
                </a:ext>
              </a:extLst>
            </p:cNvPr>
            <p:cNvSpPr/>
            <p:nvPr/>
          </p:nvSpPr>
          <p:spPr>
            <a:xfrm>
              <a:off x="5604366" y="1550027"/>
              <a:ext cx="645353" cy="387212"/>
            </a:xfrm>
            <a:custGeom>
              <a:avLst/>
              <a:gdLst>
                <a:gd name="connsiteX0" fmla="*/ 316223 w 645353"/>
                <a:gd name="connsiteY0" fmla="*/ 393665 h 387211"/>
                <a:gd name="connsiteX1" fmla="*/ 96803 w 645353"/>
                <a:gd name="connsiteY1" fmla="*/ 238781 h 387211"/>
                <a:gd name="connsiteX2" fmla="*/ 587271 w 645353"/>
                <a:gd name="connsiteY2" fmla="*/ 109710 h 387211"/>
                <a:gd name="connsiteX3" fmla="*/ 316223 w 645353"/>
                <a:gd name="connsiteY3" fmla="*/ 393665 h 387211"/>
                <a:gd name="connsiteX4" fmla="*/ 109710 w 645353"/>
                <a:gd name="connsiteY4" fmla="*/ 225874 h 387211"/>
                <a:gd name="connsiteX5" fmla="*/ 316223 w 645353"/>
                <a:gd name="connsiteY5" fmla="*/ 367851 h 387211"/>
                <a:gd name="connsiteX6" fmla="*/ 574365 w 645353"/>
                <a:gd name="connsiteY6" fmla="*/ 96803 h 387211"/>
                <a:gd name="connsiteX7" fmla="*/ 109710 w 645353"/>
                <a:gd name="connsiteY7" fmla="*/ 22587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316223" y="393665"/>
                  </a:moveTo>
                  <a:lnTo>
                    <a:pt x="96803" y="238781"/>
                  </a:lnTo>
                  <a:lnTo>
                    <a:pt x="587271" y="109710"/>
                  </a:lnTo>
                  <a:lnTo>
                    <a:pt x="316223" y="393665"/>
                  </a:lnTo>
                  <a:close/>
                  <a:moveTo>
                    <a:pt x="109710" y="225874"/>
                  </a:moveTo>
                  <a:lnTo>
                    <a:pt x="316223" y="367851"/>
                  </a:lnTo>
                  <a:lnTo>
                    <a:pt x="574365" y="96803"/>
                  </a:lnTo>
                  <a:lnTo>
                    <a:pt x="109710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7" name="Freeform: Shape 3026">
              <a:extLst>
                <a:ext uri="{FF2B5EF4-FFF2-40B4-BE49-F238E27FC236}">
                  <a16:creationId xmlns:a16="http://schemas.microsoft.com/office/drawing/2014/main" id="{998C87C7-639E-4CEB-8A72-F20CFBAAE893}"/>
                </a:ext>
              </a:extLst>
            </p:cNvPr>
            <p:cNvSpPr/>
            <p:nvPr/>
          </p:nvSpPr>
          <p:spPr>
            <a:xfrm>
              <a:off x="5759251" y="1240258"/>
              <a:ext cx="516283" cy="516283"/>
            </a:xfrm>
            <a:custGeom>
              <a:avLst/>
              <a:gdLst>
                <a:gd name="connsiteX0" fmla="*/ 432386 w 516282"/>
                <a:gd name="connsiteY0" fmla="*/ 419480 h 516282"/>
                <a:gd name="connsiteX1" fmla="*/ 96803 w 516282"/>
                <a:gd name="connsiteY1" fmla="*/ 96803 h 516282"/>
                <a:gd name="connsiteX2" fmla="*/ 367851 w 516282"/>
                <a:gd name="connsiteY2" fmla="*/ 161338 h 516282"/>
                <a:gd name="connsiteX3" fmla="*/ 367851 w 516282"/>
                <a:gd name="connsiteY3" fmla="*/ 161338 h 516282"/>
                <a:gd name="connsiteX4" fmla="*/ 432386 w 516282"/>
                <a:gd name="connsiteY4" fmla="*/ 419480 h 516282"/>
                <a:gd name="connsiteX5" fmla="*/ 122617 w 516282"/>
                <a:gd name="connsiteY5" fmla="*/ 109710 h 516282"/>
                <a:gd name="connsiteX6" fmla="*/ 419480 w 516282"/>
                <a:gd name="connsiteY6" fmla="*/ 406573 h 516282"/>
                <a:gd name="connsiteX7" fmla="*/ 367851 w 516282"/>
                <a:gd name="connsiteY7" fmla="*/ 174245 h 516282"/>
                <a:gd name="connsiteX8" fmla="*/ 122617 w 516282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432386" y="419480"/>
                  </a:moveTo>
                  <a:lnTo>
                    <a:pt x="96803" y="96803"/>
                  </a:lnTo>
                  <a:lnTo>
                    <a:pt x="367851" y="161338"/>
                  </a:lnTo>
                  <a:lnTo>
                    <a:pt x="367851" y="161338"/>
                  </a:lnTo>
                  <a:lnTo>
                    <a:pt x="432386" y="419480"/>
                  </a:lnTo>
                  <a:close/>
                  <a:moveTo>
                    <a:pt x="122617" y="109710"/>
                  </a:moveTo>
                  <a:lnTo>
                    <a:pt x="419480" y="406573"/>
                  </a:lnTo>
                  <a:lnTo>
                    <a:pt x="367851" y="174245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8" name="Freeform: Shape 3027">
              <a:extLst>
                <a:ext uri="{FF2B5EF4-FFF2-40B4-BE49-F238E27FC236}">
                  <a16:creationId xmlns:a16="http://schemas.microsoft.com/office/drawing/2014/main" id="{7C1C9E7A-7633-4280-9B55-CF695DA91EF1}"/>
                </a:ext>
              </a:extLst>
            </p:cNvPr>
            <p:cNvSpPr/>
            <p:nvPr/>
          </p:nvSpPr>
          <p:spPr>
            <a:xfrm>
              <a:off x="5204247" y="1343514"/>
              <a:ext cx="516283" cy="387212"/>
            </a:xfrm>
            <a:custGeom>
              <a:avLst/>
              <a:gdLst>
                <a:gd name="connsiteX0" fmla="*/ 277502 w 516282"/>
                <a:gd name="connsiteY0" fmla="*/ 316223 h 387211"/>
                <a:gd name="connsiteX1" fmla="*/ 96803 w 516282"/>
                <a:gd name="connsiteY1" fmla="*/ 96803 h 387211"/>
                <a:gd name="connsiteX2" fmla="*/ 445294 w 516282"/>
                <a:gd name="connsiteY2" fmla="*/ 148431 h 387211"/>
                <a:gd name="connsiteX3" fmla="*/ 277502 w 516282"/>
                <a:gd name="connsiteY3" fmla="*/ 316223 h 387211"/>
                <a:gd name="connsiteX4" fmla="*/ 109710 w 516282"/>
                <a:gd name="connsiteY4" fmla="*/ 109710 h 387211"/>
                <a:gd name="connsiteX5" fmla="*/ 277502 w 516282"/>
                <a:gd name="connsiteY5" fmla="*/ 303316 h 387211"/>
                <a:gd name="connsiteX6" fmla="*/ 432387 w 516282"/>
                <a:gd name="connsiteY6" fmla="*/ 148431 h 387211"/>
                <a:gd name="connsiteX7" fmla="*/ 109710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277502" y="316223"/>
                  </a:moveTo>
                  <a:lnTo>
                    <a:pt x="96803" y="96803"/>
                  </a:lnTo>
                  <a:lnTo>
                    <a:pt x="445294" y="148431"/>
                  </a:lnTo>
                  <a:lnTo>
                    <a:pt x="277502" y="316223"/>
                  </a:lnTo>
                  <a:close/>
                  <a:moveTo>
                    <a:pt x="109710" y="109710"/>
                  </a:moveTo>
                  <a:lnTo>
                    <a:pt x="277502" y="303316"/>
                  </a:lnTo>
                  <a:lnTo>
                    <a:pt x="432387" y="148431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29" name="Freeform: Shape 3028">
              <a:extLst>
                <a:ext uri="{FF2B5EF4-FFF2-40B4-BE49-F238E27FC236}">
                  <a16:creationId xmlns:a16="http://schemas.microsoft.com/office/drawing/2014/main" id="{76F3515F-D734-4265-B81F-2B2FE20BE327}"/>
                </a:ext>
              </a:extLst>
            </p:cNvPr>
            <p:cNvSpPr/>
            <p:nvPr/>
          </p:nvSpPr>
          <p:spPr>
            <a:xfrm>
              <a:off x="5204247" y="1214444"/>
              <a:ext cx="516283" cy="258141"/>
            </a:xfrm>
            <a:custGeom>
              <a:avLst/>
              <a:gdLst>
                <a:gd name="connsiteX0" fmla="*/ 445294 w 516282"/>
                <a:gd name="connsiteY0" fmla="*/ 290409 h 258141"/>
                <a:gd name="connsiteX1" fmla="*/ 96803 w 516282"/>
                <a:gd name="connsiteY1" fmla="*/ 238781 h 258141"/>
                <a:gd name="connsiteX2" fmla="*/ 303316 w 516282"/>
                <a:gd name="connsiteY2" fmla="*/ 96803 h 258141"/>
                <a:gd name="connsiteX3" fmla="*/ 445294 w 516282"/>
                <a:gd name="connsiteY3" fmla="*/ 290409 h 258141"/>
                <a:gd name="connsiteX4" fmla="*/ 109710 w 516282"/>
                <a:gd name="connsiteY4" fmla="*/ 225874 h 258141"/>
                <a:gd name="connsiteX5" fmla="*/ 419480 w 516282"/>
                <a:gd name="connsiteY5" fmla="*/ 277502 h 258141"/>
                <a:gd name="connsiteX6" fmla="*/ 290409 w 516282"/>
                <a:gd name="connsiteY6" fmla="*/ 109710 h 258141"/>
                <a:gd name="connsiteX7" fmla="*/ 109710 w 516282"/>
                <a:gd name="connsiteY7" fmla="*/ 22587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445294" y="290409"/>
                  </a:moveTo>
                  <a:lnTo>
                    <a:pt x="96803" y="238781"/>
                  </a:lnTo>
                  <a:lnTo>
                    <a:pt x="303316" y="96803"/>
                  </a:lnTo>
                  <a:lnTo>
                    <a:pt x="445294" y="290409"/>
                  </a:lnTo>
                  <a:close/>
                  <a:moveTo>
                    <a:pt x="109710" y="225874"/>
                  </a:moveTo>
                  <a:lnTo>
                    <a:pt x="419480" y="277502"/>
                  </a:lnTo>
                  <a:lnTo>
                    <a:pt x="290409" y="109710"/>
                  </a:lnTo>
                  <a:lnTo>
                    <a:pt x="109710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0" name="Freeform: Shape 3029">
              <a:extLst>
                <a:ext uri="{FF2B5EF4-FFF2-40B4-BE49-F238E27FC236}">
                  <a16:creationId xmlns:a16="http://schemas.microsoft.com/office/drawing/2014/main" id="{CDB6FE9C-8D9E-4234-9EAA-40DAB4457DA1}"/>
                </a:ext>
              </a:extLst>
            </p:cNvPr>
            <p:cNvSpPr/>
            <p:nvPr/>
          </p:nvSpPr>
          <p:spPr>
            <a:xfrm>
              <a:off x="5372039" y="1395143"/>
              <a:ext cx="387212" cy="387212"/>
            </a:xfrm>
            <a:custGeom>
              <a:avLst/>
              <a:gdLst>
                <a:gd name="connsiteX0" fmla="*/ 342037 w 387211"/>
                <a:gd name="connsiteY0" fmla="*/ 393665 h 387211"/>
                <a:gd name="connsiteX1" fmla="*/ 96803 w 387211"/>
                <a:gd name="connsiteY1" fmla="*/ 264595 h 387211"/>
                <a:gd name="connsiteX2" fmla="*/ 264595 w 387211"/>
                <a:gd name="connsiteY2" fmla="*/ 96803 h 387211"/>
                <a:gd name="connsiteX3" fmla="*/ 342037 w 387211"/>
                <a:gd name="connsiteY3" fmla="*/ 393665 h 387211"/>
                <a:gd name="connsiteX4" fmla="*/ 109710 w 387211"/>
                <a:gd name="connsiteY4" fmla="*/ 264595 h 387211"/>
                <a:gd name="connsiteX5" fmla="*/ 329130 w 387211"/>
                <a:gd name="connsiteY5" fmla="*/ 380758 h 387211"/>
                <a:gd name="connsiteX6" fmla="*/ 264595 w 387211"/>
                <a:gd name="connsiteY6" fmla="*/ 109710 h 387211"/>
                <a:gd name="connsiteX7" fmla="*/ 109710 w 387211"/>
                <a:gd name="connsiteY7" fmla="*/ 26459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42037" y="393665"/>
                  </a:moveTo>
                  <a:lnTo>
                    <a:pt x="96803" y="264595"/>
                  </a:lnTo>
                  <a:lnTo>
                    <a:pt x="264595" y="96803"/>
                  </a:lnTo>
                  <a:lnTo>
                    <a:pt x="342037" y="393665"/>
                  </a:lnTo>
                  <a:close/>
                  <a:moveTo>
                    <a:pt x="109710" y="264595"/>
                  </a:moveTo>
                  <a:lnTo>
                    <a:pt x="329130" y="380758"/>
                  </a:lnTo>
                  <a:lnTo>
                    <a:pt x="264595" y="109710"/>
                  </a:lnTo>
                  <a:lnTo>
                    <a:pt x="109710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1" name="Freeform: Shape 3030">
              <a:extLst>
                <a:ext uri="{FF2B5EF4-FFF2-40B4-BE49-F238E27FC236}">
                  <a16:creationId xmlns:a16="http://schemas.microsoft.com/office/drawing/2014/main" id="{0ABDFD1F-ADC9-4AD3-9427-0F10E566F027}"/>
                </a:ext>
              </a:extLst>
            </p:cNvPr>
            <p:cNvSpPr/>
            <p:nvPr/>
          </p:nvSpPr>
          <p:spPr>
            <a:xfrm>
              <a:off x="5397853" y="1201537"/>
              <a:ext cx="387212" cy="387212"/>
            </a:xfrm>
            <a:custGeom>
              <a:avLst/>
              <a:gdLst>
                <a:gd name="connsiteX0" fmla="*/ 238781 w 387211"/>
                <a:gd name="connsiteY0" fmla="*/ 303316 h 387211"/>
                <a:gd name="connsiteX1" fmla="*/ 96803 w 387211"/>
                <a:gd name="connsiteY1" fmla="*/ 122617 h 387211"/>
                <a:gd name="connsiteX2" fmla="*/ 342037 w 387211"/>
                <a:gd name="connsiteY2" fmla="*/ 96803 h 387211"/>
                <a:gd name="connsiteX3" fmla="*/ 238781 w 387211"/>
                <a:gd name="connsiteY3" fmla="*/ 303316 h 387211"/>
                <a:gd name="connsiteX4" fmla="*/ 109710 w 387211"/>
                <a:gd name="connsiteY4" fmla="*/ 122617 h 387211"/>
                <a:gd name="connsiteX5" fmla="*/ 238781 w 387211"/>
                <a:gd name="connsiteY5" fmla="*/ 290409 h 387211"/>
                <a:gd name="connsiteX6" fmla="*/ 342037 w 387211"/>
                <a:gd name="connsiteY6" fmla="*/ 96803 h 387211"/>
                <a:gd name="connsiteX7" fmla="*/ 109710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38781" y="303316"/>
                  </a:moveTo>
                  <a:lnTo>
                    <a:pt x="96803" y="122617"/>
                  </a:lnTo>
                  <a:lnTo>
                    <a:pt x="342037" y="96803"/>
                  </a:lnTo>
                  <a:lnTo>
                    <a:pt x="238781" y="303316"/>
                  </a:lnTo>
                  <a:close/>
                  <a:moveTo>
                    <a:pt x="109710" y="122617"/>
                  </a:moveTo>
                  <a:lnTo>
                    <a:pt x="238781" y="290409"/>
                  </a:lnTo>
                  <a:lnTo>
                    <a:pt x="342037" y="96803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2" name="Freeform: Shape 3031">
              <a:extLst>
                <a:ext uri="{FF2B5EF4-FFF2-40B4-BE49-F238E27FC236}">
                  <a16:creationId xmlns:a16="http://schemas.microsoft.com/office/drawing/2014/main" id="{4A0CCDC3-62F2-4904-B064-52001F91C72F}"/>
                </a:ext>
              </a:extLst>
            </p:cNvPr>
            <p:cNvSpPr/>
            <p:nvPr/>
          </p:nvSpPr>
          <p:spPr>
            <a:xfrm>
              <a:off x="5526923" y="1240258"/>
              <a:ext cx="387212" cy="645353"/>
            </a:xfrm>
            <a:custGeom>
              <a:avLst/>
              <a:gdLst>
                <a:gd name="connsiteX0" fmla="*/ 174246 w 387211"/>
                <a:gd name="connsiteY0" fmla="*/ 548550 h 645353"/>
                <a:gd name="connsiteX1" fmla="*/ 96803 w 387211"/>
                <a:gd name="connsiteY1" fmla="*/ 251688 h 645353"/>
                <a:gd name="connsiteX2" fmla="*/ 96803 w 387211"/>
                <a:gd name="connsiteY2" fmla="*/ 251688 h 645353"/>
                <a:gd name="connsiteX3" fmla="*/ 342037 w 387211"/>
                <a:gd name="connsiteY3" fmla="*/ 96803 h 645353"/>
                <a:gd name="connsiteX4" fmla="*/ 174246 w 387211"/>
                <a:gd name="connsiteY4" fmla="*/ 548550 h 645353"/>
                <a:gd name="connsiteX5" fmla="*/ 109710 w 387211"/>
                <a:gd name="connsiteY5" fmla="*/ 251688 h 645353"/>
                <a:gd name="connsiteX6" fmla="*/ 174246 w 387211"/>
                <a:gd name="connsiteY6" fmla="*/ 522736 h 645353"/>
                <a:gd name="connsiteX7" fmla="*/ 329131 w 387211"/>
                <a:gd name="connsiteY7" fmla="*/ 109710 h 645353"/>
                <a:gd name="connsiteX8" fmla="*/ 109710 w 387211"/>
                <a:gd name="connsiteY8" fmla="*/ 251688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645353">
                  <a:moveTo>
                    <a:pt x="174246" y="548550"/>
                  </a:moveTo>
                  <a:lnTo>
                    <a:pt x="96803" y="251688"/>
                  </a:lnTo>
                  <a:lnTo>
                    <a:pt x="96803" y="251688"/>
                  </a:lnTo>
                  <a:lnTo>
                    <a:pt x="342037" y="96803"/>
                  </a:lnTo>
                  <a:lnTo>
                    <a:pt x="174246" y="548550"/>
                  </a:lnTo>
                  <a:close/>
                  <a:moveTo>
                    <a:pt x="109710" y="251688"/>
                  </a:moveTo>
                  <a:lnTo>
                    <a:pt x="174246" y="522736"/>
                  </a:lnTo>
                  <a:lnTo>
                    <a:pt x="329131" y="109710"/>
                  </a:lnTo>
                  <a:lnTo>
                    <a:pt x="109710" y="2516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3" name="Freeform: Shape 3032">
              <a:extLst>
                <a:ext uri="{FF2B5EF4-FFF2-40B4-BE49-F238E27FC236}">
                  <a16:creationId xmlns:a16="http://schemas.microsoft.com/office/drawing/2014/main" id="{60FBDFD2-E2A4-44C3-ABAF-B3097B7861E3}"/>
                </a:ext>
              </a:extLst>
            </p:cNvPr>
            <p:cNvSpPr/>
            <p:nvPr/>
          </p:nvSpPr>
          <p:spPr>
            <a:xfrm>
              <a:off x="5526923" y="1201537"/>
              <a:ext cx="387212" cy="387212"/>
            </a:xfrm>
            <a:custGeom>
              <a:avLst/>
              <a:gdLst>
                <a:gd name="connsiteX0" fmla="*/ 96803 w 387211"/>
                <a:gd name="connsiteY0" fmla="*/ 303316 h 387211"/>
                <a:gd name="connsiteX1" fmla="*/ 212967 w 387211"/>
                <a:gd name="connsiteY1" fmla="*/ 96803 h 387211"/>
                <a:gd name="connsiteX2" fmla="*/ 354944 w 387211"/>
                <a:gd name="connsiteY2" fmla="*/ 148431 h 387211"/>
                <a:gd name="connsiteX3" fmla="*/ 96803 w 387211"/>
                <a:gd name="connsiteY3" fmla="*/ 303316 h 387211"/>
                <a:gd name="connsiteX4" fmla="*/ 212967 w 387211"/>
                <a:gd name="connsiteY4" fmla="*/ 96803 h 387211"/>
                <a:gd name="connsiteX5" fmla="*/ 122617 w 387211"/>
                <a:gd name="connsiteY5" fmla="*/ 277502 h 387211"/>
                <a:gd name="connsiteX6" fmla="*/ 342037 w 387211"/>
                <a:gd name="connsiteY6" fmla="*/ 135524 h 387211"/>
                <a:gd name="connsiteX7" fmla="*/ 212967 w 38721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03316"/>
                  </a:moveTo>
                  <a:lnTo>
                    <a:pt x="212967" y="96803"/>
                  </a:lnTo>
                  <a:lnTo>
                    <a:pt x="354944" y="148431"/>
                  </a:lnTo>
                  <a:lnTo>
                    <a:pt x="96803" y="303316"/>
                  </a:lnTo>
                  <a:close/>
                  <a:moveTo>
                    <a:pt x="212967" y="96803"/>
                  </a:moveTo>
                  <a:lnTo>
                    <a:pt x="122617" y="277502"/>
                  </a:lnTo>
                  <a:lnTo>
                    <a:pt x="342037" y="135524"/>
                  </a:lnTo>
                  <a:lnTo>
                    <a:pt x="212967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4" name="Freeform: Shape 3033">
              <a:extLst>
                <a:ext uri="{FF2B5EF4-FFF2-40B4-BE49-F238E27FC236}">
                  <a16:creationId xmlns:a16="http://schemas.microsoft.com/office/drawing/2014/main" id="{09590ED8-262C-43F0-940E-ED40904E9778}"/>
                </a:ext>
              </a:extLst>
            </p:cNvPr>
            <p:cNvSpPr/>
            <p:nvPr/>
          </p:nvSpPr>
          <p:spPr>
            <a:xfrm>
              <a:off x="6081927" y="1550027"/>
              <a:ext cx="387212" cy="516283"/>
            </a:xfrm>
            <a:custGeom>
              <a:avLst/>
              <a:gdLst>
                <a:gd name="connsiteX0" fmla="*/ 290409 w 387211"/>
                <a:gd name="connsiteY0" fmla="*/ 432387 h 516282"/>
                <a:gd name="connsiteX1" fmla="*/ 96803 w 387211"/>
                <a:gd name="connsiteY1" fmla="*/ 96803 h 516282"/>
                <a:gd name="connsiteX2" fmla="*/ 406572 w 387211"/>
                <a:gd name="connsiteY2" fmla="*/ 96803 h 516282"/>
                <a:gd name="connsiteX3" fmla="*/ 290409 w 387211"/>
                <a:gd name="connsiteY3" fmla="*/ 432387 h 516282"/>
                <a:gd name="connsiteX4" fmla="*/ 109710 w 387211"/>
                <a:gd name="connsiteY4" fmla="*/ 109710 h 516282"/>
                <a:gd name="connsiteX5" fmla="*/ 290409 w 387211"/>
                <a:gd name="connsiteY5" fmla="*/ 432387 h 516282"/>
                <a:gd name="connsiteX6" fmla="*/ 406572 w 387211"/>
                <a:gd name="connsiteY6" fmla="*/ 122617 h 516282"/>
                <a:gd name="connsiteX7" fmla="*/ 109710 w 38721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90409" y="432387"/>
                  </a:moveTo>
                  <a:lnTo>
                    <a:pt x="96803" y="96803"/>
                  </a:lnTo>
                  <a:lnTo>
                    <a:pt x="406572" y="96803"/>
                  </a:lnTo>
                  <a:lnTo>
                    <a:pt x="290409" y="432387"/>
                  </a:lnTo>
                  <a:close/>
                  <a:moveTo>
                    <a:pt x="109710" y="109710"/>
                  </a:moveTo>
                  <a:lnTo>
                    <a:pt x="290409" y="432387"/>
                  </a:lnTo>
                  <a:lnTo>
                    <a:pt x="406572" y="122617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5" name="Freeform: Shape 3034">
              <a:extLst>
                <a:ext uri="{FF2B5EF4-FFF2-40B4-BE49-F238E27FC236}">
                  <a16:creationId xmlns:a16="http://schemas.microsoft.com/office/drawing/2014/main" id="{0D75C4B9-F02B-4762-ACDC-FAF6574FD2DE}"/>
                </a:ext>
              </a:extLst>
            </p:cNvPr>
            <p:cNvSpPr/>
            <p:nvPr/>
          </p:nvSpPr>
          <p:spPr>
            <a:xfrm>
              <a:off x="6081927" y="1382236"/>
              <a:ext cx="516283" cy="258141"/>
            </a:xfrm>
            <a:custGeom>
              <a:avLst/>
              <a:gdLst>
                <a:gd name="connsiteX0" fmla="*/ 406572 w 516282"/>
                <a:gd name="connsiteY0" fmla="*/ 277502 h 258141"/>
                <a:gd name="connsiteX1" fmla="*/ 96803 w 516282"/>
                <a:gd name="connsiteY1" fmla="*/ 277502 h 258141"/>
                <a:gd name="connsiteX2" fmla="*/ 445293 w 516282"/>
                <a:gd name="connsiteY2" fmla="*/ 96803 h 258141"/>
                <a:gd name="connsiteX3" fmla="*/ 406572 w 516282"/>
                <a:gd name="connsiteY3" fmla="*/ 277502 h 258141"/>
                <a:gd name="connsiteX4" fmla="*/ 122617 w 516282"/>
                <a:gd name="connsiteY4" fmla="*/ 264595 h 258141"/>
                <a:gd name="connsiteX5" fmla="*/ 406572 w 516282"/>
                <a:gd name="connsiteY5" fmla="*/ 264595 h 258141"/>
                <a:gd name="connsiteX6" fmla="*/ 432386 w 516282"/>
                <a:gd name="connsiteY6" fmla="*/ 96803 h 258141"/>
                <a:gd name="connsiteX7" fmla="*/ 122617 w 516282"/>
                <a:gd name="connsiteY7" fmla="*/ 26459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406572" y="277502"/>
                  </a:moveTo>
                  <a:lnTo>
                    <a:pt x="96803" y="277502"/>
                  </a:lnTo>
                  <a:lnTo>
                    <a:pt x="445293" y="96803"/>
                  </a:lnTo>
                  <a:lnTo>
                    <a:pt x="406572" y="277502"/>
                  </a:lnTo>
                  <a:close/>
                  <a:moveTo>
                    <a:pt x="122617" y="264595"/>
                  </a:moveTo>
                  <a:lnTo>
                    <a:pt x="406572" y="264595"/>
                  </a:lnTo>
                  <a:lnTo>
                    <a:pt x="432386" y="96803"/>
                  </a:lnTo>
                  <a:lnTo>
                    <a:pt x="122617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6" name="Freeform: Shape 3035">
              <a:extLst>
                <a:ext uri="{FF2B5EF4-FFF2-40B4-BE49-F238E27FC236}">
                  <a16:creationId xmlns:a16="http://schemas.microsoft.com/office/drawing/2014/main" id="{9F4BC6CD-4DF5-4ED2-86C0-3EF3E658A072}"/>
                </a:ext>
              </a:extLst>
            </p:cNvPr>
            <p:cNvSpPr/>
            <p:nvPr/>
          </p:nvSpPr>
          <p:spPr>
            <a:xfrm>
              <a:off x="6262626" y="1550027"/>
              <a:ext cx="645353" cy="516283"/>
            </a:xfrm>
            <a:custGeom>
              <a:avLst/>
              <a:gdLst>
                <a:gd name="connsiteX0" fmla="*/ 96803 w 645353"/>
                <a:gd name="connsiteY0" fmla="*/ 432387 h 516282"/>
                <a:gd name="connsiteX1" fmla="*/ 212967 w 645353"/>
                <a:gd name="connsiteY1" fmla="*/ 96803 h 516282"/>
                <a:gd name="connsiteX2" fmla="*/ 638900 w 645353"/>
                <a:gd name="connsiteY2" fmla="*/ 212967 h 516282"/>
                <a:gd name="connsiteX3" fmla="*/ 96803 w 645353"/>
                <a:gd name="connsiteY3" fmla="*/ 432387 h 516282"/>
                <a:gd name="connsiteX4" fmla="*/ 225874 w 645353"/>
                <a:gd name="connsiteY4" fmla="*/ 109710 h 516282"/>
                <a:gd name="connsiteX5" fmla="*/ 109710 w 645353"/>
                <a:gd name="connsiteY5" fmla="*/ 419480 h 516282"/>
                <a:gd name="connsiteX6" fmla="*/ 625993 w 645353"/>
                <a:gd name="connsiteY6" fmla="*/ 212967 h 516282"/>
                <a:gd name="connsiteX7" fmla="*/ 225874 w 645353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96803" y="432387"/>
                  </a:moveTo>
                  <a:lnTo>
                    <a:pt x="212967" y="96803"/>
                  </a:lnTo>
                  <a:lnTo>
                    <a:pt x="638900" y="212967"/>
                  </a:lnTo>
                  <a:lnTo>
                    <a:pt x="96803" y="432387"/>
                  </a:lnTo>
                  <a:close/>
                  <a:moveTo>
                    <a:pt x="225874" y="109710"/>
                  </a:moveTo>
                  <a:lnTo>
                    <a:pt x="109710" y="419480"/>
                  </a:lnTo>
                  <a:lnTo>
                    <a:pt x="625993" y="212967"/>
                  </a:lnTo>
                  <a:lnTo>
                    <a:pt x="22587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7" name="Freeform: Shape 3036">
              <a:extLst>
                <a:ext uri="{FF2B5EF4-FFF2-40B4-BE49-F238E27FC236}">
                  <a16:creationId xmlns:a16="http://schemas.microsoft.com/office/drawing/2014/main" id="{65C4E983-948C-4FF7-83D5-873BBD1D882B}"/>
                </a:ext>
              </a:extLst>
            </p:cNvPr>
            <p:cNvSpPr/>
            <p:nvPr/>
          </p:nvSpPr>
          <p:spPr>
            <a:xfrm>
              <a:off x="6391697" y="1382236"/>
              <a:ext cx="516283" cy="387212"/>
            </a:xfrm>
            <a:custGeom>
              <a:avLst/>
              <a:gdLst>
                <a:gd name="connsiteX0" fmla="*/ 522736 w 516282"/>
                <a:gd name="connsiteY0" fmla="*/ 393665 h 387211"/>
                <a:gd name="connsiteX1" fmla="*/ 96803 w 516282"/>
                <a:gd name="connsiteY1" fmla="*/ 277502 h 387211"/>
                <a:gd name="connsiteX2" fmla="*/ 122617 w 516282"/>
                <a:gd name="connsiteY2" fmla="*/ 96803 h 387211"/>
                <a:gd name="connsiteX3" fmla="*/ 522736 w 516282"/>
                <a:gd name="connsiteY3" fmla="*/ 393665 h 387211"/>
                <a:gd name="connsiteX4" fmla="*/ 96803 w 516282"/>
                <a:gd name="connsiteY4" fmla="*/ 277502 h 387211"/>
                <a:gd name="connsiteX5" fmla="*/ 496922 w 516282"/>
                <a:gd name="connsiteY5" fmla="*/ 380758 h 387211"/>
                <a:gd name="connsiteX6" fmla="*/ 135524 w 516282"/>
                <a:gd name="connsiteY6" fmla="*/ 109710 h 387211"/>
                <a:gd name="connsiteX7" fmla="*/ 96803 w 516282"/>
                <a:gd name="connsiteY7" fmla="*/ 277502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522736" y="393665"/>
                  </a:moveTo>
                  <a:lnTo>
                    <a:pt x="96803" y="277502"/>
                  </a:lnTo>
                  <a:lnTo>
                    <a:pt x="122617" y="96803"/>
                  </a:lnTo>
                  <a:lnTo>
                    <a:pt x="522736" y="393665"/>
                  </a:lnTo>
                  <a:close/>
                  <a:moveTo>
                    <a:pt x="96803" y="277502"/>
                  </a:moveTo>
                  <a:lnTo>
                    <a:pt x="496922" y="380758"/>
                  </a:lnTo>
                  <a:lnTo>
                    <a:pt x="135524" y="109710"/>
                  </a:lnTo>
                  <a:lnTo>
                    <a:pt x="96803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8" name="Freeform: Shape 3037">
              <a:extLst>
                <a:ext uri="{FF2B5EF4-FFF2-40B4-BE49-F238E27FC236}">
                  <a16:creationId xmlns:a16="http://schemas.microsoft.com/office/drawing/2014/main" id="{24B63B12-971F-4ACB-8A46-6727B2E7B0BD}"/>
                </a:ext>
              </a:extLst>
            </p:cNvPr>
            <p:cNvSpPr/>
            <p:nvPr/>
          </p:nvSpPr>
          <p:spPr>
            <a:xfrm>
              <a:off x="6081927" y="1537120"/>
              <a:ext cx="387212" cy="516283"/>
            </a:xfrm>
            <a:custGeom>
              <a:avLst/>
              <a:gdLst>
                <a:gd name="connsiteX0" fmla="*/ 109710 w 387211"/>
                <a:gd name="connsiteY0" fmla="*/ 471108 h 516282"/>
                <a:gd name="connsiteX1" fmla="*/ 96803 w 387211"/>
                <a:gd name="connsiteY1" fmla="*/ 96803 h 516282"/>
                <a:gd name="connsiteX2" fmla="*/ 290409 w 387211"/>
                <a:gd name="connsiteY2" fmla="*/ 445294 h 516282"/>
                <a:gd name="connsiteX3" fmla="*/ 109710 w 387211"/>
                <a:gd name="connsiteY3" fmla="*/ 471108 h 516282"/>
                <a:gd name="connsiteX4" fmla="*/ 109710 w 387211"/>
                <a:gd name="connsiteY4" fmla="*/ 122617 h 516282"/>
                <a:gd name="connsiteX5" fmla="*/ 122617 w 387211"/>
                <a:gd name="connsiteY5" fmla="*/ 458201 h 516282"/>
                <a:gd name="connsiteX6" fmla="*/ 290409 w 387211"/>
                <a:gd name="connsiteY6" fmla="*/ 432387 h 516282"/>
                <a:gd name="connsiteX7" fmla="*/ 109710 w 387211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109710" y="471108"/>
                  </a:moveTo>
                  <a:lnTo>
                    <a:pt x="96803" y="96803"/>
                  </a:lnTo>
                  <a:lnTo>
                    <a:pt x="290409" y="445294"/>
                  </a:lnTo>
                  <a:lnTo>
                    <a:pt x="109710" y="471108"/>
                  </a:lnTo>
                  <a:close/>
                  <a:moveTo>
                    <a:pt x="109710" y="122617"/>
                  </a:moveTo>
                  <a:lnTo>
                    <a:pt x="122617" y="458201"/>
                  </a:lnTo>
                  <a:lnTo>
                    <a:pt x="290409" y="432387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39" name="Freeform: Shape 3038">
              <a:extLst>
                <a:ext uri="{FF2B5EF4-FFF2-40B4-BE49-F238E27FC236}">
                  <a16:creationId xmlns:a16="http://schemas.microsoft.com/office/drawing/2014/main" id="{76A859B6-B3FC-4ADB-AADB-F083F9F2C8A6}"/>
                </a:ext>
              </a:extLst>
            </p:cNvPr>
            <p:cNvSpPr/>
            <p:nvPr/>
          </p:nvSpPr>
          <p:spPr>
            <a:xfrm>
              <a:off x="6094834" y="1898518"/>
              <a:ext cx="387212" cy="645353"/>
            </a:xfrm>
            <a:custGeom>
              <a:avLst/>
              <a:gdLst>
                <a:gd name="connsiteX0" fmla="*/ 238781 w 387211"/>
                <a:gd name="connsiteY0" fmla="*/ 587271 h 645353"/>
                <a:gd name="connsiteX1" fmla="*/ 96803 w 387211"/>
                <a:gd name="connsiteY1" fmla="*/ 96803 h 645353"/>
                <a:gd name="connsiteX2" fmla="*/ 354944 w 387211"/>
                <a:gd name="connsiteY2" fmla="*/ 419480 h 645353"/>
                <a:gd name="connsiteX3" fmla="*/ 238781 w 387211"/>
                <a:gd name="connsiteY3" fmla="*/ 587271 h 645353"/>
                <a:gd name="connsiteX4" fmla="*/ 109710 w 387211"/>
                <a:gd name="connsiteY4" fmla="*/ 122617 h 645353"/>
                <a:gd name="connsiteX5" fmla="*/ 238781 w 387211"/>
                <a:gd name="connsiteY5" fmla="*/ 574364 h 645353"/>
                <a:gd name="connsiteX6" fmla="*/ 342037 w 387211"/>
                <a:gd name="connsiteY6" fmla="*/ 419480 h 645353"/>
                <a:gd name="connsiteX7" fmla="*/ 109710 w 387211"/>
                <a:gd name="connsiteY7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238781" y="587271"/>
                  </a:moveTo>
                  <a:lnTo>
                    <a:pt x="96803" y="96803"/>
                  </a:lnTo>
                  <a:lnTo>
                    <a:pt x="354944" y="419480"/>
                  </a:lnTo>
                  <a:lnTo>
                    <a:pt x="238781" y="587271"/>
                  </a:lnTo>
                  <a:close/>
                  <a:moveTo>
                    <a:pt x="109710" y="122617"/>
                  </a:moveTo>
                  <a:lnTo>
                    <a:pt x="238781" y="574364"/>
                  </a:lnTo>
                  <a:lnTo>
                    <a:pt x="342037" y="419480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0" name="Freeform: Shape 3039">
              <a:extLst>
                <a:ext uri="{FF2B5EF4-FFF2-40B4-BE49-F238E27FC236}">
                  <a16:creationId xmlns:a16="http://schemas.microsoft.com/office/drawing/2014/main" id="{848900E8-9001-4A6E-B1C2-45AB8C605A5D}"/>
                </a:ext>
              </a:extLst>
            </p:cNvPr>
            <p:cNvSpPr/>
            <p:nvPr/>
          </p:nvSpPr>
          <p:spPr>
            <a:xfrm>
              <a:off x="6094834" y="1885611"/>
              <a:ext cx="387212" cy="516283"/>
            </a:xfrm>
            <a:custGeom>
              <a:avLst/>
              <a:gdLst>
                <a:gd name="connsiteX0" fmla="*/ 354944 w 387211"/>
                <a:gd name="connsiteY0" fmla="*/ 445294 h 516282"/>
                <a:gd name="connsiteX1" fmla="*/ 96803 w 387211"/>
                <a:gd name="connsiteY1" fmla="*/ 122617 h 516282"/>
                <a:gd name="connsiteX2" fmla="*/ 277502 w 387211"/>
                <a:gd name="connsiteY2" fmla="*/ 96803 h 516282"/>
                <a:gd name="connsiteX3" fmla="*/ 354944 w 387211"/>
                <a:gd name="connsiteY3" fmla="*/ 445294 h 516282"/>
                <a:gd name="connsiteX4" fmla="*/ 109710 w 387211"/>
                <a:gd name="connsiteY4" fmla="*/ 122617 h 516282"/>
                <a:gd name="connsiteX5" fmla="*/ 342037 w 387211"/>
                <a:gd name="connsiteY5" fmla="*/ 419480 h 516282"/>
                <a:gd name="connsiteX6" fmla="*/ 277502 w 387211"/>
                <a:gd name="connsiteY6" fmla="*/ 96803 h 516282"/>
                <a:gd name="connsiteX7" fmla="*/ 109710 w 387211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54944" y="445294"/>
                  </a:moveTo>
                  <a:lnTo>
                    <a:pt x="96803" y="122617"/>
                  </a:lnTo>
                  <a:lnTo>
                    <a:pt x="277502" y="96803"/>
                  </a:lnTo>
                  <a:lnTo>
                    <a:pt x="354944" y="445294"/>
                  </a:lnTo>
                  <a:close/>
                  <a:moveTo>
                    <a:pt x="109710" y="122617"/>
                  </a:moveTo>
                  <a:lnTo>
                    <a:pt x="342037" y="419480"/>
                  </a:lnTo>
                  <a:lnTo>
                    <a:pt x="277502" y="96803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1" name="Freeform: Shape 3040">
              <a:extLst>
                <a:ext uri="{FF2B5EF4-FFF2-40B4-BE49-F238E27FC236}">
                  <a16:creationId xmlns:a16="http://schemas.microsoft.com/office/drawing/2014/main" id="{C54C62B3-BEDD-4722-8A7E-7814ACE2711B}"/>
                </a:ext>
              </a:extLst>
            </p:cNvPr>
            <p:cNvSpPr/>
            <p:nvPr/>
          </p:nvSpPr>
          <p:spPr>
            <a:xfrm>
              <a:off x="5823786" y="1550027"/>
              <a:ext cx="387212" cy="516283"/>
            </a:xfrm>
            <a:custGeom>
              <a:avLst/>
              <a:gdLst>
                <a:gd name="connsiteX0" fmla="*/ 380758 w 387211"/>
                <a:gd name="connsiteY0" fmla="*/ 458201 h 516282"/>
                <a:gd name="connsiteX1" fmla="*/ 96803 w 387211"/>
                <a:gd name="connsiteY1" fmla="*/ 380758 h 516282"/>
                <a:gd name="connsiteX2" fmla="*/ 367851 w 387211"/>
                <a:gd name="connsiteY2" fmla="*/ 96803 h 516282"/>
                <a:gd name="connsiteX3" fmla="*/ 380758 w 387211"/>
                <a:gd name="connsiteY3" fmla="*/ 458201 h 516282"/>
                <a:gd name="connsiteX4" fmla="*/ 96803 w 387211"/>
                <a:gd name="connsiteY4" fmla="*/ 380758 h 516282"/>
                <a:gd name="connsiteX5" fmla="*/ 367851 w 387211"/>
                <a:gd name="connsiteY5" fmla="*/ 458201 h 516282"/>
                <a:gd name="connsiteX6" fmla="*/ 354944 w 387211"/>
                <a:gd name="connsiteY6" fmla="*/ 109710 h 516282"/>
                <a:gd name="connsiteX7" fmla="*/ 96803 w 387211"/>
                <a:gd name="connsiteY7" fmla="*/ 38075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80758" y="458201"/>
                  </a:moveTo>
                  <a:lnTo>
                    <a:pt x="96803" y="380758"/>
                  </a:lnTo>
                  <a:lnTo>
                    <a:pt x="367851" y="96803"/>
                  </a:lnTo>
                  <a:lnTo>
                    <a:pt x="380758" y="458201"/>
                  </a:lnTo>
                  <a:close/>
                  <a:moveTo>
                    <a:pt x="96803" y="380758"/>
                  </a:moveTo>
                  <a:lnTo>
                    <a:pt x="367851" y="458201"/>
                  </a:lnTo>
                  <a:lnTo>
                    <a:pt x="354944" y="109710"/>
                  </a:lnTo>
                  <a:lnTo>
                    <a:pt x="96803" y="3807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2" name="Freeform: Shape 3041">
              <a:extLst>
                <a:ext uri="{FF2B5EF4-FFF2-40B4-BE49-F238E27FC236}">
                  <a16:creationId xmlns:a16="http://schemas.microsoft.com/office/drawing/2014/main" id="{8EB2C34D-A438-42F6-928C-7EB246190224}"/>
                </a:ext>
              </a:extLst>
            </p:cNvPr>
            <p:cNvSpPr/>
            <p:nvPr/>
          </p:nvSpPr>
          <p:spPr>
            <a:xfrm>
              <a:off x="5810879" y="1833983"/>
              <a:ext cx="387212" cy="258141"/>
            </a:xfrm>
            <a:custGeom>
              <a:avLst/>
              <a:gdLst>
                <a:gd name="connsiteX0" fmla="*/ 161338 w 387211"/>
                <a:gd name="connsiteY0" fmla="*/ 212967 h 258141"/>
                <a:gd name="connsiteX1" fmla="*/ 96803 w 387211"/>
                <a:gd name="connsiteY1" fmla="*/ 96803 h 258141"/>
                <a:gd name="connsiteX2" fmla="*/ 393665 w 387211"/>
                <a:gd name="connsiteY2" fmla="*/ 174245 h 258141"/>
                <a:gd name="connsiteX3" fmla="*/ 161338 w 387211"/>
                <a:gd name="connsiteY3" fmla="*/ 212967 h 258141"/>
                <a:gd name="connsiteX4" fmla="*/ 109710 w 387211"/>
                <a:gd name="connsiteY4" fmla="*/ 109710 h 258141"/>
                <a:gd name="connsiteX5" fmla="*/ 161338 w 387211"/>
                <a:gd name="connsiteY5" fmla="*/ 212967 h 258141"/>
                <a:gd name="connsiteX6" fmla="*/ 354944 w 387211"/>
                <a:gd name="connsiteY6" fmla="*/ 187152 h 258141"/>
                <a:gd name="connsiteX7" fmla="*/ 109710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161338" y="212967"/>
                  </a:moveTo>
                  <a:lnTo>
                    <a:pt x="96803" y="96803"/>
                  </a:lnTo>
                  <a:lnTo>
                    <a:pt x="393665" y="174245"/>
                  </a:lnTo>
                  <a:lnTo>
                    <a:pt x="161338" y="212967"/>
                  </a:lnTo>
                  <a:close/>
                  <a:moveTo>
                    <a:pt x="109710" y="109710"/>
                  </a:moveTo>
                  <a:lnTo>
                    <a:pt x="161338" y="212967"/>
                  </a:lnTo>
                  <a:lnTo>
                    <a:pt x="354944" y="187152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3" name="Freeform: Shape 3042">
              <a:extLst>
                <a:ext uri="{FF2B5EF4-FFF2-40B4-BE49-F238E27FC236}">
                  <a16:creationId xmlns:a16="http://schemas.microsoft.com/office/drawing/2014/main" id="{C6AA3069-6A3E-40BE-A50F-A258ADB8C046}"/>
                </a:ext>
              </a:extLst>
            </p:cNvPr>
            <p:cNvSpPr/>
            <p:nvPr/>
          </p:nvSpPr>
          <p:spPr>
            <a:xfrm>
              <a:off x="5914135" y="1911425"/>
              <a:ext cx="516283" cy="645353"/>
            </a:xfrm>
            <a:custGeom>
              <a:avLst/>
              <a:gdLst>
                <a:gd name="connsiteX0" fmla="*/ 432387 w 516282"/>
                <a:gd name="connsiteY0" fmla="*/ 574364 h 645353"/>
                <a:gd name="connsiteX1" fmla="*/ 96803 w 516282"/>
                <a:gd name="connsiteY1" fmla="*/ 238781 h 645353"/>
                <a:gd name="connsiteX2" fmla="*/ 277502 w 516282"/>
                <a:gd name="connsiteY2" fmla="*/ 96803 h 645353"/>
                <a:gd name="connsiteX3" fmla="*/ 432387 w 516282"/>
                <a:gd name="connsiteY3" fmla="*/ 574364 h 645353"/>
                <a:gd name="connsiteX4" fmla="*/ 96803 w 516282"/>
                <a:gd name="connsiteY4" fmla="*/ 238781 h 645353"/>
                <a:gd name="connsiteX5" fmla="*/ 406573 w 516282"/>
                <a:gd name="connsiteY5" fmla="*/ 548550 h 645353"/>
                <a:gd name="connsiteX6" fmla="*/ 277502 w 516282"/>
                <a:gd name="connsiteY6" fmla="*/ 96803 h 645353"/>
                <a:gd name="connsiteX7" fmla="*/ 96803 w 516282"/>
                <a:gd name="connsiteY7" fmla="*/ 238781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432387" y="574364"/>
                  </a:moveTo>
                  <a:lnTo>
                    <a:pt x="96803" y="238781"/>
                  </a:lnTo>
                  <a:lnTo>
                    <a:pt x="277502" y="96803"/>
                  </a:lnTo>
                  <a:lnTo>
                    <a:pt x="432387" y="574364"/>
                  </a:lnTo>
                  <a:close/>
                  <a:moveTo>
                    <a:pt x="96803" y="238781"/>
                  </a:moveTo>
                  <a:lnTo>
                    <a:pt x="406573" y="548550"/>
                  </a:lnTo>
                  <a:lnTo>
                    <a:pt x="277502" y="96803"/>
                  </a:lnTo>
                  <a:lnTo>
                    <a:pt x="96803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4" name="Freeform: Shape 3043">
              <a:extLst>
                <a:ext uri="{FF2B5EF4-FFF2-40B4-BE49-F238E27FC236}">
                  <a16:creationId xmlns:a16="http://schemas.microsoft.com/office/drawing/2014/main" id="{5E69C93D-EFC5-485E-A641-A9BA8490A0D6}"/>
                </a:ext>
              </a:extLst>
            </p:cNvPr>
            <p:cNvSpPr/>
            <p:nvPr/>
          </p:nvSpPr>
          <p:spPr>
            <a:xfrm>
              <a:off x="5875414" y="1911425"/>
              <a:ext cx="387212" cy="258141"/>
            </a:xfrm>
            <a:custGeom>
              <a:avLst/>
              <a:gdLst>
                <a:gd name="connsiteX0" fmla="*/ 135524 w 387211"/>
                <a:gd name="connsiteY0" fmla="*/ 251688 h 258141"/>
                <a:gd name="connsiteX1" fmla="*/ 96803 w 387211"/>
                <a:gd name="connsiteY1" fmla="*/ 135524 h 258141"/>
                <a:gd name="connsiteX2" fmla="*/ 329130 w 387211"/>
                <a:gd name="connsiteY2" fmla="*/ 96803 h 258141"/>
                <a:gd name="connsiteX3" fmla="*/ 135524 w 387211"/>
                <a:gd name="connsiteY3" fmla="*/ 251688 h 258141"/>
                <a:gd name="connsiteX4" fmla="*/ 109710 w 387211"/>
                <a:gd name="connsiteY4" fmla="*/ 135524 h 258141"/>
                <a:gd name="connsiteX5" fmla="*/ 135524 w 387211"/>
                <a:gd name="connsiteY5" fmla="*/ 238781 h 258141"/>
                <a:gd name="connsiteX6" fmla="*/ 303316 w 387211"/>
                <a:gd name="connsiteY6" fmla="*/ 109710 h 258141"/>
                <a:gd name="connsiteX7" fmla="*/ 109710 w 387211"/>
                <a:gd name="connsiteY7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135524" y="251688"/>
                  </a:moveTo>
                  <a:lnTo>
                    <a:pt x="96803" y="135524"/>
                  </a:lnTo>
                  <a:lnTo>
                    <a:pt x="329130" y="96803"/>
                  </a:lnTo>
                  <a:lnTo>
                    <a:pt x="135524" y="251688"/>
                  </a:lnTo>
                  <a:close/>
                  <a:moveTo>
                    <a:pt x="109710" y="135524"/>
                  </a:moveTo>
                  <a:lnTo>
                    <a:pt x="135524" y="238781"/>
                  </a:lnTo>
                  <a:lnTo>
                    <a:pt x="303316" y="109710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5" name="Freeform: Shape 3044">
              <a:extLst>
                <a:ext uri="{FF2B5EF4-FFF2-40B4-BE49-F238E27FC236}">
                  <a16:creationId xmlns:a16="http://schemas.microsoft.com/office/drawing/2014/main" id="{95C08472-6021-44A3-8918-8B480243B3A4}"/>
                </a:ext>
              </a:extLst>
            </p:cNvPr>
            <p:cNvSpPr/>
            <p:nvPr/>
          </p:nvSpPr>
          <p:spPr>
            <a:xfrm>
              <a:off x="7191935" y="2143752"/>
              <a:ext cx="258141" cy="258141"/>
            </a:xfrm>
            <a:custGeom>
              <a:avLst/>
              <a:gdLst>
                <a:gd name="connsiteX0" fmla="*/ 161338 w 258141"/>
                <a:gd name="connsiteY0" fmla="*/ 161338 h 258141"/>
                <a:gd name="connsiteX1" fmla="*/ 96803 w 258141"/>
                <a:gd name="connsiteY1" fmla="*/ 96803 h 258141"/>
                <a:gd name="connsiteX2" fmla="*/ 264595 w 258141"/>
                <a:gd name="connsiteY2" fmla="*/ 109710 h 258141"/>
                <a:gd name="connsiteX3" fmla="*/ 161338 w 258141"/>
                <a:gd name="connsiteY3" fmla="*/ 161338 h 258141"/>
                <a:gd name="connsiteX4" fmla="*/ 109710 w 258141"/>
                <a:gd name="connsiteY4" fmla="*/ 109710 h 258141"/>
                <a:gd name="connsiteX5" fmla="*/ 161338 w 258141"/>
                <a:gd name="connsiteY5" fmla="*/ 161338 h 258141"/>
                <a:gd name="connsiteX6" fmla="*/ 251688 w 258141"/>
                <a:gd name="connsiteY6" fmla="*/ 122617 h 258141"/>
                <a:gd name="connsiteX7" fmla="*/ 109710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61338" y="161338"/>
                  </a:moveTo>
                  <a:lnTo>
                    <a:pt x="96803" y="96803"/>
                  </a:lnTo>
                  <a:lnTo>
                    <a:pt x="264595" y="109710"/>
                  </a:lnTo>
                  <a:lnTo>
                    <a:pt x="161338" y="161338"/>
                  </a:lnTo>
                  <a:close/>
                  <a:moveTo>
                    <a:pt x="109710" y="109710"/>
                  </a:moveTo>
                  <a:lnTo>
                    <a:pt x="161338" y="161338"/>
                  </a:lnTo>
                  <a:lnTo>
                    <a:pt x="251688" y="122617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6" name="Freeform: Shape 3045">
              <a:extLst>
                <a:ext uri="{FF2B5EF4-FFF2-40B4-BE49-F238E27FC236}">
                  <a16:creationId xmlns:a16="http://schemas.microsoft.com/office/drawing/2014/main" id="{ED9411BC-4D00-4959-ADAD-899816E339B7}"/>
                </a:ext>
              </a:extLst>
            </p:cNvPr>
            <p:cNvSpPr/>
            <p:nvPr/>
          </p:nvSpPr>
          <p:spPr>
            <a:xfrm>
              <a:off x="7333912" y="2130845"/>
              <a:ext cx="258141" cy="129071"/>
            </a:xfrm>
            <a:custGeom>
              <a:avLst/>
              <a:gdLst>
                <a:gd name="connsiteX0" fmla="*/ 187153 w 258141"/>
                <a:gd name="connsiteY0" fmla="*/ 135524 h 129070"/>
                <a:gd name="connsiteX1" fmla="*/ 96803 w 258141"/>
                <a:gd name="connsiteY1" fmla="*/ 122617 h 129070"/>
                <a:gd name="connsiteX2" fmla="*/ 277502 w 258141"/>
                <a:gd name="connsiteY2" fmla="*/ 96803 h 129070"/>
                <a:gd name="connsiteX3" fmla="*/ 187153 w 258141"/>
                <a:gd name="connsiteY3" fmla="*/ 135524 h 129070"/>
                <a:gd name="connsiteX4" fmla="*/ 135525 w 258141"/>
                <a:gd name="connsiteY4" fmla="*/ 122617 h 129070"/>
                <a:gd name="connsiteX5" fmla="*/ 187153 w 258141"/>
                <a:gd name="connsiteY5" fmla="*/ 135524 h 129070"/>
                <a:gd name="connsiteX6" fmla="*/ 238781 w 258141"/>
                <a:gd name="connsiteY6" fmla="*/ 109710 h 129070"/>
                <a:gd name="connsiteX7" fmla="*/ 135525 w 258141"/>
                <a:gd name="connsiteY7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129070">
                  <a:moveTo>
                    <a:pt x="187153" y="135524"/>
                  </a:moveTo>
                  <a:lnTo>
                    <a:pt x="96803" y="122617"/>
                  </a:lnTo>
                  <a:lnTo>
                    <a:pt x="277502" y="96803"/>
                  </a:lnTo>
                  <a:lnTo>
                    <a:pt x="187153" y="135524"/>
                  </a:lnTo>
                  <a:close/>
                  <a:moveTo>
                    <a:pt x="135525" y="122617"/>
                  </a:moveTo>
                  <a:lnTo>
                    <a:pt x="187153" y="135524"/>
                  </a:lnTo>
                  <a:lnTo>
                    <a:pt x="238781" y="109710"/>
                  </a:lnTo>
                  <a:lnTo>
                    <a:pt x="135525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7" name="Freeform: Shape 3046">
              <a:extLst>
                <a:ext uri="{FF2B5EF4-FFF2-40B4-BE49-F238E27FC236}">
                  <a16:creationId xmlns:a16="http://schemas.microsoft.com/office/drawing/2014/main" id="{5E9AA928-A4EF-4B3E-8ECB-CFDC6685CE86}"/>
                </a:ext>
              </a:extLst>
            </p:cNvPr>
            <p:cNvSpPr/>
            <p:nvPr/>
          </p:nvSpPr>
          <p:spPr>
            <a:xfrm>
              <a:off x="7424262" y="2130845"/>
              <a:ext cx="258141" cy="258141"/>
            </a:xfrm>
            <a:custGeom>
              <a:avLst/>
              <a:gdLst>
                <a:gd name="connsiteX0" fmla="*/ 122617 w 258141"/>
                <a:gd name="connsiteY0" fmla="*/ 264595 h 258141"/>
                <a:gd name="connsiteX1" fmla="*/ 96803 w 258141"/>
                <a:gd name="connsiteY1" fmla="*/ 148431 h 258141"/>
                <a:gd name="connsiteX2" fmla="*/ 174246 w 258141"/>
                <a:gd name="connsiteY2" fmla="*/ 109710 h 258141"/>
                <a:gd name="connsiteX3" fmla="*/ 122617 w 258141"/>
                <a:gd name="connsiteY3" fmla="*/ 264595 h 258141"/>
                <a:gd name="connsiteX4" fmla="*/ 96803 w 258141"/>
                <a:gd name="connsiteY4" fmla="*/ 135524 h 258141"/>
                <a:gd name="connsiteX5" fmla="*/ 122617 w 258141"/>
                <a:gd name="connsiteY5" fmla="*/ 225874 h 258141"/>
                <a:gd name="connsiteX6" fmla="*/ 161338 w 258141"/>
                <a:gd name="connsiteY6" fmla="*/ 96803 h 258141"/>
                <a:gd name="connsiteX7" fmla="*/ 96803 w 258141"/>
                <a:gd name="connsiteY7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22617" y="264595"/>
                  </a:moveTo>
                  <a:lnTo>
                    <a:pt x="96803" y="148431"/>
                  </a:lnTo>
                  <a:lnTo>
                    <a:pt x="174246" y="109710"/>
                  </a:lnTo>
                  <a:lnTo>
                    <a:pt x="122617" y="264595"/>
                  </a:lnTo>
                  <a:close/>
                  <a:moveTo>
                    <a:pt x="96803" y="135524"/>
                  </a:moveTo>
                  <a:lnTo>
                    <a:pt x="122617" y="225874"/>
                  </a:lnTo>
                  <a:lnTo>
                    <a:pt x="161338" y="96803"/>
                  </a:lnTo>
                  <a:lnTo>
                    <a:pt x="96803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8" name="Freeform: Shape 3047">
              <a:extLst>
                <a:ext uri="{FF2B5EF4-FFF2-40B4-BE49-F238E27FC236}">
                  <a16:creationId xmlns:a16="http://schemas.microsoft.com/office/drawing/2014/main" id="{41F18141-9771-4605-A923-30EB7A21A2B6}"/>
                </a:ext>
              </a:extLst>
            </p:cNvPr>
            <p:cNvSpPr/>
            <p:nvPr/>
          </p:nvSpPr>
          <p:spPr>
            <a:xfrm>
              <a:off x="7437169" y="2130845"/>
              <a:ext cx="258141" cy="258141"/>
            </a:xfrm>
            <a:custGeom>
              <a:avLst/>
              <a:gdLst>
                <a:gd name="connsiteX0" fmla="*/ 96803 w 258141"/>
                <a:gd name="connsiteY0" fmla="*/ 251688 h 258141"/>
                <a:gd name="connsiteX1" fmla="*/ 148431 w 258141"/>
                <a:gd name="connsiteY1" fmla="*/ 96803 h 258141"/>
                <a:gd name="connsiteX2" fmla="*/ 264595 w 258141"/>
                <a:gd name="connsiteY2" fmla="*/ 174245 h 258141"/>
                <a:gd name="connsiteX3" fmla="*/ 96803 w 258141"/>
                <a:gd name="connsiteY3" fmla="*/ 251688 h 258141"/>
                <a:gd name="connsiteX4" fmla="*/ 148431 w 258141"/>
                <a:gd name="connsiteY4" fmla="*/ 109710 h 258141"/>
                <a:gd name="connsiteX5" fmla="*/ 109710 w 258141"/>
                <a:gd name="connsiteY5" fmla="*/ 238781 h 258141"/>
                <a:gd name="connsiteX6" fmla="*/ 251687 w 258141"/>
                <a:gd name="connsiteY6" fmla="*/ 174245 h 258141"/>
                <a:gd name="connsiteX7" fmla="*/ 148431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96803" y="251688"/>
                  </a:moveTo>
                  <a:lnTo>
                    <a:pt x="148431" y="96803"/>
                  </a:lnTo>
                  <a:lnTo>
                    <a:pt x="264595" y="174245"/>
                  </a:lnTo>
                  <a:lnTo>
                    <a:pt x="96803" y="251688"/>
                  </a:lnTo>
                  <a:close/>
                  <a:moveTo>
                    <a:pt x="148431" y="109710"/>
                  </a:moveTo>
                  <a:lnTo>
                    <a:pt x="109710" y="238781"/>
                  </a:lnTo>
                  <a:lnTo>
                    <a:pt x="251687" y="174245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49" name="Freeform: Shape 3048">
              <a:extLst>
                <a:ext uri="{FF2B5EF4-FFF2-40B4-BE49-F238E27FC236}">
                  <a16:creationId xmlns:a16="http://schemas.microsoft.com/office/drawing/2014/main" id="{2447A183-D792-4CEA-A384-1E623FBC9F3A}"/>
                </a:ext>
              </a:extLst>
            </p:cNvPr>
            <p:cNvSpPr/>
            <p:nvPr/>
          </p:nvSpPr>
          <p:spPr>
            <a:xfrm>
              <a:off x="7243563" y="2156659"/>
              <a:ext cx="258141" cy="258141"/>
            </a:xfrm>
            <a:custGeom>
              <a:avLst/>
              <a:gdLst>
                <a:gd name="connsiteX0" fmla="*/ 187152 w 258141"/>
                <a:gd name="connsiteY0" fmla="*/ 264595 h 258141"/>
                <a:gd name="connsiteX1" fmla="*/ 96803 w 258141"/>
                <a:gd name="connsiteY1" fmla="*/ 148431 h 258141"/>
                <a:gd name="connsiteX2" fmla="*/ 200059 w 258141"/>
                <a:gd name="connsiteY2" fmla="*/ 96803 h 258141"/>
                <a:gd name="connsiteX3" fmla="*/ 187152 w 258141"/>
                <a:gd name="connsiteY3" fmla="*/ 264595 h 258141"/>
                <a:gd name="connsiteX4" fmla="*/ 109710 w 258141"/>
                <a:gd name="connsiteY4" fmla="*/ 148431 h 258141"/>
                <a:gd name="connsiteX5" fmla="*/ 187152 w 258141"/>
                <a:gd name="connsiteY5" fmla="*/ 238781 h 258141"/>
                <a:gd name="connsiteX6" fmla="*/ 200059 w 258141"/>
                <a:gd name="connsiteY6" fmla="*/ 96803 h 258141"/>
                <a:gd name="connsiteX7" fmla="*/ 109710 w 258141"/>
                <a:gd name="connsiteY7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87152" y="264595"/>
                  </a:moveTo>
                  <a:lnTo>
                    <a:pt x="96803" y="148431"/>
                  </a:lnTo>
                  <a:lnTo>
                    <a:pt x="200059" y="96803"/>
                  </a:lnTo>
                  <a:lnTo>
                    <a:pt x="187152" y="264595"/>
                  </a:lnTo>
                  <a:close/>
                  <a:moveTo>
                    <a:pt x="109710" y="148431"/>
                  </a:moveTo>
                  <a:lnTo>
                    <a:pt x="187152" y="238781"/>
                  </a:lnTo>
                  <a:lnTo>
                    <a:pt x="200059" y="96803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0" name="Freeform: Shape 3049">
              <a:extLst>
                <a:ext uri="{FF2B5EF4-FFF2-40B4-BE49-F238E27FC236}">
                  <a16:creationId xmlns:a16="http://schemas.microsoft.com/office/drawing/2014/main" id="{38AEAF67-D04E-412B-A0D1-D6F3DC840078}"/>
                </a:ext>
              </a:extLst>
            </p:cNvPr>
            <p:cNvSpPr/>
            <p:nvPr/>
          </p:nvSpPr>
          <p:spPr>
            <a:xfrm>
              <a:off x="7333912" y="2156659"/>
              <a:ext cx="258141" cy="258141"/>
            </a:xfrm>
            <a:custGeom>
              <a:avLst/>
              <a:gdLst>
                <a:gd name="connsiteX0" fmla="*/ 96803 w 258141"/>
                <a:gd name="connsiteY0" fmla="*/ 264595 h 258141"/>
                <a:gd name="connsiteX1" fmla="*/ 109710 w 258141"/>
                <a:gd name="connsiteY1" fmla="*/ 96803 h 258141"/>
                <a:gd name="connsiteX2" fmla="*/ 187153 w 258141"/>
                <a:gd name="connsiteY2" fmla="*/ 109710 h 258141"/>
                <a:gd name="connsiteX3" fmla="*/ 96803 w 258141"/>
                <a:gd name="connsiteY3" fmla="*/ 264595 h 258141"/>
                <a:gd name="connsiteX4" fmla="*/ 122617 w 258141"/>
                <a:gd name="connsiteY4" fmla="*/ 96803 h 258141"/>
                <a:gd name="connsiteX5" fmla="*/ 109710 w 258141"/>
                <a:gd name="connsiteY5" fmla="*/ 238781 h 258141"/>
                <a:gd name="connsiteX6" fmla="*/ 187153 w 258141"/>
                <a:gd name="connsiteY6" fmla="*/ 109710 h 258141"/>
                <a:gd name="connsiteX7" fmla="*/ 122617 w 258141"/>
                <a:gd name="connsiteY7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96803" y="264595"/>
                  </a:moveTo>
                  <a:lnTo>
                    <a:pt x="109710" y="96803"/>
                  </a:lnTo>
                  <a:lnTo>
                    <a:pt x="187153" y="109710"/>
                  </a:lnTo>
                  <a:lnTo>
                    <a:pt x="96803" y="264595"/>
                  </a:lnTo>
                  <a:close/>
                  <a:moveTo>
                    <a:pt x="122617" y="96803"/>
                  </a:moveTo>
                  <a:lnTo>
                    <a:pt x="109710" y="238781"/>
                  </a:lnTo>
                  <a:lnTo>
                    <a:pt x="187153" y="109710"/>
                  </a:lnTo>
                  <a:lnTo>
                    <a:pt x="122617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1" name="Freeform: Shape 3050">
              <a:extLst>
                <a:ext uri="{FF2B5EF4-FFF2-40B4-BE49-F238E27FC236}">
                  <a16:creationId xmlns:a16="http://schemas.microsoft.com/office/drawing/2014/main" id="{0DAC6802-02AA-4DE2-90D3-18C1FB41FE99}"/>
                </a:ext>
              </a:extLst>
            </p:cNvPr>
            <p:cNvSpPr/>
            <p:nvPr/>
          </p:nvSpPr>
          <p:spPr>
            <a:xfrm>
              <a:off x="7333912" y="2156659"/>
              <a:ext cx="258141" cy="258141"/>
            </a:xfrm>
            <a:custGeom>
              <a:avLst/>
              <a:gdLst>
                <a:gd name="connsiteX0" fmla="*/ 96803 w 258141"/>
                <a:gd name="connsiteY0" fmla="*/ 251688 h 258141"/>
                <a:gd name="connsiteX1" fmla="*/ 187153 w 258141"/>
                <a:gd name="connsiteY1" fmla="*/ 96803 h 258141"/>
                <a:gd name="connsiteX2" fmla="*/ 212967 w 258141"/>
                <a:gd name="connsiteY2" fmla="*/ 212967 h 258141"/>
                <a:gd name="connsiteX3" fmla="*/ 96803 w 258141"/>
                <a:gd name="connsiteY3" fmla="*/ 251688 h 258141"/>
                <a:gd name="connsiteX4" fmla="*/ 187153 w 258141"/>
                <a:gd name="connsiteY4" fmla="*/ 122617 h 258141"/>
                <a:gd name="connsiteX5" fmla="*/ 109710 w 258141"/>
                <a:gd name="connsiteY5" fmla="*/ 251688 h 258141"/>
                <a:gd name="connsiteX6" fmla="*/ 212967 w 258141"/>
                <a:gd name="connsiteY6" fmla="*/ 225874 h 258141"/>
                <a:gd name="connsiteX7" fmla="*/ 187153 w 258141"/>
                <a:gd name="connsiteY7" fmla="*/ 12261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96803" y="251688"/>
                  </a:moveTo>
                  <a:lnTo>
                    <a:pt x="187153" y="96803"/>
                  </a:lnTo>
                  <a:lnTo>
                    <a:pt x="212967" y="212967"/>
                  </a:lnTo>
                  <a:lnTo>
                    <a:pt x="96803" y="251688"/>
                  </a:lnTo>
                  <a:close/>
                  <a:moveTo>
                    <a:pt x="187153" y="122617"/>
                  </a:moveTo>
                  <a:lnTo>
                    <a:pt x="109710" y="251688"/>
                  </a:lnTo>
                  <a:lnTo>
                    <a:pt x="212967" y="225874"/>
                  </a:lnTo>
                  <a:lnTo>
                    <a:pt x="187153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2" name="Freeform: Shape 3051">
              <a:extLst>
                <a:ext uri="{FF2B5EF4-FFF2-40B4-BE49-F238E27FC236}">
                  <a16:creationId xmlns:a16="http://schemas.microsoft.com/office/drawing/2014/main" id="{375E5343-597E-4AB6-918C-0F124A40F94B}"/>
                </a:ext>
              </a:extLst>
            </p:cNvPr>
            <p:cNvSpPr/>
            <p:nvPr/>
          </p:nvSpPr>
          <p:spPr>
            <a:xfrm>
              <a:off x="7191935" y="2130845"/>
              <a:ext cx="258141" cy="258141"/>
            </a:xfrm>
            <a:custGeom>
              <a:avLst/>
              <a:gdLst>
                <a:gd name="connsiteX0" fmla="*/ 109710 w 258141"/>
                <a:gd name="connsiteY0" fmla="*/ 238781 h 258141"/>
                <a:gd name="connsiteX1" fmla="*/ 96803 w 258141"/>
                <a:gd name="connsiteY1" fmla="*/ 96803 h 258141"/>
                <a:gd name="connsiteX2" fmla="*/ 161338 w 258141"/>
                <a:gd name="connsiteY2" fmla="*/ 174245 h 258141"/>
                <a:gd name="connsiteX3" fmla="*/ 109710 w 258141"/>
                <a:gd name="connsiteY3" fmla="*/ 238781 h 258141"/>
                <a:gd name="connsiteX4" fmla="*/ 109710 w 258141"/>
                <a:gd name="connsiteY4" fmla="*/ 122617 h 258141"/>
                <a:gd name="connsiteX5" fmla="*/ 122617 w 258141"/>
                <a:gd name="connsiteY5" fmla="*/ 225874 h 258141"/>
                <a:gd name="connsiteX6" fmla="*/ 161338 w 258141"/>
                <a:gd name="connsiteY6" fmla="*/ 174245 h 258141"/>
                <a:gd name="connsiteX7" fmla="*/ 109710 w 258141"/>
                <a:gd name="connsiteY7" fmla="*/ 12261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09710" y="238781"/>
                  </a:moveTo>
                  <a:lnTo>
                    <a:pt x="96803" y="96803"/>
                  </a:lnTo>
                  <a:lnTo>
                    <a:pt x="161338" y="174245"/>
                  </a:lnTo>
                  <a:lnTo>
                    <a:pt x="109710" y="238781"/>
                  </a:lnTo>
                  <a:close/>
                  <a:moveTo>
                    <a:pt x="109710" y="122617"/>
                  </a:moveTo>
                  <a:lnTo>
                    <a:pt x="122617" y="225874"/>
                  </a:lnTo>
                  <a:lnTo>
                    <a:pt x="161338" y="174245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3" name="Freeform: Shape 3052">
              <a:extLst>
                <a:ext uri="{FF2B5EF4-FFF2-40B4-BE49-F238E27FC236}">
                  <a16:creationId xmlns:a16="http://schemas.microsoft.com/office/drawing/2014/main" id="{DF0DBE6E-49D2-406A-90A8-1B4454719BE1}"/>
                </a:ext>
              </a:extLst>
            </p:cNvPr>
            <p:cNvSpPr/>
            <p:nvPr/>
          </p:nvSpPr>
          <p:spPr>
            <a:xfrm>
              <a:off x="7204842" y="2208288"/>
              <a:ext cx="258141" cy="258141"/>
            </a:xfrm>
            <a:custGeom>
              <a:avLst/>
              <a:gdLst>
                <a:gd name="connsiteX0" fmla="*/ 238781 w 258141"/>
                <a:gd name="connsiteY0" fmla="*/ 212967 h 258141"/>
                <a:gd name="connsiteX1" fmla="*/ 96803 w 258141"/>
                <a:gd name="connsiteY1" fmla="*/ 161338 h 258141"/>
                <a:gd name="connsiteX2" fmla="*/ 148431 w 258141"/>
                <a:gd name="connsiteY2" fmla="*/ 96803 h 258141"/>
                <a:gd name="connsiteX3" fmla="*/ 238781 w 258141"/>
                <a:gd name="connsiteY3" fmla="*/ 212967 h 258141"/>
                <a:gd name="connsiteX4" fmla="*/ 109710 w 258141"/>
                <a:gd name="connsiteY4" fmla="*/ 161338 h 258141"/>
                <a:gd name="connsiteX5" fmla="*/ 225874 w 258141"/>
                <a:gd name="connsiteY5" fmla="*/ 200060 h 258141"/>
                <a:gd name="connsiteX6" fmla="*/ 148431 w 258141"/>
                <a:gd name="connsiteY6" fmla="*/ 96803 h 258141"/>
                <a:gd name="connsiteX7" fmla="*/ 109710 w 258141"/>
                <a:gd name="connsiteY7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238781" y="212967"/>
                  </a:moveTo>
                  <a:lnTo>
                    <a:pt x="96803" y="161338"/>
                  </a:lnTo>
                  <a:lnTo>
                    <a:pt x="148431" y="96803"/>
                  </a:lnTo>
                  <a:lnTo>
                    <a:pt x="238781" y="212967"/>
                  </a:lnTo>
                  <a:close/>
                  <a:moveTo>
                    <a:pt x="109710" y="161338"/>
                  </a:moveTo>
                  <a:lnTo>
                    <a:pt x="225874" y="200060"/>
                  </a:lnTo>
                  <a:lnTo>
                    <a:pt x="148431" y="96803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4" name="Freeform: Shape 3053">
              <a:extLst>
                <a:ext uri="{FF2B5EF4-FFF2-40B4-BE49-F238E27FC236}">
                  <a16:creationId xmlns:a16="http://schemas.microsoft.com/office/drawing/2014/main" id="{FDF61E28-0031-4F37-B9B0-D2B08A8803D3}"/>
                </a:ext>
              </a:extLst>
            </p:cNvPr>
            <p:cNvSpPr/>
            <p:nvPr/>
          </p:nvSpPr>
          <p:spPr>
            <a:xfrm>
              <a:off x="7101585" y="2130845"/>
              <a:ext cx="258141" cy="258141"/>
            </a:xfrm>
            <a:custGeom>
              <a:avLst/>
              <a:gdLst>
                <a:gd name="connsiteX0" fmla="*/ 109710 w 258141"/>
                <a:gd name="connsiteY0" fmla="*/ 174245 h 258141"/>
                <a:gd name="connsiteX1" fmla="*/ 96803 w 258141"/>
                <a:gd name="connsiteY1" fmla="*/ 135524 h 258141"/>
                <a:gd name="connsiteX2" fmla="*/ 200059 w 258141"/>
                <a:gd name="connsiteY2" fmla="*/ 96803 h 258141"/>
                <a:gd name="connsiteX3" fmla="*/ 109710 w 258141"/>
                <a:gd name="connsiteY3" fmla="*/ 174245 h 258141"/>
                <a:gd name="connsiteX4" fmla="*/ 109710 w 258141"/>
                <a:gd name="connsiteY4" fmla="*/ 148431 h 258141"/>
                <a:gd name="connsiteX5" fmla="*/ 122617 w 258141"/>
                <a:gd name="connsiteY5" fmla="*/ 174245 h 258141"/>
                <a:gd name="connsiteX6" fmla="*/ 187153 w 258141"/>
                <a:gd name="connsiteY6" fmla="*/ 122617 h 258141"/>
                <a:gd name="connsiteX7" fmla="*/ 109710 w 258141"/>
                <a:gd name="connsiteY7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09710" y="174245"/>
                  </a:moveTo>
                  <a:lnTo>
                    <a:pt x="96803" y="135524"/>
                  </a:lnTo>
                  <a:lnTo>
                    <a:pt x="200059" y="96803"/>
                  </a:lnTo>
                  <a:lnTo>
                    <a:pt x="109710" y="174245"/>
                  </a:lnTo>
                  <a:close/>
                  <a:moveTo>
                    <a:pt x="109710" y="148431"/>
                  </a:moveTo>
                  <a:lnTo>
                    <a:pt x="122617" y="174245"/>
                  </a:lnTo>
                  <a:lnTo>
                    <a:pt x="187153" y="122617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5" name="Freeform: Shape 3054">
              <a:extLst>
                <a:ext uri="{FF2B5EF4-FFF2-40B4-BE49-F238E27FC236}">
                  <a16:creationId xmlns:a16="http://schemas.microsoft.com/office/drawing/2014/main" id="{6DD83E36-DED6-4CEF-8C9B-CC1960860817}"/>
                </a:ext>
              </a:extLst>
            </p:cNvPr>
            <p:cNvSpPr/>
            <p:nvPr/>
          </p:nvSpPr>
          <p:spPr>
            <a:xfrm>
              <a:off x="7114493" y="2143752"/>
              <a:ext cx="258141" cy="258141"/>
            </a:xfrm>
            <a:custGeom>
              <a:avLst/>
              <a:gdLst>
                <a:gd name="connsiteX0" fmla="*/ 200059 w 258141"/>
                <a:gd name="connsiteY0" fmla="*/ 225874 h 258141"/>
                <a:gd name="connsiteX1" fmla="*/ 96803 w 258141"/>
                <a:gd name="connsiteY1" fmla="*/ 161338 h 258141"/>
                <a:gd name="connsiteX2" fmla="*/ 187152 w 258141"/>
                <a:gd name="connsiteY2" fmla="*/ 96803 h 258141"/>
                <a:gd name="connsiteX3" fmla="*/ 200059 w 258141"/>
                <a:gd name="connsiteY3" fmla="*/ 225874 h 258141"/>
                <a:gd name="connsiteX4" fmla="*/ 109710 w 258141"/>
                <a:gd name="connsiteY4" fmla="*/ 161338 h 258141"/>
                <a:gd name="connsiteX5" fmla="*/ 187152 w 258141"/>
                <a:gd name="connsiteY5" fmla="*/ 212967 h 258141"/>
                <a:gd name="connsiteX6" fmla="*/ 174245 w 258141"/>
                <a:gd name="connsiteY6" fmla="*/ 109710 h 258141"/>
                <a:gd name="connsiteX7" fmla="*/ 109710 w 258141"/>
                <a:gd name="connsiteY7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200059" y="225874"/>
                  </a:moveTo>
                  <a:lnTo>
                    <a:pt x="96803" y="161338"/>
                  </a:lnTo>
                  <a:lnTo>
                    <a:pt x="187152" y="96803"/>
                  </a:lnTo>
                  <a:lnTo>
                    <a:pt x="200059" y="225874"/>
                  </a:lnTo>
                  <a:close/>
                  <a:moveTo>
                    <a:pt x="109710" y="161338"/>
                  </a:moveTo>
                  <a:lnTo>
                    <a:pt x="187152" y="212967"/>
                  </a:lnTo>
                  <a:lnTo>
                    <a:pt x="174245" y="109710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6" name="Freeform: Shape 3055">
              <a:extLst>
                <a:ext uri="{FF2B5EF4-FFF2-40B4-BE49-F238E27FC236}">
                  <a16:creationId xmlns:a16="http://schemas.microsoft.com/office/drawing/2014/main" id="{C5668B6E-1282-40DD-A350-E5EEAB3997C9}"/>
                </a:ext>
              </a:extLst>
            </p:cNvPr>
            <p:cNvSpPr/>
            <p:nvPr/>
          </p:nvSpPr>
          <p:spPr>
            <a:xfrm>
              <a:off x="8353571" y="3395738"/>
              <a:ext cx="387212" cy="258141"/>
            </a:xfrm>
            <a:custGeom>
              <a:avLst/>
              <a:gdLst>
                <a:gd name="connsiteX0" fmla="*/ 96803 w 387211"/>
                <a:gd name="connsiteY0" fmla="*/ 277502 h 258141"/>
                <a:gd name="connsiteX1" fmla="*/ 161338 w 387211"/>
                <a:gd name="connsiteY1" fmla="*/ 135524 h 258141"/>
                <a:gd name="connsiteX2" fmla="*/ 380758 w 387211"/>
                <a:gd name="connsiteY2" fmla="*/ 96803 h 258141"/>
                <a:gd name="connsiteX3" fmla="*/ 96803 w 387211"/>
                <a:gd name="connsiteY3" fmla="*/ 277502 h 258141"/>
                <a:gd name="connsiteX4" fmla="*/ 161338 w 387211"/>
                <a:gd name="connsiteY4" fmla="*/ 135524 h 258141"/>
                <a:gd name="connsiteX5" fmla="*/ 109710 w 387211"/>
                <a:gd name="connsiteY5" fmla="*/ 264595 h 258141"/>
                <a:gd name="connsiteX6" fmla="*/ 342037 w 387211"/>
                <a:gd name="connsiteY6" fmla="*/ 109710 h 258141"/>
                <a:gd name="connsiteX7" fmla="*/ 161338 w 387211"/>
                <a:gd name="connsiteY7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96803" y="277502"/>
                  </a:moveTo>
                  <a:lnTo>
                    <a:pt x="161338" y="135524"/>
                  </a:lnTo>
                  <a:lnTo>
                    <a:pt x="380758" y="96803"/>
                  </a:lnTo>
                  <a:lnTo>
                    <a:pt x="96803" y="277502"/>
                  </a:lnTo>
                  <a:close/>
                  <a:moveTo>
                    <a:pt x="161338" y="135524"/>
                  </a:moveTo>
                  <a:lnTo>
                    <a:pt x="109710" y="264595"/>
                  </a:lnTo>
                  <a:lnTo>
                    <a:pt x="342037" y="109710"/>
                  </a:lnTo>
                  <a:lnTo>
                    <a:pt x="161338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7" name="Freeform: Shape 3056">
              <a:extLst>
                <a:ext uri="{FF2B5EF4-FFF2-40B4-BE49-F238E27FC236}">
                  <a16:creationId xmlns:a16="http://schemas.microsoft.com/office/drawing/2014/main" id="{5D210961-4A77-44F4-BA61-5F8BB2940071}"/>
                </a:ext>
              </a:extLst>
            </p:cNvPr>
            <p:cNvSpPr/>
            <p:nvPr/>
          </p:nvSpPr>
          <p:spPr>
            <a:xfrm>
              <a:off x="8611712" y="3357016"/>
              <a:ext cx="516283" cy="516283"/>
            </a:xfrm>
            <a:custGeom>
              <a:avLst/>
              <a:gdLst>
                <a:gd name="connsiteX0" fmla="*/ 484015 w 516282"/>
                <a:gd name="connsiteY0" fmla="*/ 509829 h 516282"/>
                <a:gd name="connsiteX1" fmla="*/ 96803 w 516282"/>
                <a:gd name="connsiteY1" fmla="*/ 135524 h 516282"/>
                <a:gd name="connsiteX2" fmla="*/ 251687 w 516282"/>
                <a:gd name="connsiteY2" fmla="*/ 96803 h 516282"/>
                <a:gd name="connsiteX3" fmla="*/ 251687 w 516282"/>
                <a:gd name="connsiteY3" fmla="*/ 96803 h 516282"/>
                <a:gd name="connsiteX4" fmla="*/ 484015 w 516282"/>
                <a:gd name="connsiteY4" fmla="*/ 509829 h 516282"/>
                <a:gd name="connsiteX5" fmla="*/ 109710 w 516282"/>
                <a:gd name="connsiteY5" fmla="*/ 135524 h 516282"/>
                <a:gd name="connsiteX6" fmla="*/ 458201 w 516282"/>
                <a:gd name="connsiteY6" fmla="*/ 471108 h 516282"/>
                <a:gd name="connsiteX7" fmla="*/ 251687 w 516282"/>
                <a:gd name="connsiteY7" fmla="*/ 96803 h 516282"/>
                <a:gd name="connsiteX8" fmla="*/ 109710 w 516282"/>
                <a:gd name="connsiteY8" fmla="*/ 13552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484015" y="509829"/>
                  </a:moveTo>
                  <a:lnTo>
                    <a:pt x="96803" y="135524"/>
                  </a:lnTo>
                  <a:lnTo>
                    <a:pt x="251687" y="96803"/>
                  </a:lnTo>
                  <a:lnTo>
                    <a:pt x="251687" y="96803"/>
                  </a:lnTo>
                  <a:lnTo>
                    <a:pt x="484015" y="509829"/>
                  </a:lnTo>
                  <a:close/>
                  <a:moveTo>
                    <a:pt x="109710" y="135524"/>
                  </a:moveTo>
                  <a:lnTo>
                    <a:pt x="458201" y="471108"/>
                  </a:lnTo>
                  <a:lnTo>
                    <a:pt x="251687" y="96803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8" name="Freeform: Shape 3057">
              <a:extLst>
                <a:ext uri="{FF2B5EF4-FFF2-40B4-BE49-F238E27FC236}">
                  <a16:creationId xmlns:a16="http://schemas.microsoft.com/office/drawing/2014/main" id="{E37FC46D-CE57-4B5F-86CF-2E0C31A5E718}"/>
                </a:ext>
              </a:extLst>
            </p:cNvPr>
            <p:cNvSpPr/>
            <p:nvPr/>
          </p:nvSpPr>
          <p:spPr>
            <a:xfrm>
              <a:off x="8753689" y="3344109"/>
              <a:ext cx="387212" cy="516283"/>
            </a:xfrm>
            <a:custGeom>
              <a:avLst/>
              <a:gdLst>
                <a:gd name="connsiteX0" fmla="*/ 329131 w 387211"/>
                <a:gd name="connsiteY0" fmla="*/ 509829 h 516282"/>
                <a:gd name="connsiteX1" fmla="*/ 329131 w 387211"/>
                <a:gd name="connsiteY1" fmla="*/ 509829 h 516282"/>
                <a:gd name="connsiteX2" fmla="*/ 96803 w 387211"/>
                <a:gd name="connsiteY2" fmla="*/ 96803 h 516282"/>
                <a:gd name="connsiteX3" fmla="*/ 406573 w 387211"/>
                <a:gd name="connsiteY3" fmla="*/ 393665 h 516282"/>
                <a:gd name="connsiteX4" fmla="*/ 329131 w 387211"/>
                <a:gd name="connsiteY4" fmla="*/ 509829 h 516282"/>
                <a:gd name="connsiteX5" fmla="*/ 109710 w 387211"/>
                <a:gd name="connsiteY5" fmla="*/ 135524 h 516282"/>
                <a:gd name="connsiteX6" fmla="*/ 316224 w 387211"/>
                <a:gd name="connsiteY6" fmla="*/ 509829 h 516282"/>
                <a:gd name="connsiteX7" fmla="*/ 380759 w 387211"/>
                <a:gd name="connsiteY7" fmla="*/ 406572 h 516282"/>
                <a:gd name="connsiteX8" fmla="*/ 109710 w 387211"/>
                <a:gd name="connsiteY8" fmla="*/ 13552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516282">
                  <a:moveTo>
                    <a:pt x="329131" y="509829"/>
                  </a:moveTo>
                  <a:lnTo>
                    <a:pt x="329131" y="509829"/>
                  </a:lnTo>
                  <a:lnTo>
                    <a:pt x="96803" y="96803"/>
                  </a:lnTo>
                  <a:lnTo>
                    <a:pt x="406573" y="393665"/>
                  </a:lnTo>
                  <a:lnTo>
                    <a:pt x="329131" y="509829"/>
                  </a:lnTo>
                  <a:close/>
                  <a:moveTo>
                    <a:pt x="109710" y="135524"/>
                  </a:moveTo>
                  <a:lnTo>
                    <a:pt x="316224" y="509829"/>
                  </a:lnTo>
                  <a:lnTo>
                    <a:pt x="380759" y="406572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59" name="Freeform: Shape 3058">
              <a:extLst>
                <a:ext uri="{FF2B5EF4-FFF2-40B4-BE49-F238E27FC236}">
                  <a16:creationId xmlns:a16="http://schemas.microsoft.com/office/drawing/2014/main" id="{1E53DB18-3B66-4408-82A9-306A838F08FD}"/>
                </a:ext>
              </a:extLst>
            </p:cNvPr>
            <p:cNvSpPr/>
            <p:nvPr/>
          </p:nvSpPr>
          <p:spPr>
            <a:xfrm>
              <a:off x="9050552" y="3537715"/>
              <a:ext cx="387212" cy="258141"/>
            </a:xfrm>
            <a:custGeom>
              <a:avLst/>
              <a:gdLst>
                <a:gd name="connsiteX0" fmla="*/ 96803 w 387211"/>
                <a:gd name="connsiteY0" fmla="*/ 212967 h 258141"/>
                <a:gd name="connsiteX1" fmla="*/ 161338 w 387211"/>
                <a:gd name="connsiteY1" fmla="*/ 96803 h 258141"/>
                <a:gd name="connsiteX2" fmla="*/ 354944 w 387211"/>
                <a:gd name="connsiteY2" fmla="*/ 174245 h 258141"/>
                <a:gd name="connsiteX3" fmla="*/ 96803 w 387211"/>
                <a:gd name="connsiteY3" fmla="*/ 212967 h 258141"/>
                <a:gd name="connsiteX4" fmla="*/ 161338 w 387211"/>
                <a:gd name="connsiteY4" fmla="*/ 96803 h 258141"/>
                <a:gd name="connsiteX5" fmla="*/ 109710 w 387211"/>
                <a:gd name="connsiteY5" fmla="*/ 200059 h 258141"/>
                <a:gd name="connsiteX6" fmla="*/ 329130 w 387211"/>
                <a:gd name="connsiteY6" fmla="*/ 161338 h 258141"/>
                <a:gd name="connsiteX7" fmla="*/ 161338 w 387211"/>
                <a:gd name="connsiteY7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96803" y="212967"/>
                  </a:moveTo>
                  <a:lnTo>
                    <a:pt x="161338" y="96803"/>
                  </a:lnTo>
                  <a:lnTo>
                    <a:pt x="354944" y="174245"/>
                  </a:lnTo>
                  <a:lnTo>
                    <a:pt x="96803" y="212967"/>
                  </a:lnTo>
                  <a:close/>
                  <a:moveTo>
                    <a:pt x="161338" y="96803"/>
                  </a:moveTo>
                  <a:lnTo>
                    <a:pt x="109710" y="200059"/>
                  </a:lnTo>
                  <a:lnTo>
                    <a:pt x="329130" y="161338"/>
                  </a:lnTo>
                  <a:lnTo>
                    <a:pt x="161338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0" name="Freeform: Shape 3059">
              <a:extLst>
                <a:ext uri="{FF2B5EF4-FFF2-40B4-BE49-F238E27FC236}">
                  <a16:creationId xmlns:a16="http://schemas.microsoft.com/office/drawing/2014/main" id="{6322A79A-44CF-4868-B4F2-532BCAB86846}"/>
                </a:ext>
              </a:extLst>
            </p:cNvPr>
            <p:cNvSpPr/>
            <p:nvPr/>
          </p:nvSpPr>
          <p:spPr>
            <a:xfrm>
              <a:off x="9037645" y="3602251"/>
              <a:ext cx="387212" cy="258141"/>
            </a:xfrm>
            <a:custGeom>
              <a:avLst/>
              <a:gdLst>
                <a:gd name="connsiteX0" fmla="*/ 238781 w 387211"/>
                <a:gd name="connsiteY0" fmla="*/ 264595 h 258141"/>
                <a:gd name="connsiteX1" fmla="*/ 96803 w 387211"/>
                <a:gd name="connsiteY1" fmla="*/ 135524 h 258141"/>
                <a:gd name="connsiteX2" fmla="*/ 354944 w 387211"/>
                <a:gd name="connsiteY2" fmla="*/ 96803 h 258141"/>
                <a:gd name="connsiteX3" fmla="*/ 238781 w 387211"/>
                <a:gd name="connsiteY3" fmla="*/ 264595 h 258141"/>
                <a:gd name="connsiteX4" fmla="*/ 122617 w 387211"/>
                <a:gd name="connsiteY4" fmla="*/ 135524 h 258141"/>
                <a:gd name="connsiteX5" fmla="*/ 251687 w 387211"/>
                <a:gd name="connsiteY5" fmla="*/ 251688 h 258141"/>
                <a:gd name="connsiteX6" fmla="*/ 354944 w 387211"/>
                <a:gd name="connsiteY6" fmla="*/ 96803 h 258141"/>
                <a:gd name="connsiteX7" fmla="*/ 122617 w 387211"/>
                <a:gd name="connsiteY7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238781" y="264595"/>
                  </a:moveTo>
                  <a:lnTo>
                    <a:pt x="96803" y="135524"/>
                  </a:lnTo>
                  <a:lnTo>
                    <a:pt x="354944" y="96803"/>
                  </a:lnTo>
                  <a:lnTo>
                    <a:pt x="238781" y="264595"/>
                  </a:lnTo>
                  <a:close/>
                  <a:moveTo>
                    <a:pt x="122617" y="135524"/>
                  </a:moveTo>
                  <a:lnTo>
                    <a:pt x="251687" y="251688"/>
                  </a:lnTo>
                  <a:lnTo>
                    <a:pt x="354944" y="96803"/>
                  </a:lnTo>
                  <a:lnTo>
                    <a:pt x="122617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1" name="Freeform: Shape 3060">
              <a:extLst>
                <a:ext uri="{FF2B5EF4-FFF2-40B4-BE49-F238E27FC236}">
                  <a16:creationId xmlns:a16="http://schemas.microsoft.com/office/drawing/2014/main" id="{7212CEEA-59E8-4978-A02D-2446320DB98B}"/>
                </a:ext>
              </a:extLst>
            </p:cNvPr>
            <p:cNvSpPr/>
            <p:nvPr/>
          </p:nvSpPr>
          <p:spPr>
            <a:xfrm>
              <a:off x="9179623" y="3602251"/>
              <a:ext cx="258141" cy="387212"/>
            </a:xfrm>
            <a:custGeom>
              <a:avLst/>
              <a:gdLst>
                <a:gd name="connsiteX0" fmla="*/ 251687 w 258141"/>
                <a:gd name="connsiteY0" fmla="*/ 380758 h 387211"/>
                <a:gd name="connsiteX1" fmla="*/ 96803 w 258141"/>
                <a:gd name="connsiteY1" fmla="*/ 264595 h 387211"/>
                <a:gd name="connsiteX2" fmla="*/ 212967 w 258141"/>
                <a:gd name="connsiteY2" fmla="*/ 96803 h 387211"/>
                <a:gd name="connsiteX3" fmla="*/ 251687 w 258141"/>
                <a:gd name="connsiteY3" fmla="*/ 380758 h 387211"/>
                <a:gd name="connsiteX4" fmla="*/ 109710 w 258141"/>
                <a:gd name="connsiteY4" fmla="*/ 264595 h 387211"/>
                <a:gd name="connsiteX5" fmla="*/ 238781 w 258141"/>
                <a:gd name="connsiteY5" fmla="*/ 367851 h 387211"/>
                <a:gd name="connsiteX6" fmla="*/ 212967 w 258141"/>
                <a:gd name="connsiteY6" fmla="*/ 122617 h 387211"/>
                <a:gd name="connsiteX7" fmla="*/ 109710 w 258141"/>
                <a:gd name="connsiteY7" fmla="*/ 26459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51687" y="380758"/>
                  </a:moveTo>
                  <a:lnTo>
                    <a:pt x="96803" y="264595"/>
                  </a:lnTo>
                  <a:lnTo>
                    <a:pt x="212967" y="96803"/>
                  </a:lnTo>
                  <a:lnTo>
                    <a:pt x="251687" y="380758"/>
                  </a:lnTo>
                  <a:close/>
                  <a:moveTo>
                    <a:pt x="109710" y="264595"/>
                  </a:moveTo>
                  <a:lnTo>
                    <a:pt x="238781" y="367851"/>
                  </a:lnTo>
                  <a:lnTo>
                    <a:pt x="212967" y="122617"/>
                  </a:lnTo>
                  <a:lnTo>
                    <a:pt x="109710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2" name="Freeform: Shape 3061">
              <a:extLst>
                <a:ext uri="{FF2B5EF4-FFF2-40B4-BE49-F238E27FC236}">
                  <a16:creationId xmlns:a16="http://schemas.microsoft.com/office/drawing/2014/main" id="{119CACE4-8B1A-41BC-B198-E76E287D849C}"/>
                </a:ext>
              </a:extLst>
            </p:cNvPr>
            <p:cNvSpPr/>
            <p:nvPr/>
          </p:nvSpPr>
          <p:spPr>
            <a:xfrm>
              <a:off x="9450671" y="3615158"/>
              <a:ext cx="645353" cy="387212"/>
            </a:xfrm>
            <a:custGeom>
              <a:avLst/>
              <a:gdLst>
                <a:gd name="connsiteX0" fmla="*/ 561457 w 645353"/>
                <a:gd name="connsiteY0" fmla="*/ 342037 h 387211"/>
                <a:gd name="connsiteX1" fmla="*/ 135525 w 645353"/>
                <a:gd name="connsiteY1" fmla="*/ 329130 h 387211"/>
                <a:gd name="connsiteX2" fmla="*/ 96803 w 645353"/>
                <a:gd name="connsiteY2" fmla="*/ 96803 h 387211"/>
                <a:gd name="connsiteX3" fmla="*/ 96803 w 645353"/>
                <a:gd name="connsiteY3" fmla="*/ 96803 h 387211"/>
                <a:gd name="connsiteX4" fmla="*/ 561457 w 645353"/>
                <a:gd name="connsiteY4" fmla="*/ 342037 h 387211"/>
                <a:gd name="connsiteX5" fmla="*/ 148431 w 645353"/>
                <a:gd name="connsiteY5" fmla="*/ 316223 h 387211"/>
                <a:gd name="connsiteX6" fmla="*/ 535643 w 645353"/>
                <a:gd name="connsiteY6" fmla="*/ 329130 h 387211"/>
                <a:gd name="connsiteX7" fmla="*/ 96803 w 645353"/>
                <a:gd name="connsiteY7" fmla="*/ 96803 h 387211"/>
                <a:gd name="connsiteX8" fmla="*/ 148431 w 645353"/>
                <a:gd name="connsiteY8" fmla="*/ 31622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561457" y="342037"/>
                  </a:moveTo>
                  <a:lnTo>
                    <a:pt x="135525" y="329130"/>
                  </a:lnTo>
                  <a:lnTo>
                    <a:pt x="96803" y="96803"/>
                  </a:lnTo>
                  <a:lnTo>
                    <a:pt x="96803" y="96803"/>
                  </a:lnTo>
                  <a:lnTo>
                    <a:pt x="561457" y="342037"/>
                  </a:lnTo>
                  <a:close/>
                  <a:moveTo>
                    <a:pt x="148431" y="316223"/>
                  </a:moveTo>
                  <a:lnTo>
                    <a:pt x="535643" y="329130"/>
                  </a:lnTo>
                  <a:lnTo>
                    <a:pt x="96803" y="96803"/>
                  </a:lnTo>
                  <a:lnTo>
                    <a:pt x="148431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3" name="Freeform: Shape 3062">
              <a:extLst>
                <a:ext uri="{FF2B5EF4-FFF2-40B4-BE49-F238E27FC236}">
                  <a16:creationId xmlns:a16="http://schemas.microsoft.com/office/drawing/2014/main" id="{10A2202B-C8B1-47B4-9907-595C3FC6A2E3}"/>
                </a:ext>
              </a:extLst>
            </p:cNvPr>
            <p:cNvSpPr/>
            <p:nvPr/>
          </p:nvSpPr>
          <p:spPr>
            <a:xfrm>
              <a:off x="9708812" y="4170161"/>
              <a:ext cx="258141" cy="387212"/>
            </a:xfrm>
            <a:custGeom>
              <a:avLst/>
              <a:gdLst>
                <a:gd name="connsiteX0" fmla="*/ 187152 w 258141"/>
                <a:gd name="connsiteY0" fmla="*/ 329130 h 387211"/>
                <a:gd name="connsiteX1" fmla="*/ 96803 w 258141"/>
                <a:gd name="connsiteY1" fmla="*/ 122617 h 387211"/>
                <a:gd name="connsiteX2" fmla="*/ 238781 w 258141"/>
                <a:gd name="connsiteY2" fmla="*/ 96803 h 387211"/>
                <a:gd name="connsiteX3" fmla="*/ 187152 w 258141"/>
                <a:gd name="connsiteY3" fmla="*/ 329130 h 387211"/>
                <a:gd name="connsiteX4" fmla="*/ 96803 w 258141"/>
                <a:gd name="connsiteY4" fmla="*/ 135524 h 387211"/>
                <a:gd name="connsiteX5" fmla="*/ 187152 w 258141"/>
                <a:gd name="connsiteY5" fmla="*/ 316223 h 387211"/>
                <a:gd name="connsiteX6" fmla="*/ 225874 w 258141"/>
                <a:gd name="connsiteY6" fmla="*/ 109710 h 387211"/>
                <a:gd name="connsiteX7" fmla="*/ 96803 w 25814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87152" y="329130"/>
                  </a:moveTo>
                  <a:lnTo>
                    <a:pt x="96803" y="122617"/>
                  </a:lnTo>
                  <a:lnTo>
                    <a:pt x="238781" y="96803"/>
                  </a:lnTo>
                  <a:lnTo>
                    <a:pt x="187152" y="329130"/>
                  </a:lnTo>
                  <a:close/>
                  <a:moveTo>
                    <a:pt x="96803" y="135524"/>
                  </a:moveTo>
                  <a:lnTo>
                    <a:pt x="187152" y="316223"/>
                  </a:lnTo>
                  <a:lnTo>
                    <a:pt x="225874" y="109710"/>
                  </a:lnTo>
                  <a:lnTo>
                    <a:pt x="96803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4" name="Freeform: Shape 3063">
              <a:extLst>
                <a:ext uri="{FF2B5EF4-FFF2-40B4-BE49-F238E27FC236}">
                  <a16:creationId xmlns:a16="http://schemas.microsoft.com/office/drawing/2014/main" id="{39A86C34-3092-4F85-B90D-02882D564BC6}"/>
                </a:ext>
              </a:extLst>
            </p:cNvPr>
            <p:cNvSpPr/>
            <p:nvPr/>
          </p:nvSpPr>
          <p:spPr>
            <a:xfrm>
              <a:off x="9799161" y="4157254"/>
              <a:ext cx="258141" cy="387212"/>
            </a:xfrm>
            <a:custGeom>
              <a:avLst/>
              <a:gdLst>
                <a:gd name="connsiteX0" fmla="*/ 96803 w 258141"/>
                <a:gd name="connsiteY0" fmla="*/ 342037 h 387211"/>
                <a:gd name="connsiteX1" fmla="*/ 148431 w 258141"/>
                <a:gd name="connsiteY1" fmla="*/ 96803 h 387211"/>
                <a:gd name="connsiteX2" fmla="*/ 212967 w 258141"/>
                <a:gd name="connsiteY2" fmla="*/ 290409 h 387211"/>
                <a:gd name="connsiteX3" fmla="*/ 96803 w 258141"/>
                <a:gd name="connsiteY3" fmla="*/ 342037 h 387211"/>
                <a:gd name="connsiteX4" fmla="*/ 148431 w 258141"/>
                <a:gd name="connsiteY4" fmla="*/ 135524 h 387211"/>
                <a:gd name="connsiteX5" fmla="*/ 109711 w 258141"/>
                <a:gd name="connsiteY5" fmla="*/ 342037 h 387211"/>
                <a:gd name="connsiteX6" fmla="*/ 200060 w 258141"/>
                <a:gd name="connsiteY6" fmla="*/ 303316 h 387211"/>
                <a:gd name="connsiteX7" fmla="*/ 148431 w 25814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42037"/>
                  </a:moveTo>
                  <a:lnTo>
                    <a:pt x="148431" y="96803"/>
                  </a:lnTo>
                  <a:lnTo>
                    <a:pt x="212967" y="290409"/>
                  </a:lnTo>
                  <a:lnTo>
                    <a:pt x="96803" y="342037"/>
                  </a:lnTo>
                  <a:close/>
                  <a:moveTo>
                    <a:pt x="148431" y="135524"/>
                  </a:moveTo>
                  <a:lnTo>
                    <a:pt x="109711" y="342037"/>
                  </a:lnTo>
                  <a:lnTo>
                    <a:pt x="200060" y="303316"/>
                  </a:lnTo>
                  <a:lnTo>
                    <a:pt x="148431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5" name="Freeform: Shape 3064">
              <a:extLst>
                <a:ext uri="{FF2B5EF4-FFF2-40B4-BE49-F238E27FC236}">
                  <a16:creationId xmlns:a16="http://schemas.microsoft.com/office/drawing/2014/main" id="{06784B19-3F6F-4839-BFE8-24EC1E98CD4D}"/>
                </a:ext>
              </a:extLst>
            </p:cNvPr>
            <p:cNvSpPr/>
            <p:nvPr/>
          </p:nvSpPr>
          <p:spPr>
            <a:xfrm>
              <a:off x="10096024" y="4738072"/>
              <a:ext cx="774424" cy="645353"/>
            </a:xfrm>
            <a:custGeom>
              <a:avLst/>
              <a:gdLst>
                <a:gd name="connsiteX0" fmla="*/ 251687 w 774423"/>
                <a:gd name="connsiteY0" fmla="*/ 638900 h 645353"/>
                <a:gd name="connsiteX1" fmla="*/ 96803 w 774423"/>
                <a:gd name="connsiteY1" fmla="*/ 96803 h 645353"/>
                <a:gd name="connsiteX2" fmla="*/ 703435 w 774423"/>
                <a:gd name="connsiteY2" fmla="*/ 406572 h 645353"/>
                <a:gd name="connsiteX3" fmla="*/ 251687 w 774423"/>
                <a:gd name="connsiteY3" fmla="*/ 638900 h 645353"/>
                <a:gd name="connsiteX4" fmla="*/ 109710 w 774423"/>
                <a:gd name="connsiteY4" fmla="*/ 109710 h 645353"/>
                <a:gd name="connsiteX5" fmla="*/ 251687 w 774423"/>
                <a:gd name="connsiteY5" fmla="*/ 625993 h 645353"/>
                <a:gd name="connsiteX6" fmla="*/ 690528 w 774423"/>
                <a:gd name="connsiteY6" fmla="*/ 406572 h 645353"/>
                <a:gd name="connsiteX7" fmla="*/ 109710 w 774423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645353">
                  <a:moveTo>
                    <a:pt x="251687" y="638900"/>
                  </a:moveTo>
                  <a:lnTo>
                    <a:pt x="96803" y="96803"/>
                  </a:lnTo>
                  <a:lnTo>
                    <a:pt x="703435" y="406572"/>
                  </a:lnTo>
                  <a:lnTo>
                    <a:pt x="251687" y="638900"/>
                  </a:lnTo>
                  <a:close/>
                  <a:moveTo>
                    <a:pt x="109710" y="109710"/>
                  </a:moveTo>
                  <a:lnTo>
                    <a:pt x="251687" y="625993"/>
                  </a:lnTo>
                  <a:lnTo>
                    <a:pt x="690528" y="406572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6" name="Freeform: Shape 3065">
              <a:extLst>
                <a:ext uri="{FF2B5EF4-FFF2-40B4-BE49-F238E27FC236}">
                  <a16:creationId xmlns:a16="http://schemas.microsoft.com/office/drawing/2014/main" id="{48DD2EA3-F2D1-4044-BC30-7259328B2234}"/>
                </a:ext>
              </a:extLst>
            </p:cNvPr>
            <p:cNvSpPr/>
            <p:nvPr/>
          </p:nvSpPr>
          <p:spPr>
            <a:xfrm>
              <a:off x="10689749" y="4492838"/>
              <a:ext cx="516283" cy="645353"/>
            </a:xfrm>
            <a:custGeom>
              <a:avLst/>
              <a:gdLst>
                <a:gd name="connsiteX0" fmla="*/ 96803 w 516282"/>
                <a:gd name="connsiteY0" fmla="*/ 664714 h 645353"/>
                <a:gd name="connsiteX1" fmla="*/ 277502 w 516282"/>
                <a:gd name="connsiteY1" fmla="*/ 96803 h 645353"/>
                <a:gd name="connsiteX2" fmla="*/ 471108 w 516282"/>
                <a:gd name="connsiteY2" fmla="*/ 316223 h 645353"/>
                <a:gd name="connsiteX3" fmla="*/ 471108 w 516282"/>
                <a:gd name="connsiteY3" fmla="*/ 316223 h 645353"/>
                <a:gd name="connsiteX4" fmla="*/ 96803 w 516282"/>
                <a:gd name="connsiteY4" fmla="*/ 664714 h 645353"/>
                <a:gd name="connsiteX5" fmla="*/ 277502 w 516282"/>
                <a:gd name="connsiteY5" fmla="*/ 109710 h 645353"/>
                <a:gd name="connsiteX6" fmla="*/ 109710 w 516282"/>
                <a:gd name="connsiteY6" fmla="*/ 638900 h 645353"/>
                <a:gd name="connsiteX7" fmla="*/ 458201 w 516282"/>
                <a:gd name="connsiteY7" fmla="*/ 303316 h 645353"/>
                <a:gd name="connsiteX8" fmla="*/ 277502 w 516282"/>
                <a:gd name="connsiteY8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96803" y="664714"/>
                  </a:moveTo>
                  <a:lnTo>
                    <a:pt x="277502" y="96803"/>
                  </a:lnTo>
                  <a:lnTo>
                    <a:pt x="471108" y="316223"/>
                  </a:lnTo>
                  <a:lnTo>
                    <a:pt x="471108" y="316223"/>
                  </a:lnTo>
                  <a:lnTo>
                    <a:pt x="96803" y="664714"/>
                  </a:lnTo>
                  <a:close/>
                  <a:moveTo>
                    <a:pt x="277502" y="109710"/>
                  </a:moveTo>
                  <a:lnTo>
                    <a:pt x="109710" y="638900"/>
                  </a:lnTo>
                  <a:lnTo>
                    <a:pt x="458201" y="303316"/>
                  </a:lnTo>
                  <a:lnTo>
                    <a:pt x="277502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7" name="Freeform: Shape 3066">
              <a:extLst>
                <a:ext uri="{FF2B5EF4-FFF2-40B4-BE49-F238E27FC236}">
                  <a16:creationId xmlns:a16="http://schemas.microsoft.com/office/drawing/2014/main" id="{2A363C79-CEC0-4704-8DF9-C2F3D5C94560}"/>
                </a:ext>
              </a:extLst>
            </p:cNvPr>
            <p:cNvSpPr/>
            <p:nvPr/>
          </p:nvSpPr>
          <p:spPr>
            <a:xfrm>
              <a:off x="9876605" y="4208882"/>
              <a:ext cx="774424" cy="387212"/>
            </a:xfrm>
            <a:custGeom>
              <a:avLst/>
              <a:gdLst>
                <a:gd name="connsiteX0" fmla="*/ 690528 w 774423"/>
                <a:gd name="connsiteY0" fmla="*/ 290409 h 387211"/>
                <a:gd name="connsiteX1" fmla="*/ 690528 w 774423"/>
                <a:gd name="connsiteY1" fmla="*/ 290409 h 387211"/>
                <a:gd name="connsiteX2" fmla="*/ 96803 w 774423"/>
                <a:gd name="connsiteY2" fmla="*/ 251688 h 387211"/>
                <a:gd name="connsiteX3" fmla="*/ 742156 w 774423"/>
                <a:gd name="connsiteY3" fmla="*/ 96803 h 387211"/>
                <a:gd name="connsiteX4" fmla="*/ 690528 w 774423"/>
                <a:gd name="connsiteY4" fmla="*/ 290409 h 387211"/>
                <a:gd name="connsiteX5" fmla="*/ 148430 w 774423"/>
                <a:gd name="connsiteY5" fmla="*/ 238781 h 387211"/>
                <a:gd name="connsiteX6" fmla="*/ 690528 w 774423"/>
                <a:gd name="connsiteY6" fmla="*/ 277502 h 387211"/>
                <a:gd name="connsiteX7" fmla="*/ 742156 w 774423"/>
                <a:gd name="connsiteY7" fmla="*/ 96803 h 387211"/>
                <a:gd name="connsiteX8" fmla="*/ 148430 w 774423"/>
                <a:gd name="connsiteY8" fmla="*/ 23878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387211">
                  <a:moveTo>
                    <a:pt x="690528" y="290409"/>
                  </a:moveTo>
                  <a:lnTo>
                    <a:pt x="690528" y="290409"/>
                  </a:lnTo>
                  <a:lnTo>
                    <a:pt x="96803" y="251688"/>
                  </a:lnTo>
                  <a:lnTo>
                    <a:pt x="742156" y="96803"/>
                  </a:lnTo>
                  <a:lnTo>
                    <a:pt x="690528" y="290409"/>
                  </a:lnTo>
                  <a:close/>
                  <a:moveTo>
                    <a:pt x="148430" y="238781"/>
                  </a:moveTo>
                  <a:lnTo>
                    <a:pt x="690528" y="277502"/>
                  </a:lnTo>
                  <a:lnTo>
                    <a:pt x="742156" y="96803"/>
                  </a:lnTo>
                  <a:lnTo>
                    <a:pt x="148430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8" name="Freeform: Shape 3067">
              <a:extLst>
                <a:ext uri="{FF2B5EF4-FFF2-40B4-BE49-F238E27FC236}">
                  <a16:creationId xmlns:a16="http://schemas.microsoft.com/office/drawing/2014/main" id="{3F96B2F8-FC66-4C5E-8194-C913527D953B}"/>
                </a:ext>
              </a:extLst>
            </p:cNvPr>
            <p:cNvSpPr/>
            <p:nvPr/>
          </p:nvSpPr>
          <p:spPr>
            <a:xfrm>
              <a:off x="10457423" y="4389582"/>
              <a:ext cx="516283" cy="258141"/>
            </a:xfrm>
            <a:custGeom>
              <a:avLst/>
              <a:gdLst>
                <a:gd name="connsiteX0" fmla="*/ 522736 w 516282"/>
                <a:gd name="connsiteY0" fmla="*/ 212967 h 258141"/>
                <a:gd name="connsiteX1" fmla="*/ 96803 w 516282"/>
                <a:gd name="connsiteY1" fmla="*/ 109710 h 258141"/>
                <a:gd name="connsiteX2" fmla="*/ 535642 w 516282"/>
                <a:gd name="connsiteY2" fmla="*/ 96803 h 258141"/>
                <a:gd name="connsiteX3" fmla="*/ 522736 w 516282"/>
                <a:gd name="connsiteY3" fmla="*/ 212967 h 258141"/>
                <a:gd name="connsiteX4" fmla="*/ 135524 w 516282"/>
                <a:gd name="connsiteY4" fmla="*/ 109710 h 258141"/>
                <a:gd name="connsiteX5" fmla="*/ 509829 w 516282"/>
                <a:gd name="connsiteY5" fmla="*/ 200059 h 258141"/>
                <a:gd name="connsiteX6" fmla="*/ 522736 w 516282"/>
                <a:gd name="connsiteY6" fmla="*/ 96803 h 258141"/>
                <a:gd name="connsiteX7" fmla="*/ 135524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522736" y="212967"/>
                  </a:moveTo>
                  <a:lnTo>
                    <a:pt x="96803" y="109710"/>
                  </a:lnTo>
                  <a:lnTo>
                    <a:pt x="535642" y="96803"/>
                  </a:lnTo>
                  <a:lnTo>
                    <a:pt x="522736" y="212967"/>
                  </a:lnTo>
                  <a:close/>
                  <a:moveTo>
                    <a:pt x="135524" y="109710"/>
                  </a:moveTo>
                  <a:lnTo>
                    <a:pt x="509829" y="200059"/>
                  </a:lnTo>
                  <a:lnTo>
                    <a:pt x="522736" y="96803"/>
                  </a:lnTo>
                  <a:lnTo>
                    <a:pt x="13552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69" name="Freeform: Shape 3068">
              <a:extLst>
                <a:ext uri="{FF2B5EF4-FFF2-40B4-BE49-F238E27FC236}">
                  <a16:creationId xmlns:a16="http://schemas.microsoft.com/office/drawing/2014/main" id="{9322B6BF-CF33-4AF2-B07D-C70E1D373A2D}"/>
                </a:ext>
              </a:extLst>
            </p:cNvPr>
            <p:cNvSpPr/>
            <p:nvPr/>
          </p:nvSpPr>
          <p:spPr>
            <a:xfrm>
              <a:off x="10470329" y="4208882"/>
              <a:ext cx="516283" cy="387212"/>
            </a:xfrm>
            <a:custGeom>
              <a:avLst/>
              <a:gdLst>
                <a:gd name="connsiteX0" fmla="*/ 96803 w 516282"/>
                <a:gd name="connsiteY0" fmla="*/ 290409 h 387211"/>
                <a:gd name="connsiteX1" fmla="*/ 148431 w 516282"/>
                <a:gd name="connsiteY1" fmla="*/ 96803 h 387211"/>
                <a:gd name="connsiteX2" fmla="*/ 522736 w 516282"/>
                <a:gd name="connsiteY2" fmla="*/ 277502 h 387211"/>
                <a:gd name="connsiteX3" fmla="*/ 96803 w 516282"/>
                <a:gd name="connsiteY3" fmla="*/ 290409 h 387211"/>
                <a:gd name="connsiteX4" fmla="*/ 148431 w 516282"/>
                <a:gd name="connsiteY4" fmla="*/ 109710 h 387211"/>
                <a:gd name="connsiteX5" fmla="*/ 96803 w 516282"/>
                <a:gd name="connsiteY5" fmla="*/ 290409 h 387211"/>
                <a:gd name="connsiteX6" fmla="*/ 496922 w 516282"/>
                <a:gd name="connsiteY6" fmla="*/ 277502 h 387211"/>
                <a:gd name="connsiteX7" fmla="*/ 148431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96803" y="290409"/>
                  </a:moveTo>
                  <a:lnTo>
                    <a:pt x="148431" y="96803"/>
                  </a:lnTo>
                  <a:lnTo>
                    <a:pt x="522736" y="277502"/>
                  </a:lnTo>
                  <a:lnTo>
                    <a:pt x="96803" y="290409"/>
                  </a:lnTo>
                  <a:close/>
                  <a:moveTo>
                    <a:pt x="148431" y="109710"/>
                  </a:moveTo>
                  <a:lnTo>
                    <a:pt x="96803" y="290409"/>
                  </a:lnTo>
                  <a:lnTo>
                    <a:pt x="496922" y="277502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0" name="Freeform: Shape 3069">
              <a:extLst>
                <a:ext uri="{FF2B5EF4-FFF2-40B4-BE49-F238E27FC236}">
                  <a16:creationId xmlns:a16="http://schemas.microsoft.com/office/drawing/2014/main" id="{6D47A98A-F987-4BED-98DB-3D81630E4410}"/>
                </a:ext>
              </a:extLst>
            </p:cNvPr>
            <p:cNvSpPr/>
            <p:nvPr/>
          </p:nvSpPr>
          <p:spPr>
            <a:xfrm>
              <a:off x="10870448" y="4389582"/>
              <a:ext cx="645353" cy="258141"/>
            </a:xfrm>
            <a:custGeom>
              <a:avLst/>
              <a:gdLst>
                <a:gd name="connsiteX0" fmla="*/ 587272 w 645353"/>
                <a:gd name="connsiteY0" fmla="*/ 225874 h 258141"/>
                <a:gd name="connsiteX1" fmla="*/ 96803 w 645353"/>
                <a:gd name="connsiteY1" fmla="*/ 212967 h 258141"/>
                <a:gd name="connsiteX2" fmla="*/ 109710 w 645353"/>
                <a:gd name="connsiteY2" fmla="*/ 96803 h 258141"/>
                <a:gd name="connsiteX3" fmla="*/ 587272 w 645353"/>
                <a:gd name="connsiteY3" fmla="*/ 225874 h 258141"/>
                <a:gd name="connsiteX4" fmla="*/ 109710 w 645353"/>
                <a:gd name="connsiteY4" fmla="*/ 200059 h 258141"/>
                <a:gd name="connsiteX5" fmla="*/ 548550 w 645353"/>
                <a:gd name="connsiteY5" fmla="*/ 225874 h 258141"/>
                <a:gd name="connsiteX6" fmla="*/ 122617 w 645353"/>
                <a:gd name="connsiteY6" fmla="*/ 96803 h 258141"/>
                <a:gd name="connsiteX7" fmla="*/ 109710 w 645353"/>
                <a:gd name="connsiteY7" fmla="*/ 200059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258141">
                  <a:moveTo>
                    <a:pt x="587272" y="225874"/>
                  </a:moveTo>
                  <a:lnTo>
                    <a:pt x="96803" y="212967"/>
                  </a:lnTo>
                  <a:lnTo>
                    <a:pt x="109710" y="96803"/>
                  </a:lnTo>
                  <a:lnTo>
                    <a:pt x="587272" y="225874"/>
                  </a:lnTo>
                  <a:close/>
                  <a:moveTo>
                    <a:pt x="109710" y="200059"/>
                  </a:moveTo>
                  <a:lnTo>
                    <a:pt x="548550" y="225874"/>
                  </a:lnTo>
                  <a:lnTo>
                    <a:pt x="122617" y="96803"/>
                  </a:lnTo>
                  <a:lnTo>
                    <a:pt x="109710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1" name="Freeform: Shape 3070">
              <a:extLst>
                <a:ext uri="{FF2B5EF4-FFF2-40B4-BE49-F238E27FC236}">
                  <a16:creationId xmlns:a16="http://schemas.microsoft.com/office/drawing/2014/main" id="{2EF11403-429A-4389-A45C-E487F70E55A9}"/>
                </a:ext>
              </a:extLst>
            </p:cNvPr>
            <p:cNvSpPr/>
            <p:nvPr/>
          </p:nvSpPr>
          <p:spPr>
            <a:xfrm>
              <a:off x="11322195" y="4505745"/>
              <a:ext cx="387212" cy="387212"/>
            </a:xfrm>
            <a:custGeom>
              <a:avLst/>
              <a:gdLst>
                <a:gd name="connsiteX0" fmla="*/ 316223 w 387211"/>
                <a:gd name="connsiteY0" fmla="*/ 380758 h 387211"/>
                <a:gd name="connsiteX1" fmla="*/ 96803 w 387211"/>
                <a:gd name="connsiteY1" fmla="*/ 96803 h 387211"/>
                <a:gd name="connsiteX2" fmla="*/ 393666 w 387211"/>
                <a:gd name="connsiteY2" fmla="*/ 277502 h 387211"/>
                <a:gd name="connsiteX3" fmla="*/ 316223 w 387211"/>
                <a:gd name="connsiteY3" fmla="*/ 380758 h 387211"/>
                <a:gd name="connsiteX4" fmla="*/ 122617 w 387211"/>
                <a:gd name="connsiteY4" fmla="*/ 122617 h 387211"/>
                <a:gd name="connsiteX5" fmla="*/ 316223 w 387211"/>
                <a:gd name="connsiteY5" fmla="*/ 380758 h 387211"/>
                <a:gd name="connsiteX6" fmla="*/ 393666 w 387211"/>
                <a:gd name="connsiteY6" fmla="*/ 290409 h 387211"/>
                <a:gd name="connsiteX7" fmla="*/ 122617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16223" y="380758"/>
                  </a:moveTo>
                  <a:lnTo>
                    <a:pt x="96803" y="96803"/>
                  </a:lnTo>
                  <a:lnTo>
                    <a:pt x="393666" y="277502"/>
                  </a:lnTo>
                  <a:lnTo>
                    <a:pt x="316223" y="380758"/>
                  </a:lnTo>
                  <a:close/>
                  <a:moveTo>
                    <a:pt x="122617" y="122617"/>
                  </a:moveTo>
                  <a:lnTo>
                    <a:pt x="316223" y="380758"/>
                  </a:lnTo>
                  <a:lnTo>
                    <a:pt x="393666" y="290409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2" name="Freeform: Shape 3071">
              <a:extLst>
                <a:ext uri="{FF2B5EF4-FFF2-40B4-BE49-F238E27FC236}">
                  <a16:creationId xmlns:a16="http://schemas.microsoft.com/office/drawing/2014/main" id="{2A2C011A-CB70-4C14-99C5-23EE3C115C40}"/>
                </a:ext>
              </a:extLst>
            </p:cNvPr>
            <p:cNvSpPr/>
            <p:nvPr/>
          </p:nvSpPr>
          <p:spPr>
            <a:xfrm>
              <a:off x="11528708" y="4776794"/>
              <a:ext cx="516283" cy="903494"/>
            </a:xfrm>
            <a:custGeom>
              <a:avLst/>
              <a:gdLst>
                <a:gd name="connsiteX0" fmla="*/ 432386 w 516282"/>
                <a:gd name="connsiteY0" fmla="*/ 884134 h 903494"/>
                <a:gd name="connsiteX1" fmla="*/ 432386 w 516282"/>
                <a:gd name="connsiteY1" fmla="*/ 884134 h 903494"/>
                <a:gd name="connsiteX2" fmla="*/ 96803 w 516282"/>
                <a:gd name="connsiteY2" fmla="*/ 96803 h 903494"/>
                <a:gd name="connsiteX3" fmla="*/ 535643 w 516282"/>
                <a:gd name="connsiteY3" fmla="*/ 638900 h 903494"/>
                <a:gd name="connsiteX4" fmla="*/ 535643 w 516282"/>
                <a:gd name="connsiteY4" fmla="*/ 638900 h 903494"/>
                <a:gd name="connsiteX5" fmla="*/ 432386 w 516282"/>
                <a:gd name="connsiteY5" fmla="*/ 884134 h 903494"/>
                <a:gd name="connsiteX6" fmla="*/ 122618 w 516282"/>
                <a:gd name="connsiteY6" fmla="*/ 122617 h 903494"/>
                <a:gd name="connsiteX7" fmla="*/ 432386 w 516282"/>
                <a:gd name="connsiteY7" fmla="*/ 858319 h 903494"/>
                <a:gd name="connsiteX8" fmla="*/ 535643 w 516282"/>
                <a:gd name="connsiteY8" fmla="*/ 625992 h 903494"/>
                <a:gd name="connsiteX9" fmla="*/ 122618 w 516282"/>
                <a:gd name="connsiteY9" fmla="*/ 122617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16282" h="903494">
                  <a:moveTo>
                    <a:pt x="432386" y="884134"/>
                  </a:moveTo>
                  <a:lnTo>
                    <a:pt x="432386" y="884134"/>
                  </a:lnTo>
                  <a:lnTo>
                    <a:pt x="96803" y="96803"/>
                  </a:lnTo>
                  <a:lnTo>
                    <a:pt x="535643" y="638900"/>
                  </a:lnTo>
                  <a:lnTo>
                    <a:pt x="535643" y="638900"/>
                  </a:lnTo>
                  <a:lnTo>
                    <a:pt x="432386" y="884134"/>
                  </a:lnTo>
                  <a:close/>
                  <a:moveTo>
                    <a:pt x="122618" y="122617"/>
                  </a:moveTo>
                  <a:lnTo>
                    <a:pt x="432386" y="858319"/>
                  </a:lnTo>
                  <a:lnTo>
                    <a:pt x="535643" y="625992"/>
                  </a:lnTo>
                  <a:lnTo>
                    <a:pt x="122618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3" name="Freeform: Shape 3072">
              <a:extLst>
                <a:ext uri="{FF2B5EF4-FFF2-40B4-BE49-F238E27FC236}">
                  <a16:creationId xmlns:a16="http://schemas.microsoft.com/office/drawing/2014/main" id="{569FA0C0-6B97-4189-8E86-14132189632E}"/>
                </a:ext>
              </a:extLst>
            </p:cNvPr>
            <p:cNvSpPr/>
            <p:nvPr/>
          </p:nvSpPr>
          <p:spPr>
            <a:xfrm>
              <a:off x="11528708" y="4686444"/>
              <a:ext cx="645353" cy="516283"/>
            </a:xfrm>
            <a:custGeom>
              <a:avLst/>
              <a:gdLst>
                <a:gd name="connsiteX0" fmla="*/ 574365 w 645353"/>
                <a:gd name="connsiteY0" fmla="*/ 496922 h 516282"/>
                <a:gd name="connsiteX1" fmla="*/ 96803 w 645353"/>
                <a:gd name="connsiteY1" fmla="*/ 200059 h 516282"/>
                <a:gd name="connsiteX2" fmla="*/ 187153 w 645353"/>
                <a:gd name="connsiteY2" fmla="*/ 96803 h 516282"/>
                <a:gd name="connsiteX3" fmla="*/ 574365 w 645353"/>
                <a:gd name="connsiteY3" fmla="*/ 496922 h 516282"/>
                <a:gd name="connsiteX4" fmla="*/ 109710 w 645353"/>
                <a:gd name="connsiteY4" fmla="*/ 200059 h 516282"/>
                <a:gd name="connsiteX5" fmla="*/ 535643 w 645353"/>
                <a:gd name="connsiteY5" fmla="*/ 471108 h 516282"/>
                <a:gd name="connsiteX6" fmla="*/ 187153 w 645353"/>
                <a:gd name="connsiteY6" fmla="*/ 109710 h 516282"/>
                <a:gd name="connsiteX7" fmla="*/ 109710 w 645353"/>
                <a:gd name="connsiteY7" fmla="*/ 200059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574365" y="496922"/>
                  </a:moveTo>
                  <a:lnTo>
                    <a:pt x="96803" y="200059"/>
                  </a:lnTo>
                  <a:lnTo>
                    <a:pt x="187153" y="96803"/>
                  </a:lnTo>
                  <a:lnTo>
                    <a:pt x="574365" y="496922"/>
                  </a:lnTo>
                  <a:close/>
                  <a:moveTo>
                    <a:pt x="109710" y="200059"/>
                  </a:moveTo>
                  <a:lnTo>
                    <a:pt x="535643" y="471108"/>
                  </a:lnTo>
                  <a:lnTo>
                    <a:pt x="187153" y="109710"/>
                  </a:lnTo>
                  <a:lnTo>
                    <a:pt x="109710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4" name="Freeform: Shape 3073">
              <a:extLst>
                <a:ext uri="{FF2B5EF4-FFF2-40B4-BE49-F238E27FC236}">
                  <a16:creationId xmlns:a16="http://schemas.microsoft.com/office/drawing/2014/main" id="{05B54EC2-79C8-47DF-8CD8-284E43EB70D5}"/>
                </a:ext>
              </a:extLst>
            </p:cNvPr>
            <p:cNvSpPr/>
            <p:nvPr/>
          </p:nvSpPr>
          <p:spPr>
            <a:xfrm>
              <a:off x="11528708" y="4776794"/>
              <a:ext cx="645353" cy="645353"/>
            </a:xfrm>
            <a:custGeom>
              <a:avLst/>
              <a:gdLst>
                <a:gd name="connsiteX0" fmla="*/ 548550 w 645353"/>
                <a:gd name="connsiteY0" fmla="*/ 638900 h 645353"/>
                <a:gd name="connsiteX1" fmla="*/ 548550 w 645353"/>
                <a:gd name="connsiteY1" fmla="*/ 638900 h 645353"/>
                <a:gd name="connsiteX2" fmla="*/ 96803 w 645353"/>
                <a:gd name="connsiteY2" fmla="*/ 96803 h 645353"/>
                <a:gd name="connsiteX3" fmla="*/ 561457 w 645353"/>
                <a:gd name="connsiteY3" fmla="*/ 393665 h 645353"/>
                <a:gd name="connsiteX4" fmla="*/ 561457 w 645353"/>
                <a:gd name="connsiteY4" fmla="*/ 393665 h 645353"/>
                <a:gd name="connsiteX5" fmla="*/ 548550 w 645353"/>
                <a:gd name="connsiteY5" fmla="*/ 638900 h 645353"/>
                <a:gd name="connsiteX6" fmla="*/ 122618 w 645353"/>
                <a:gd name="connsiteY6" fmla="*/ 122617 h 645353"/>
                <a:gd name="connsiteX7" fmla="*/ 535643 w 645353"/>
                <a:gd name="connsiteY7" fmla="*/ 625992 h 645353"/>
                <a:gd name="connsiteX8" fmla="*/ 548550 w 645353"/>
                <a:gd name="connsiteY8" fmla="*/ 393665 h 645353"/>
                <a:gd name="connsiteX9" fmla="*/ 122618 w 645353"/>
                <a:gd name="connsiteY9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645353">
                  <a:moveTo>
                    <a:pt x="548550" y="638900"/>
                  </a:moveTo>
                  <a:lnTo>
                    <a:pt x="548550" y="638900"/>
                  </a:lnTo>
                  <a:lnTo>
                    <a:pt x="96803" y="96803"/>
                  </a:lnTo>
                  <a:lnTo>
                    <a:pt x="561457" y="393665"/>
                  </a:lnTo>
                  <a:lnTo>
                    <a:pt x="561457" y="393665"/>
                  </a:lnTo>
                  <a:lnTo>
                    <a:pt x="548550" y="638900"/>
                  </a:lnTo>
                  <a:close/>
                  <a:moveTo>
                    <a:pt x="122618" y="122617"/>
                  </a:moveTo>
                  <a:lnTo>
                    <a:pt x="535643" y="625992"/>
                  </a:lnTo>
                  <a:lnTo>
                    <a:pt x="548550" y="393665"/>
                  </a:lnTo>
                  <a:lnTo>
                    <a:pt x="122618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5" name="Freeform: Shape 3074">
              <a:extLst>
                <a:ext uri="{FF2B5EF4-FFF2-40B4-BE49-F238E27FC236}">
                  <a16:creationId xmlns:a16="http://schemas.microsoft.com/office/drawing/2014/main" id="{5EA5B74C-7030-4FA6-80AC-C68FF0CAD94B}"/>
                </a:ext>
              </a:extLst>
            </p:cNvPr>
            <p:cNvSpPr/>
            <p:nvPr/>
          </p:nvSpPr>
          <p:spPr>
            <a:xfrm>
              <a:off x="12509645" y="4660630"/>
              <a:ext cx="387212" cy="516283"/>
            </a:xfrm>
            <a:custGeom>
              <a:avLst/>
              <a:gdLst>
                <a:gd name="connsiteX0" fmla="*/ 251688 w 387211"/>
                <a:gd name="connsiteY0" fmla="*/ 522736 h 516282"/>
                <a:gd name="connsiteX1" fmla="*/ 96803 w 387211"/>
                <a:gd name="connsiteY1" fmla="*/ 96803 h 516282"/>
                <a:gd name="connsiteX2" fmla="*/ 367852 w 387211"/>
                <a:gd name="connsiteY2" fmla="*/ 458201 h 516282"/>
                <a:gd name="connsiteX3" fmla="*/ 251688 w 387211"/>
                <a:gd name="connsiteY3" fmla="*/ 522736 h 516282"/>
                <a:gd name="connsiteX4" fmla="*/ 122618 w 387211"/>
                <a:gd name="connsiteY4" fmla="*/ 122617 h 516282"/>
                <a:gd name="connsiteX5" fmla="*/ 264595 w 387211"/>
                <a:gd name="connsiteY5" fmla="*/ 509829 h 516282"/>
                <a:gd name="connsiteX6" fmla="*/ 367852 w 387211"/>
                <a:gd name="connsiteY6" fmla="*/ 445294 h 516282"/>
                <a:gd name="connsiteX7" fmla="*/ 122618 w 387211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51688" y="522736"/>
                  </a:moveTo>
                  <a:lnTo>
                    <a:pt x="96803" y="96803"/>
                  </a:lnTo>
                  <a:lnTo>
                    <a:pt x="367852" y="458201"/>
                  </a:lnTo>
                  <a:lnTo>
                    <a:pt x="251688" y="522736"/>
                  </a:lnTo>
                  <a:close/>
                  <a:moveTo>
                    <a:pt x="122618" y="122617"/>
                  </a:moveTo>
                  <a:lnTo>
                    <a:pt x="264595" y="509829"/>
                  </a:lnTo>
                  <a:lnTo>
                    <a:pt x="367852" y="445294"/>
                  </a:lnTo>
                  <a:lnTo>
                    <a:pt x="122618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6" name="Freeform: Shape 3075">
              <a:extLst>
                <a:ext uri="{FF2B5EF4-FFF2-40B4-BE49-F238E27FC236}">
                  <a16:creationId xmlns:a16="http://schemas.microsoft.com/office/drawing/2014/main" id="{1D4B905A-9833-423F-B44B-6A7601B023F3}"/>
                </a:ext>
              </a:extLst>
            </p:cNvPr>
            <p:cNvSpPr/>
            <p:nvPr/>
          </p:nvSpPr>
          <p:spPr>
            <a:xfrm>
              <a:off x="12845230" y="5447961"/>
              <a:ext cx="387212" cy="645353"/>
            </a:xfrm>
            <a:custGeom>
              <a:avLst/>
              <a:gdLst>
                <a:gd name="connsiteX0" fmla="*/ 354944 w 387211"/>
                <a:gd name="connsiteY0" fmla="*/ 587271 h 645353"/>
                <a:gd name="connsiteX1" fmla="*/ 96803 w 387211"/>
                <a:gd name="connsiteY1" fmla="*/ 96803 h 645353"/>
                <a:gd name="connsiteX2" fmla="*/ 277501 w 387211"/>
                <a:gd name="connsiteY2" fmla="*/ 277502 h 645353"/>
                <a:gd name="connsiteX3" fmla="*/ 354944 w 387211"/>
                <a:gd name="connsiteY3" fmla="*/ 587271 h 645353"/>
                <a:gd name="connsiteX4" fmla="*/ 122617 w 387211"/>
                <a:gd name="connsiteY4" fmla="*/ 135524 h 645353"/>
                <a:gd name="connsiteX5" fmla="*/ 329130 w 387211"/>
                <a:gd name="connsiteY5" fmla="*/ 548550 h 645353"/>
                <a:gd name="connsiteX6" fmla="*/ 264594 w 387211"/>
                <a:gd name="connsiteY6" fmla="*/ 290409 h 645353"/>
                <a:gd name="connsiteX7" fmla="*/ 122617 w 387211"/>
                <a:gd name="connsiteY7" fmla="*/ 135524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354944" y="587271"/>
                  </a:moveTo>
                  <a:lnTo>
                    <a:pt x="96803" y="96803"/>
                  </a:lnTo>
                  <a:lnTo>
                    <a:pt x="277501" y="277502"/>
                  </a:lnTo>
                  <a:lnTo>
                    <a:pt x="354944" y="587271"/>
                  </a:lnTo>
                  <a:close/>
                  <a:moveTo>
                    <a:pt x="122617" y="135524"/>
                  </a:moveTo>
                  <a:lnTo>
                    <a:pt x="329130" y="548550"/>
                  </a:lnTo>
                  <a:lnTo>
                    <a:pt x="264594" y="290409"/>
                  </a:lnTo>
                  <a:lnTo>
                    <a:pt x="122617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7" name="Freeform: Shape 3076">
              <a:extLst>
                <a:ext uri="{FF2B5EF4-FFF2-40B4-BE49-F238E27FC236}">
                  <a16:creationId xmlns:a16="http://schemas.microsoft.com/office/drawing/2014/main" id="{1A016200-6965-47BB-8471-4DF3A7EAEF94}"/>
                </a:ext>
              </a:extLst>
            </p:cNvPr>
            <p:cNvSpPr/>
            <p:nvPr/>
          </p:nvSpPr>
          <p:spPr>
            <a:xfrm>
              <a:off x="14355356" y="3770042"/>
              <a:ext cx="516283" cy="387212"/>
            </a:xfrm>
            <a:custGeom>
              <a:avLst/>
              <a:gdLst>
                <a:gd name="connsiteX0" fmla="*/ 96803 w 516282"/>
                <a:gd name="connsiteY0" fmla="*/ 329130 h 387211"/>
                <a:gd name="connsiteX1" fmla="*/ 496922 w 516282"/>
                <a:gd name="connsiteY1" fmla="*/ 96803 h 387211"/>
                <a:gd name="connsiteX2" fmla="*/ 406573 w 516282"/>
                <a:gd name="connsiteY2" fmla="*/ 316223 h 387211"/>
                <a:gd name="connsiteX3" fmla="*/ 96803 w 516282"/>
                <a:gd name="connsiteY3" fmla="*/ 329130 h 387211"/>
                <a:gd name="connsiteX4" fmla="*/ 484015 w 516282"/>
                <a:gd name="connsiteY4" fmla="*/ 109710 h 387211"/>
                <a:gd name="connsiteX5" fmla="*/ 122617 w 516282"/>
                <a:gd name="connsiteY5" fmla="*/ 316223 h 387211"/>
                <a:gd name="connsiteX6" fmla="*/ 393666 w 516282"/>
                <a:gd name="connsiteY6" fmla="*/ 303316 h 387211"/>
                <a:gd name="connsiteX7" fmla="*/ 484015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96803" y="329130"/>
                  </a:moveTo>
                  <a:lnTo>
                    <a:pt x="496922" y="96803"/>
                  </a:lnTo>
                  <a:lnTo>
                    <a:pt x="406573" y="316223"/>
                  </a:lnTo>
                  <a:lnTo>
                    <a:pt x="96803" y="329130"/>
                  </a:lnTo>
                  <a:close/>
                  <a:moveTo>
                    <a:pt x="484015" y="109710"/>
                  </a:moveTo>
                  <a:lnTo>
                    <a:pt x="122617" y="316223"/>
                  </a:lnTo>
                  <a:lnTo>
                    <a:pt x="393666" y="303316"/>
                  </a:lnTo>
                  <a:lnTo>
                    <a:pt x="48401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8" name="Freeform: Shape 3077">
              <a:extLst>
                <a:ext uri="{FF2B5EF4-FFF2-40B4-BE49-F238E27FC236}">
                  <a16:creationId xmlns:a16="http://schemas.microsoft.com/office/drawing/2014/main" id="{08CB4A17-099D-49F9-B15A-FF0644C38943}"/>
                </a:ext>
              </a:extLst>
            </p:cNvPr>
            <p:cNvSpPr/>
            <p:nvPr/>
          </p:nvSpPr>
          <p:spPr>
            <a:xfrm>
              <a:off x="14652219" y="3782949"/>
              <a:ext cx="258141" cy="387212"/>
            </a:xfrm>
            <a:custGeom>
              <a:avLst/>
              <a:gdLst>
                <a:gd name="connsiteX0" fmla="*/ 96803 w 258141"/>
                <a:gd name="connsiteY0" fmla="*/ 316223 h 387211"/>
                <a:gd name="connsiteX1" fmla="*/ 187152 w 258141"/>
                <a:gd name="connsiteY1" fmla="*/ 96803 h 387211"/>
                <a:gd name="connsiteX2" fmla="*/ 277501 w 258141"/>
                <a:gd name="connsiteY2" fmla="*/ 148431 h 387211"/>
                <a:gd name="connsiteX3" fmla="*/ 96803 w 258141"/>
                <a:gd name="connsiteY3" fmla="*/ 316223 h 387211"/>
                <a:gd name="connsiteX4" fmla="*/ 187152 w 258141"/>
                <a:gd name="connsiteY4" fmla="*/ 96803 h 387211"/>
                <a:gd name="connsiteX5" fmla="*/ 109710 w 258141"/>
                <a:gd name="connsiteY5" fmla="*/ 290409 h 387211"/>
                <a:gd name="connsiteX6" fmla="*/ 264594 w 258141"/>
                <a:gd name="connsiteY6" fmla="*/ 135524 h 387211"/>
                <a:gd name="connsiteX7" fmla="*/ 187152 w 25814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16223"/>
                  </a:moveTo>
                  <a:lnTo>
                    <a:pt x="187152" y="96803"/>
                  </a:lnTo>
                  <a:lnTo>
                    <a:pt x="277501" y="148431"/>
                  </a:lnTo>
                  <a:lnTo>
                    <a:pt x="96803" y="316223"/>
                  </a:lnTo>
                  <a:close/>
                  <a:moveTo>
                    <a:pt x="187152" y="96803"/>
                  </a:moveTo>
                  <a:lnTo>
                    <a:pt x="109710" y="290409"/>
                  </a:lnTo>
                  <a:lnTo>
                    <a:pt x="264594" y="135524"/>
                  </a:lnTo>
                  <a:lnTo>
                    <a:pt x="187152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79" name="Freeform: Shape 3078">
              <a:extLst>
                <a:ext uri="{FF2B5EF4-FFF2-40B4-BE49-F238E27FC236}">
                  <a16:creationId xmlns:a16="http://schemas.microsoft.com/office/drawing/2014/main" id="{E87F96EE-1D35-4A19-8A06-D55E2E1CF2D7}"/>
                </a:ext>
              </a:extLst>
            </p:cNvPr>
            <p:cNvSpPr/>
            <p:nvPr/>
          </p:nvSpPr>
          <p:spPr>
            <a:xfrm>
              <a:off x="14742568" y="3511901"/>
              <a:ext cx="258141" cy="516283"/>
            </a:xfrm>
            <a:custGeom>
              <a:avLst/>
              <a:gdLst>
                <a:gd name="connsiteX0" fmla="*/ 187152 w 258141"/>
                <a:gd name="connsiteY0" fmla="*/ 419480 h 516282"/>
                <a:gd name="connsiteX1" fmla="*/ 96803 w 258141"/>
                <a:gd name="connsiteY1" fmla="*/ 367851 h 516282"/>
                <a:gd name="connsiteX2" fmla="*/ 187152 w 258141"/>
                <a:gd name="connsiteY2" fmla="*/ 96803 h 516282"/>
                <a:gd name="connsiteX3" fmla="*/ 187152 w 258141"/>
                <a:gd name="connsiteY3" fmla="*/ 419480 h 516282"/>
                <a:gd name="connsiteX4" fmla="*/ 109710 w 258141"/>
                <a:gd name="connsiteY4" fmla="*/ 367851 h 516282"/>
                <a:gd name="connsiteX5" fmla="*/ 187152 w 258141"/>
                <a:gd name="connsiteY5" fmla="*/ 406572 h 516282"/>
                <a:gd name="connsiteX6" fmla="*/ 187152 w 258141"/>
                <a:gd name="connsiteY6" fmla="*/ 148431 h 516282"/>
                <a:gd name="connsiteX7" fmla="*/ 109710 w 258141"/>
                <a:gd name="connsiteY7" fmla="*/ 36785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187152" y="419480"/>
                  </a:moveTo>
                  <a:lnTo>
                    <a:pt x="96803" y="367851"/>
                  </a:lnTo>
                  <a:lnTo>
                    <a:pt x="187152" y="96803"/>
                  </a:lnTo>
                  <a:lnTo>
                    <a:pt x="187152" y="419480"/>
                  </a:lnTo>
                  <a:close/>
                  <a:moveTo>
                    <a:pt x="109710" y="367851"/>
                  </a:moveTo>
                  <a:lnTo>
                    <a:pt x="187152" y="406572"/>
                  </a:lnTo>
                  <a:lnTo>
                    <a:pt x="187152" y="148431"/>
                  </a:lnTo>
                  <a:lnTo>
                    <a:pt x="109710" y="367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0" name="Freeform: Shape 3079">
              <a:extLst>
                <a:ext uri="{FF2B5EF4-FFF2-40B4-BE49-F238E27FC236}">
                  <a16:creationId xmlns:a16="http://schemas.microsoft.com/office/drawing/2014/main" id="{932F3C6C-5E83-481B-A559-ACB7FD8C6949}"/>
                </a:ext>
              </a:extLst>
            </p:cNvPr>
            <p:cNvSpPr/>
            <p:nvPr/>
          </p:nvSpPr>
          <p:spPr>
            <a:xfrm>
              <a:off x="14871638" y="2931083"/>
              <a:ext cx="258141" cy="516283"/>
            </a:xfrm>
            <a:custGeom>
              <a:avLst/>
              <a:gdLst>
                <a:gd name="connsiteX0" fmla="*/ 212967 w 258141"/>
                <a:gd name="connsiteY0" fmla="*/ 471108 h 516282"/>
                <a:gd name="connsiteX1" fmla="*/ 96803 w 258141"/>
                <a:gd name="connsiteY1" fmla="*/ 445294 h 516282"/>
                <a:gd name="connsiteX2" fmla="*/ 96803 w 258141"/>
                <a:gd name="connsiteY2" fmla="*/ 445294 h 516282"/>
                <a:gd name="connsiteX3" fmla="*/ 96803 w 258141"/>
                <a:gd name="connsiteY3" fmla="*/ 96803 h 516282"/>
                <a:gd name="connsiteX4" fmla="*/ 212967 w 258141"/>
                <a:gd name="connsiteY4" fmla="*/ 471108 h 516282"/>
                <a:gd name="connsiteX5" fmla="*/ 96803 w 258141"/>
                <a:gd name="connsiteY5" fmla="*/ 445294 h 516282"/>
                <a:gd name="connsiteX6" fmla="*/ 200060 w 258141"/>
                <a:gd name="connsiteY6" fmla="*/ 471108 h 516282"/>
                <a:gd name="connsiteX7" fmla="*/ 96803 w 258141"/>
                <a:gd name="connsiteY7" fmla="*/ 148431 h 516282"/>
                <a:gd name="connsiteX8" fmla="*/ 96803 w 258141"/>
                <a:gd name="connsiteY8" fmla="*/ 44529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516282">
                  <a:moveTo>
                    <a:pt x="212967" y="471108"/>
                  </a:moveTo>
                  <a:lnTo>
                    <a:pt x="96803" y="445294"/>
                  </a:lnTo>
                  <a:lnTo>
                    <a:pt x="96803" y="445294"/>
                  </a:lnTo>
                  <a:lnTo>
                    <a:pt x="96803" y="96803"/>
                  </a:lnTo>
                  <a:lnTo>
                    <a:pt x="212967" y="471108"/>
                  </a:lnTo>
                  <a:close/>
                  <a:moveTo>
                    <a:pt x="96803" y="445294"/>
                  </a:moveTo>
                  <a:lnTo>
                    <a:pt x="200060" y="471108"/>
                  </a:lnTo>
                  <a:lnTo>
                    <a:pt x="96803" y="148431"/>
                  </a:lnTo>
                  <a:lnTo>
                    <a:pt x="96803" y="4452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1" name="Freeform: Shape 3080">
              <a:extLst>
                <a:ext uri="{FF2B5EF4-FFF2-40B4-BE49-F238E27FC236}">
                  <a16:creationId xmlns:a16="http://schemas.microsoft.com/office/drawing/2014/main" id="{6AE92DC3-1233-4A96-ACEE-351242B24C1C}"/>
                </a:ext>
              </a:extLst>
            </p:cNvPr>
            <p:cNvSpPr/>
            <p:nvPr/>
          </p:nvSpPr>
          <p:spPr>
            <a:xfrm>
              <a:off x="14820010" y="3318295"/>
              <a:ext cx="258141" cy="387212"/>
            </a:xfrm>
            <a:custGeom>
              <a:avLst/>
              <a:gdLst>
                <a:gd name="connsiteX0" fmla="*/ 212967 w 258141"/>
                <a:gd name="connsiteY0" fmla="*/ 316223 h 387211"/>
                <a:gd name="connsiteX1" fmla="*/ 96803 w 258141"/>
                <a:gd name="connsiteY1" fmla="*/ 290409 h 387211"/>
                <a:gd name="connsiteX2" fmla="*/ 148431 w 258141"/>
                <a:gd name="connsiteY2" fmla="*/ 96803 h 387211"/>
                <a:gd name="connsiteX3" fmla="*/ 212967 w 258141"/>
                <a:gd name="connsiteY3" fmla="*/ 316223 h 387211"/>
                <a:gd name="connsiteX4" fmla="*/ 96803 w 258141"/>
                <a:gd name="connsiteY4" fmla="*/ 290409 h 387211"/>
                <a:gd name="connsiteX5" fmla="*/ 200060 w 258141"/>
                <a:gd name="connsiteY5" fmla="*/ 316223 h 387211"/>
                <a:gd name="connsiteX6" fmla="*/ 135525 w 258141"/>
                <a:gd name="connsiteY6" fmla="*/ 122617 h 387211"/>
                <a:gd name="connsiteX7" fmla="*/ 96803 w 258141"/>
                <a:gd name="connsiteY7" fmla="*/ 29040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12967" y="316223"/>
                  </a:moveTo>
                  <a:lnTo>
                    <a:pt x="96803" y="290409"/>
                  </a:lnTo>
                  <a:lnTo>
                    <a:pt x="148431" y="96803"/>
                  </a:lnTo>
                  <a:lnTo>
                    <a:pt x="212967" y="316223"/>
                  </a:lnTo>
                  <a:close/>
                  <a:moveTo>
                    <a:pt x="96803" y="290409"/>
                  </a:moveTo>
                  <a:lnTo>
                    <a:pt x="200060" y="316223"/>
                  </a:lnTo>
                  <a:lnTo>
                    <a:pt x="135525" y="122617"/>
                  </a:lnTo>
                  <a:lnTo>
                    <a:pt x="96803" y="2904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2" name="Freeform: Shape 3081">
              <a:extLst>
                <a:ext uri="{FF2B5EF4-FFF2-40B4-BE49-F238E27FC236}">
                  <a16:creationId xmlns:a16="http://schemas.microsoft.com/office/drawing/2014/main" id="{ABEBA8FD-280E-4659-9AC0-F14037B77B4A}"/>
                </a:ext>
              </a:extLst>
            </p:cNvPr>
            <p:cNvSpPr/>
            <p:nvPr/>
          </p:nvSpPr>
          <p:spPr>
            <a:xfrm>
              <a:off x="14858731" y="3331202"/>
              <a:ext cx="387212" cy="387212"/>
            </a:xfrm>
            <a:custGeom>
              <a:avLst/>
              <a:gdLst>
                <a:gd name="connsiteX0" fmla="*/ 161338 w 387211"/>
                <a:gd name="connsiteY0" fmla="*/ 316223 h 387211"/>
                <a:gd name="connsiteX1" fmla="*/ 96803 w 387211"/>
                <a:gd name="connsiteY1" fmla="*/ 96803 h 387211"/>
                <a:gd name="connsiteX2" fmla="*/ 303316 w 387211"/>
                <a:gd name="connsiteY2" fmla="*/ 200059 h 387211"/>
                <a:gd name="connsiteX3" fmla="*/ 161338 w 387211"/>
                <a:gd name="connsiteY3" fmla="*/ 316223 h 387211"/>
                <a:gd name="connsiteX4" fmla="*/ 96803 w 387211"/>
                <a:gd name="connsiteY4" fmla="*/ 109710 h 387211"/>
                <a:gd name="connsiteX5" fmla="*/ 161338 w 387211"/>
                <a:gd name="connsiteY5" fmla="*/ 303316 h 387211"/>
                <a:gd name="connsiteX6" fmla="*/ 290409 w 387211"/>
                <a:gd name="connsiteY6" fmla="*/ 212967 h 387211"/>
                <a:gd name="connsiteX7" fmla="*/ 96803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61338" y="316223"/>
                  </a:moveTo>
                  <a:lnTo>
                    <a:pt x="96803" y="96803"/>
                  </a:lnTo>
                  <a:lnTo>
                    <a:pt x="303316" y="200059"/>
                  </a:lnTo>
                  <a:lnTo>
                    <a:pt x="161338" y="316223"/>
                  </a:lnTo>
                  <a:close/>
                  <a:moveTo>
                    <a:pt x="96803" y="109710"/>
                  </a:moveTo>
                  <a:lnTo>
                    <a:pt x="161338" y="303316"/>
                  </a:lnTo>
                  <a:lnTo>
                    <a:pt x="290409" y="212967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3" name="Freeform: Shape 3082">
              <a:extLst>
                <a:ext uri="{FF2B5EF4-FFF2-40B4-BE49-F238E27FC236}">
                  <a16:creationId xmlns:a16="http://schemas.microsoft.com/office/drawing/2014/main" id="{3D41156B-0749-4EDC-9668-7C9FBD1870DA}"/>
                </a:ext>
              </a:extLst>
            </p:cNvPr>
            <p:cNvSpPr/>
            <p:nvPr/>
          </p:nvSpPr>
          <p:spPr>
            <a:xfrm>
              <a:off x="12845230" y="5435054"/>
              <a:ext cx="387212" cy="645353"/>
            </a:xfrm>
            <a:custGeom>
              <a:avLst/>
              <a:gdLst>
                <a:gd name="connsiteX0" fmla="*/ 354944 w 387211"/>
                <a:gd name="connsiteY0" fmla="*/ 587271 h 645353"/>
                <a:gd name="connsiteX1" fmla="*/ 174245 w 387211"/>
                <a:gd name="connsiteY1" fmla="*/ 406573 h 645353"/>
                <a:gd name="connsiteX2" fmla="*/ 96803 w 387211"/>
                <a:gd name="connsiteY2" fmla="*/ 96803 h 645353"/>
                <a:gd name="connsiteX3" fmla="*/ 354944 w 387211"/>
                <a:gd name="connsiteY3" fmla="*/ 587271 h 645353"/>
                <a:gd name="connsiteX4" fmla="*/ 187152 w 387211"/>
                <a:gd name="connsiteY4" fmla="*/ 406573 h 645353"/>
                <a:gd name="connsiteX5" fmla="*/ 329130 w 387211"/>
                <a:gd name="connsiteY5" fmla="*/ 548550 h 645353"/>
                <a:gd name="connsiteX6" fmla="*/ 122617 w 387211"/>
                <a:gd name="connsiteY6" fmla="*/ 135524 h 645353"/>
                <a:gd name="connsiteX7" fmla="*/ 187152 w 387211"/>
                <a:gd name="connsiteY7" fmla="*/ 40657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354944" y="587271"/>
                  </a:moveTo>
                  <a:lnTo>
                    <a:pt x="174245" y="406573"/>
                  </a:lnTo>
                  <a:lnTo>
                    <a:pt x="96803" y="96803"/>
                  </a:lnTo>
                  <a:lnTo>
                    <a:pt x="354944" y="587271"/>
                  </a:lnTo>
                  <a:close/>
                  <a:moveTo>
                    <a:pt x="187152" y="406573"/>
                  </a:moveTo>
                  <a:lnTo>
                    <a:pt x="329130" y="548550"/>
                  </a:lnTo>
                  <a:lnTo>
                    <a:pt x="122617" y="135524"/>
                  </a:lnTo>
                  <a:lnTo>
                    <a:pt x="187152" y="406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4" name="Freeform: Shape 3083">
              <a:extLst>
                <a:ext uri="{FF2B5EF4-FFF2-40B4-BE49-F238E27FC236}">
                  <a16:creationId xmlns:a16="http://schemas.microsoft.com/office/drawing/2014/main" id="{496DAC77-CD9F-4B51-856C-BFF1D0837EB1}"/>
                </a:ext>
              </a:extLst>
            </p:cNvPr>
            <p:cNvSpPr/>
            <p:nvPr/>
          </p:nvSpPr>
          <p:spPr>
            <a:xfrm>
              <a:off x="12651624" y="5060749"/>
              <a:ext cx="387212" cy="516283"/>
            </a:xfrm>
            <a:custGeom>
              <a:avLst/>
              <a:gdLst>
                <a:gd name="connsiteX0" fmla="*/ 303316 w 387211"/>
                <a:gd name="connsiteY0" fmla="*/ 509829 h 516282"/>
                <a:gd name="connsiteX1" fmla="*/ 96803 w 387211"/>
                <a:gd name="connsiteY1" fmla="*/ 96803 h 516282"/>
                <a:gd name="connsiteX2" fmla="*/ 342036 w 387211"/>
                <a:gd name="connsiteY2" fmla="*/ 354945 h 516282"/>
                <a:gd name="connsiteX3" fmla="*/ 303316 w 387211"/>
                <a:gd name="connsiteY3" fmla="*/ 509829 h 516282"/>
                <a:gd name="connsiteX4" fmla="*/ 122617 w 387211"/>
                <a:gd name="connsiteY4" fmla="*/ 135524 h 516282"/>
                <a:gd name="connsiteX5" fmla="*/ 303316 w 387211"/>
                <a:gd name="connsiteY5" fmla="*/ 496922 h 516282"/>
                <a:gd name="connsiteX6" fmla="*/ 342036 w 387211"/>
                <a:gd name="connsiteY6" fmla="*/ 367851 h 516282"/>
                <a:gd name="connsiteX7" fmla="*/ 122617 w 387211"/>
                <a:gd name="connsiteY7" fmla="*/ 13552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03316" y="509829"/>
                  </a:moveTo>
                  <a:lnTo>
                    <a:pt x="96803" y="96803"/>
                  </a:lnTo>
                  <a:lnTo>
                    <a:pt x="342036" y="354945"/>
                  </a:lnTo>
                  <a:lnTo>
                    <a:pt x="303316" y="509829"/>
                  </a:lnTo>
                  <a:close/>
                  <a:moveTo>
                    <a:pt x="122617" y="135524"/>
                  </a:moveTo>
                  <a:lnTo>
                    <a:pt x="303316" y="496922"/>
                  </a:lnTo>
                  <a:lnTo>
                    <a:pt x="342036" y="367851"/>
                  </a:lnTo>
                  <a:lnTo>
                    <a:pt x="122617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5" name="Freeform: Shape 3084">
              <a:extLst>
                <a:ext uri="{FF2B5EF4-FFF2-40B4-BE49-F238E27FC236}">
                  <a16:creationId xmlns:a16="http://schemas.microsoft.com/office/drawing/2014/main" id="{123805BD-3871-42BF-8C0A-61547FF7F22A}"/>
                </a:ext>
              </a:extLst>
            </p:cNvPr>
            <p:cNvSpPr/>
            <p:nvPr/>
          </p:nvSpPr>
          <p:spPr>
            <a:xfrm>
              <a:off x="12664530" y="5009121"/>
              <a:ext cx="387212" cy="387212"/>
            </a:xfrm>
            <a:custGeom>
              <a:avLst/>
              <a:gdLst>
                <a:gd name="connsiteX0" fmla="*/ 380758 w 387211"/>
                <a:gd name="connsiteY0" fmla="*/ 303316 h 387211"/>
                <a:gd name="connsiteX1" fmla="*/ 96803 w 387211"/>
                <a:gd name="connsiteY1" fmla="*/ 174245 h 387211"/>
                <a:gd name="connsiteX2" fmla="*/ 212967 w 387211"/>
                <a:gd name="connsiteY2" fmla="*/ 96803 h 387211"/>
                <a:gd name="connsiteX3" fmla="*/ 212967 w 387211"/>
                <a:gd name="connsiteY3" fmla="*/ 96803 h 387211"/>
                <a:gd name="connsiteX4" fmla="*/ 380758 w 387211"/>
                <a:gd name="connsiteY4" fmla="*/ 303316 h 387211"/>
                <a:gd name="connsiteX5" fmla="*/ 109710 w 387211"/>
                <a:gd name="connsiteY5" fmla="*/ 161338 h 387211"/>
                <a:gd name="connsiteX6" fmla="*/ 354944 w 387211"/>
                <a:gd name="connsiteY6" fmla="*/ 277502 h 387211"/>
                <a:gd name="connsiteX7" fmla="*/ 200059 w 387211"/>
                <a:gd name="connsiteY7" fmla="*/ 96803 h 387211"/>
                <a:gd name="connsiteX8" fmla="*/ 109710 w 387211"/>
                <a:gd name="connsiteY8" fmla="*/ 16133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380758" y="303316"/>
                  </a:moveTo>
                  <a:lnTo>
                    <a:pt x="96803" y="174245"/>
                  </a:lnTo>
                  <a:lnTo>
                    <a:pt x="212967" y="96803"/>
                  </a:lnTo>
                  <a:lnTo>
                    <a:pt x="212967" y="96803"/>
                  </a:lnTo>
                  <a:lnTo>
                    <a:pt x="380758" y="303316"/>
                  </a:lnTo>
                  <a:close/>
                  <a:moveTo>
                    <a:pt x="109710" y="161338"/>
                  </a:moveTo>
                  <a:lnTo>
                    <a:pt x="354944" y="277502"/>
                  </a:lnTo>
                  <a:lnTo>
                    <a:pt x="200059" y="96803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6" name="Freeform: Shape 3085">
              <a:extLst>
                <a:ext uri="{FF2B5EF4-FFF2-40B4-BE49-F238E27FC236}">
                  <a16:creationId xmlns:a16="http://schemas.microsoft.com/office/drawing/2014/main" id="{BB880E45-19D8-469D-BCF6-4E3C94C8EC62}"/>
                </a:ext>
              </a:extLst>
            </p:cNvPr>
            <p:cNvSpPr/>
            <p:nvPr/>
          </p:nvSpPr>
          <p:spPr>
            <a:xfrm>
              <a:off x="12664530" y="5073656"/>
              <a:ext cx="387212" cy="387212"/>
            </a:xfrm>
            <a:custGeom>
              <a:avLst/>
              <a:gdLst>
                <a:gd name="connsiteX0" fmla="*/ 342037 w 387211"/>
                <a:gd name="connsiteY0" fmla="*/ 354944 h 387211"/>
                <a:gd name="connsiteX1" fmla="*/ 342037 w 387211"/>
                <a:gd name="connsiteY1" fmla="*/ 354944 h 387211"/>
                <a:gd name="connsiteX2" fmla="*/ 96803 w 387211"/>
                <a:gd name="connsiteY2" fmla="*/ 96803 h 387211"/>
                <a:gd name="connsiteX3" fmla="*/ 380758 w 387211"/>
                <a:gd name="connsiteY3" fmla="*/ 225874 h 387211"/>
                <a:gd name="connsiteX4" fmla="*/ 342037 w 387211"/>
                <a:gd name="connsiteY4" fmla="*/ 354944 h 387211"/>
                <a:gd name="connsiteX5" fmla="*/ 122617 w 387211"/>
                <a:gd name="connsiteY5" fmla="*/ 109710 h 387211"/>
                <a:gd name="connsiteX6" fmla="*/ 342037 w 387211"/>
                <a:gd name="connsiteY6" fmla="*/ 342037 h 387211"/>
                <a:gd name="connsiteX7" fmla="*/ 367851 w 387211"/>
                <a:gd name="connsiteY7" fmla="*/ 225874 h 387211"/>
                <a:gd name="connsiteX8" fmla="*/ 122617 w 387211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342037" y="354944"/>
                  </a:moveTo>
                  <a:lnTo>
                    <a:pt x="342037" y="354944"/>
                  </a:lnTo>
                  <a:lnTo>
                    <a:pt x="96803" y="96803"/>
                  </a:lnTo>
                  <a:lnTo>
                    <a:pt x="380758" y="225874"/>
                  </a:lnTo>
                  <a:lnTo>
                    <a:pt x="342037" y="354944"/>
                  </a:lnTo>
                  <a:close/>
                  <a:moveTo>
                    <a:pt x="122617" y="109710"/>
                  </a:moveTo>
                  <a:lnTo>
                    <a:pt x="342037" y="342037"/>
                  </a:lnTo>
                  <a:lnTo>
                    <a:pt x="367851" y="225874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7" name="Freeform: Shape 3086">
              <a:extLst>
                <a:ext uri="{FF2B5EF4-FFF2-40B4-BE49-F238E27FC236}">
                  <a16:creationId xmlns:a16="http://schemas.microsoft.com/office/drawing/2014/main" id="{71652666-4E4E-4A35-8337-411CF6877E5E}"/>
                </a:ext>
              </a:extLst>
            </p:cNvPr>
            <p:cNvSpPr/>
            <p:nvPr/>
          </p:nvSpPr>
          <p:spPr>
            <a:xfrm>
              <a:off x="12935579" y="5202727"/>
              <a:ext cx="516283" cy="387212"/>
            </a:xfrm>
            <a:custGeom>
              <a:avLst/>
              <a:gdLst>
                <a:gd name="connsiteX0" fmla="*/ 316223 w 516282"/>
                <a:gd name="connsiteY0" fmla="*/ 380759 h 387211"/>
                <a:gd name="connsiteX1" fmla="*/ 316223 w 516282"/>
                <a:gd name="connsiteY1" fmla="*/ 380759 h 387211"/>
                <a:gd name="connsiteX2" fmla="*/ 96803 w 516282"/>
                <a:gd name="connsiteY2" fmla="*/ 96803 h 387211"/>
                <a:gd name="connsiteX3" fmla="*/ 522737 w 516282"/>
                <a:gd name="connsiteY3" fmla="*/ 225874 h 387211"/>
                <a:gd name="connsiteX4" fmla="*/ 316223 w 516282"/>
                <a:gd name="connsiteY4" fmla="*/ 380759 h 387211"/>
                <a:gd name="connsiteX5" fmla="*/ 109710 w 516282"/>
                <a:gd name="connsiteY5" fmla="*/ 109710 h 387211"/>
                <a:gd name="connsiteX6" fmla="*/ 316223 w 516282"/>
                <a:gd name="connsiteY6" fmla="*/ 380759 h 387211"/>
                <a:gd name="connsiteX7" fmla="*/ 496922 w 516282"/>
                <a:gd name="connsiteY7" fmla="*/ 225874 h 387211"/>
                <a:gd name="connsiteX8" fmla="*/ 109710 w 516282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316223" y="380759"/>
                  </a:moveTo>
                  <a:lnTo>
                    <a:pt x="316223" y="380759"/>
                  </a:lnTo>
                  <a:lnTo>
                    <a:pt x="96803" y="96803"/>
                  </a:lnTo>
                  <a:lnTo>
                    <a:pt x="522737" y="225874"/>
                  </a:lnTo>
                  <a:lnTo>
                    <a:pt x="316223" y="380759"/>
                  </a:lnTo>
                  <a:close/>
                  <a:moveTo>
                    <a:pt x="109710" y="109710"/>
                  </a:moveTo>
                  <a:lnTo>
                    <a:pt x="316223" y="380759"/>
                  </a:lnTo>
                  <a:lnTo>
                    <a:pt x="496922" y="225874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8" name="Freeform: Shape 3087">
              <a:extLst>
                <a:ext uri="{FF2B5EF4-FFF2-40B4-BE49-F238E27FC236}">
                  <a16:creationId xmlns:a16="http://schemas.microsoft.com/office/drawing/2014/main" id="{EB7610C3-B128-4F5A-9B8E-8E20E313D458}"/>
                </a:ext>
              </a:extLst>
            </p:cNvPr>
            <p:cNvSpPr/>
            <p:nvPr/>
          </p:nvSpPr>
          <p:spPr>
            <a:xfrm>
              <a:off x="12922672" y="5099470"/>
              <a:ext cx="516283" cy="387212"/>
            </a:xfrm>
            <a:custGeom>
              <a:avLst/>
              <a:gdLst>
                <a:gd name="connsiteX0" fmla="*/ 522736 w 516282"/>
                <a:gd name="connsiteY0" fmla="*/ 329130 h 387211"/>
                <a:gd name="connsiteX1" fmla="*/ 522736 w 516282"/>
                <a:gd name="connsiteY1" fmla="*/ 329130 h 387211"/>
                <a:gd name="connsiteX2" fmla="*/ 96803 w 516282"/>
                <a:gd name="connsiteY2" fmla="*/ 200059 h 387211"/>
                <a:gd name="connsiteX3" fmla="*/ 522736 w 516282"/>
                <a:gd name="connsiteY3" fmla="*/ 96803 h 387211"/>
                <a:gd name="connsiteX4" fmla="*/ 522736 w 516282"/>
                <a:gd name="connsiteY4" fmla="*/ 329130 h 387211"/>
                <a:gd name="connsiteX5" fmla="*/ 122617 w 516282"/>
                <a:gd name="connsiteY5" fmla="*/ 200059 h 387211"/>
                <a:gd name="connsiteX6" fmla="*/ 522736 w 516282"/>
                <a:gd name="connsiteY6" fmla="*/ 316223 h 387211"/>
                <a:gd name="connsiteX7" fmla="*/ 522736 w 516282"/>
                <a:gd name="connsiteY7" fmla="*/ 96803 h 387211"/>
                <a:gd name="connsiteX8" fmla="*/ 122617 w 516282"/>
                <a:gd name="connsiteY8" fmla="*/ 20005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522736" y="329130"/>
                  </a:moveTo>
                  <a:lnTo>
                    <a:pt x="522736" y="329130"/>
                  </a:lnTo>
                  <a:lnTo>
                    <a:pt x="96803" y="200059"/>
                  </a:lnTo>
                  <a:lnTo>
                    <a:pt x="522736" y="96803"/>
                  </a:lnTo>
                  <a:lnTo>
                    <a:pt x="522736" y="329130"/>
                  </a:lnTo>
                  <a:close/>
                  <a:moveTo>
                    <a:pt x="122617" y="200059"/>
                  </a:moveTo>
                  <a:lnTo>
                    <a:pt x="522736" y="316223"/>
                  </a:lnTo>
                  <a:lnTo>
                    <a:pt x="522736" y="96803"/>
                  </a:lnTo>
                  <a:lnTo>
                    <a:pt x="122617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89" name="Freeform: Shape 3088">
              <a:extLst>
                <a:ext uri="{FF2B5EF4-FFF2-40B4-BE49-F238E27FC236}">
                  <a16:creationId xmlns:a16="http://schemas.microsoft.com/office/drawing/2014/main" id="{4EB40755-0747-4DD6-8049-4D123E042622}"/>
                </a:ext>
              </a:extLst>
            </p:cNvPr>
            <p:cNvSpPr/>
            <p:nvPr/>
          </p:nvSpPr>
          <p:spPr>
            <a:xfrm>
              <a:off x="12767786" y="4905864"/>
              <a:ext cx="516283" cy="387212"/>
            </a:xfrm>
            <a:custGeom>
              <a:avLst/>
              <a:gdLst>
                <a:gd name="connsiteX0" fmla="*/ 264595 w 516282"/>
                <a:gd name="connsiteY0" fmla="*/ 393665 h 387211"/>
                <a:gd name="connsiteX1" fmla="*/ 96803 w 516282"/>
                <a:gd name="connsiteY1" fmla="*/ 187152 h 387211"/>
                <a:gd name="connsiteX2" fmla="*/ 522737 w 516282"/>
                <a:gd name="connsiteY2" fmla="*/ 96803 h 387211"/>
                <a:gd name="connsiteX3" fmla="*/ 264595 w 516282"/>
                <a:gd name="connsiteY3" fmla="*/ 393665 h 387211"/>
                <a:gd name="connsiteX4" fmla="*/ 109711 w 516282"/>
                <a:gd name="connsiteY4" fmla="*/ 200059 h 387211"/>
                <a:gd name="connsiteX5" fmla="*/ 264595 w 516282"/>
                <a:gd name="connsiteY5" fmla="*/ 393665 h 387211"/>
                <a:gd name="connsiteX6" fmla="*/ 509830 w 516282"/>
                <a:gd name="connsiteY6" fmla="*/ 122617 h 387211"/>
                <a:gd name="connsiteX7" fmla="*/ 109711 w 516282"/>
                <a:gd name="connsiteY7" fmla="*/ 20005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264595" y="393665"/>
                  </a:moveTo>
                  <a:lnTo>
                    <a:pt x="96803" y="187152"/>
                  </a:lnTo>
                  <a:lnTo>
                    <a:pt x="522737" y="96803"/>
                  </a:lnTo>
                  <a:lnTo>
                    <a:pt x="264595" y="393665"/>
                  </a:lnTo>
                  <a:close/>
                  <a:moveTo>
                    <a:pt x="109711" y="200059"/>
                  </a:moveTo>
                  <a:lnTo>
                    <a:pt x="264595" y="393665"/>
                  </a:lnTo>
                  <a:lnTo>
                    <a:pt x="509830" y="122617"/>
                  </a:lnTo>
                  <a:lnTo>
                    <a:pt x="109711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0" name="Freeform: Shape 3089">
              <a:extLst>
                <a:ext uri="{FF2B5EF4-FFF2-40B4-BE49-F238E27FC236}">
                  <a16:creationId xmlns:a16="http://schemas.microsoft.com/office/drawing/2014/main" id="{1BCEE061-12A5-46AB-9C44-003639EE9E9B}"/>
                </a:ext>
              </a:extLst>
            </p:cNvPr>
            <p:cNvSpPr/>
            <p:nvPr/>
          </p:nvSpPr>
          <p:spPr>
            <a:xfrm>
              <a:off x="12935579" y="4918771"/>
              <a:ext cx="516283" cy="387212"/>
            </a:xfrm>
            <a:custGeom>
              <a:avLst/>
              <a:gdLst>
                <a:gd name="connsiteX0" fmla="*/ 96803 w 516282"/>
                <a:gd name="connsiteY0" fmla="*/ 393665 h 387211"/>
                <a:gd name="connsiteX1" fmla="*/ 354944 w 516282"/>
                <a:gd name="connsiteY1" fmla="*/ 96803 h 387211"/>
                <a:gd name="connsiteX2" fmla="*/ 522737 w 516282"/>
                <a:gd name="connsiteY2" fmla="*/ 290409 h 387211"/>
                <a:gd name="connsiteX3" fmla="*/ 96803 w 516282"/>
                <a:gd name="connsiteY3" fmla="*/ 393665 h 387211"/>
                <a:gd name="connsiteX4" fmla="*/ 354944 w 516282"/>
                <a:gd name="connsiteY4" fmla="*/ 96803 h 387211"/>
                <a:gd name="connsiteX5" fmla="*/ 109710 w 516282"/>
                <a:gd name="connsiteY5" fmla="*/ 380759 h 387211"/>
                <a:gd name="connsiteX6" fmla="*/ 509829 w 516282"/>
                <a:gd name="connsiteY6" fmla="*/ 290409 h 387211"/>
                <a:gd name="connsiteX7" fmla="*/ 354944 w 516282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96803" y="393665"/>
                  </a:moveTo>
                  <a:lnTo>
                    <a:pt x="354944" y="96803"/>
                  </a:lnTo>
                  <a:lnTo>
                    <a:pt x="522737" y="290409"/>
                  </a:lnTo>
                  <a:lnTo>
                    <a:pt x="96803" y="393665"/>
                  </a:lnTo>
                  <a:close/>
                  <a:moveTo>
                    <a:pt x="354944" y="96803"/>
                  </a:moveTo>
                  <a:lnTo>
                    <a:pt x="109710" y="380759"/>
                  </a:lnTo>
                  <a:lnTo>
                    <a:pt x="509829" y="290409"/>
                  </a:lnTo>
                  <a:lnTo>
                    <a:pt x="354944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1" name="Freeform: Shape 3090">
              <a:extLst>
                <a:ext uri="{FF2B5EF4-FFF2-40B4-BE49-F238E27FC236}">
                  <a16:creationId xmlns:a16="http://schemas.microsoft.com/office/drawing/2014/main" id="{21B7262A-01A9-4B4C-8567-F2B5103CAE30}"/>
                </a:ext>
              </a:extLst>
            </p:cNvPr>
            <p:cNvSpPr/>
            <p:nvPr/>
          </p:nvSpPr>
          <p:spPr>
            <a:xfrm>
              <a:off x="13735816" y="3602251"/>
              <a:ext cx="516283" cy="258141"/>
            </a:xfrm>
            <a:custGeom>
              <a:avLst/>
              <a:gdLst>
                <a:gd name="connsiteX0" fmla="*/ 96803 w 516282"/>
                <a:gd name="connsiteY0" fmla="*/ 238781 h 258141"/>
                <a:gd name="connsiteX1" fmla="*/ 303317 w 516282"/>
                <a:gd name="connsiteY1" fmla="*/ 96803 h 258141"/>
                <a:gd name="connsiteX2" fmla="*/ 496923 w 516282"/>
                <a:gd name="connsiteY2" fmla="*/ 161338 h 258141"/>
                <a:gd name="connsiteX3" fmla="*/ 96803 w 516282"/>
                <a:gd name="connsiteY3" fmla="*/ 238781 h 258141"/>
                <a:gd name="connsiteX4" fmla="*/ 303317 w 516282"/>
                <a:gd name="connsiteY4" fmla="*/ 109710 h 258141"/>
                <a:gd name="connsiteX5" fmla="*/ 122618 w 516282"/>
                <a:gd name="connsiteY5" fmla="*/ 238781 h 258141"/>
                <a:gd name="connsiteX6" fmla="*/ 471108 w 516282"/>
                <a:gd name="connsiteY6" fmla="*/ 174245 h 258141"/>
                <a:gd name="connsiteX7" fmla="*/ 303317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96803" y="238781"/>
                  </a:moveTo>
                  <a:lnTo>
                    <a:pt x="303317" y="96803"/>
                  </a:lnTo>
                  <a:lnTo>
                    <a:pt x="496923" y="161338"/>
                  </a:lnTo>
                  <a:lnTo>
                    <a:pt x="96803" y="238781"/>
                  </a:lnTo>
                  <a:close/>
                  <a:moveTo>
                    <a:pt x="303317" y="109710"/>
                  </a:moveTo>
                  <a:lnTo>
                    <a:pt x="122618" y="238781"/>
                  </a:lnTo>
                  <a:lnTo>
                    <a:pt x="471108" y="174245"/>
                  </a:lnTo>
                  <a:lnTo>
                    <a:pt x="3033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2" name="Freeform: Shape 3091">
              <a:extLst>
                <a:ext uri="{FF2B5EF4-FFF2-40B4-BE49-F238E27FC236}">
                  <a16:creationId xmlns:a16="http://schemas.microsoft.com/office/drawing/2014/main" id="{6CC97E80-257B-41A8-A146-76C4E01187AF}"/>
                </a:ext>
              </a:extLst>
            </p:cNvPr>
            <p:cNvSpPr/>
            <p:nvPr/>
          </p:nvSpPr>
          <p:spPr>
            <a:xfrm>
              <a:off x="14110121" y="3653879"/>
              <a:ext cx="258141" cy="516283"/>
            </a:xfrm>
            <a:custGeom>
              <a:avLst/>
              <a:gdLst>
                <a:gd name="connsiteX0" fmla="*/ 161338 w 258141"/>
                <a:gd name="connsiteY0" fmla="*/ 445294 h 516282"/>
                <a:gd name="connsiteX1" fmla="*/ 96803 w 258141"/>
                <a:gd name="connsiteY1" fmla="*/ 109710 h 516282"/>
                <a:gd name="connsiteX2" fmla="*/ 225874 w 258141"/>
                <a:gd name="connsiteY2" fmla="*/ 96803 h 516282"/>
                <a:gd name="connsiteX3" fmla="*/ 225874 w 258141"/>
                <a:gd name="connsiteY3" fmla="*/ 96803 h 516282"/>
                <a:gd name="connsiteX4" fmla="*/ 161338 w 258141"/>
                <a:gd name="connsiteY4" fmla="*/ 445294 h 516282"/>
                <a:gd name="connsiteX5" fmla="*/ 109710 w 258141"/>
                <a:gd name="connsiteY5" fmla="*/ 109710 h 516282"/>
                <a:gd name="connsiteX6" fmla="*/ 161338 w 258141"/>
                <a:gd name="connsiteY6" fmla="*/ 406572 h 516282"/>
                <a:gd name="connsiteX7" fmla="*/ 225874 w 258141"/>
                <a:gd name="connsiteY7" fmla="*/ 96803 h 516282"/>
                <a:gd name="connsiteX8" fmla="*/ 109710 w 258141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516282">
                  <a:moveTo>
                    <a:pt x="161338" y="445294"/>
                  </a:moveTo>
                  <a:lnTo>
                    <a:pt x="96803" y="109710"/>
                  </a:lnTo>
                  <a:lnTo>
                    <a:pt x="225874" y="96803"/>
                  </a:lnTo>
                  <a:lnTo>
                    <a:pt x="225874" y="96803"/>
                  </a:lnTo>
                  <a:lnTo>
                    <a:pt x="161338" y="445294"/>
                  </a:lnTo>
                  <a:close/>
                  <a:moveTo>
                    <a:pt x="109710" y="109710"/>
                  </a:moveTo>
                  <a:lnTo>
                    <a:pt x="161338" y="406572"/>
                  </a:lnTo>
                  <a:lnTo>
                    <a:pt x="225874" y="96803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3" name="Freeform: Shape 3092">
              <a:extLst>
                <a:ext uri="{FF2B5EF4-FFF2-40B4-BE49-F238E27FC236}">
                  <a16:creationId xmlns:a16="http://schemas.microsoft.com/office/drawing/2014/main" id="{4A8009CB-59DC-41AD-9026-AEB35E1E7058}"/>
                </a:ext>
              </a:extLst>
            </p:cNvPr>
            <p:cNvSpPr/>
            <p:nvPr/>
          </p:nvSpPr>
          <p:spPr>
            <a:xfrm>
              <a:off x="14174657" y="3628065"/>
              <a:ext cx="258141" cy="516283"/>
            </a:xfrm>
            <a:custGeom>
              <a:avLst/>
              <a:gdLst>
                <a:gd name="connsiteX0" fmla="*/ 96803 w 258141"/>
                <a:gd name="connsiteY0" fmla="*/ 458201 h 516282"/>
                <a:gd name="connsiteX1" fmla="*/ 161338 w 258141"/>
                <a:gd name="connsiteY1" fmla="*/ 96803 h 516282"/>
                <a:gd name="connsiteX2" fmla="*/ 238781 w 258141"/>
                <a:gd name="connsiteY2" fmla="*/ 419480 h 516282"/>
                <a:gd name="connsiteX3" fmla="*/ 96803 w 258141"/>
                <a:gd name="connsiteY3" fmla="*/ 458201 h 516282"/>
                <a:gd name="connsiteX4" fmla="*/ 161338 w 258141"/>
                <a:gd name="connsiteY4" fmla="*/ 135524 h 516282"/>
                <a:gd name="connsiteX5" fmla="*/ 96803 w 258141"/>
                <a:gd name="connsiteY5" fmla="*/ 458201 h 516282"/>
                <a:gd name="connsiteX6" fmla="*/ 225874 w 258141"/>
                <a:gd name="connsiteY6" fmla="*/ 419480 h 516282"/>
                <a:gd name="connsiteX7" fmla="*/ 161338 w 258141"/>
                <a:gd name="connsiteY7" fmla="*/ 13552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96803" y="458201"/>
                  </a:moveTo>
                  <a:lnTo>
                    <a:pt x="161338" y="96803"/>
                  </a:lnTo>
                  <a:lnTo>
                    <a:pt x="238781" y="419480"/>
                  </a:lnTo>
                  <a:lnTo>
                    <a:pt x="96803" y="458201"/>
                  </a:lnTo>
                  <a:close/>
                  <a:moveTo>
                    <a:pt x="161338" y="135524"/>
                  </a:moveTo>
                  <a:lnTo>
                    <a:pt x="96803" y="458201"/>
                  </a:lnTo>
                  <a:lnTo>
                    <a:pt x="225874" y="419480"/>
                  </a:lnTo>
                  <a:lnTo>
                    <a:pt x="161338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4" name="Freeform: Shape 3093">
              <a:extLst>
                <a:ext uri="{FF2B5EF4-FFF2-40B4-BE49-F238E27FC236}">
                  <a16:creationId xmlns:a16="http://schemas.microsoft.com/office/drawing/2014/main" id="{DFA4AF08-E034-4B60-8F69-BD8CA41343B6}"/>
                </a:ext>
              </a:extLst>
            </p:cNvPr>
            <p:cNvSpPr/>
            <p:nvPr/>
          </p:nvSpPr>
          <p:spPr>
            <a:xfrm>
              <a:off x="13929422" y="3460273"/>
              <a:ext cx="645353" cy="387212"/>
            </a:xfrm>
            <a:custGeom>
              <a:avLst/>
              <a:gdLst>
                <a:gd name="connsiteX0" fmla="*/ 290409 w 645353"/>
                <a:gd name="connsiteY0" fmla="*/ 303316 h 387211"/>
                <a:gd name="connsiteX1" fmla="*/ 96803 w 645353"/>
                <a:gd name="connsiteY1" fmla="*/ 238781 h 387211"/>
                <a:gd name="connsiteX2" fmla="*/ 587272 w 645353"/>
                <a:gd name="connsiteY2" fmla="*/ 96803 h 387211"/>
                <a:gd name="connsiteX3" fmla="*/ 290409 w 645353"/>
                <a:gd name="connsiteY3" fmla="*/ 303316 h 387211"/>
                <a:gd name="connsiteX4" fmla="*/ 122618 w 645353"/>
                <a:gd name="connsiteY4" fmla="*/ 238781 h 387211"/>
                <a:gd name="connsiteX5" fmla="*/ 290409 w 645353"/>
                <a:gd name="connsiteY5" fmla="*/ 290409 h 387211"/>
                <a:gd name="connsiteX6" fmla="*/ 561458 w 645353"/>
                <a:gd name="connsiteY6" fmla="*/ 109710 h 387211"/>
                <a:gd name="connsiteX7" fmla="*/ 122618 w 645353"/>
                <a:gd name="connsiteY7" fmla="*/ 23878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290409" y="303316"/>
                  </a:moveTo>
                  <a:lnTo>
                    <a:pt x="96803" y="238781"/>
                  </a:lnTo>
                  <a:lnTo>
                    <a:pt x="587272" y="96803"/>
                  </a:lnTo>
                  <a:lnTo>
                    <a:pt x="290409" y="303316"/>
                  </a:lnTo>
                  <a:close/>
                  <a:moveTo>
                    <a:pt x="122618" y="238781"/>
                  </a:moveTo>
                  <a:lnTo>
                    <a:pt x="290409" y="290409"/>
                  </a:lnTo>
                  <a:lnTo>
                    <a:pt x="561458" y="109710"/>
                  </a:lnTo>
                  <a:lnTo>
                    <a:pt x="122618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5" name="Freeform: Shape 3094">
              <a:extLst>
                <a:ext uri="{FF2B5EF4-FFF2-40B4-BE49-F238E27FC236}">
                  <a16:creationId xmlns:a16="http://schemas.microsoft.com/office/drawing/2014/main" id="{8B0B28A0-40FD-46DA-853D-A1170FB0A210}"/>
                </a:ext>
              </a:extLst>
            </p:cNvPr>
            <p:cNvSpPr/>
            <p:nvPr/>
          </p:nvSpPr>
          <p:spPr>
            <a:xfrm>
              <a:off x="14110121" y="3447366"/>
              <a:ext cx="516283" cy="387212"/>
            </a:xfrm>
            <a:custGeom>
              <a:avLst/>
              <a:gdLst>
                <a:gd name="connsiteX0" fmla="*/ 96803 w 516282"/>
                <a:gd name="connsiteY0" fmla="*/ 316223 h 387211"/>
                <a:gd name="connsiteX1" fmla="*/ 419480 w 516282"/>
                <a:gd name="connsiteY1" fmla="*/ 96803 h 387211"/>
                <a:gd name="connsiteX2" fmla="*/ 225874 w 516282"/>
                <a:gd name="connsiteY2" fmla="*/ 290409 h 387211"/>
                <a:gd name="connsiteX3" fmla="*/ 96803 w 516282"/>
                <a:gd name="connsiteY3" fmla="*/ 316223 h 387211"/>
                <a:gd name="connsiteX4" fmla="*/ 380759 w 516282"/>
                <a:gd name="connsiteY4" fmla="*/ 135524 h 387211"/>
                <a:gd name="connsiteX5" fmla="*/ 135525 w 516282"/>
                <a:gd name="connsiteY5" fmla="*/ 303316 h 387211"/>
                <a:gd name="connsiteX6" fmla="*/ 238781 w 516282"/>
                <a:gd name="connsiteY6" fmla="*/ 290409 h 387211"/>
                <a:gd name="connsiteX7" fmla="*/ 380759 w 516282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96803" y="316223"/>
                  </a:moveTo>
                  <a:lnTo>
                    <a:pt x="419480" y="96803"/>
                  </a:lnTo>
                  <a:lnTo>
                    <a:pt x="225874" y="290409"/>
                  </a:lnTo>
                  <a:lnTo>
                    <a:pt x="96803" y="316223"/>
                  </a:lnTo>
                  <a:close/>
                  <a:moveTo>
                    <a:pt x="380759" y="135524"/>
                  </a:moveTo>
                  <a:lnTo>
                    <a:pt x="135525" y="303316"/>
                  </a:lnTo>
                  <a:lnTo>
                    <a:pt x="238781" y="290409"/>
                  </a:lnTo>
                  <a:lnTo>
                    <a:pt x="380759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6" name="Freeform: Shape 3095">
              <a:extLst>
                <a:ext uri="{FF2B5EF4-FFF2-40B4-BE49-F238E27FC236}">
                  <a16:creationId xmlns:a16="http://schemas.microsoft.com/office/drawing/2014/main" id="{C745629F-8062-4315-A65A-728198F4DF5C}"/>
                </a:ext>
              </a:extLst>
            </p:cNvPr>
            <p:cNvSpPr/>
            <p:nvPr/>
          </p:nvSpPr>
          <p:spPr>
            <a:xfrm>
              <a:off x="14406984" y="2789106"/>
              <a:ext cx="258141" cy="774424"/>
            </a:xfrm>
            <a:custGeom>
              <a:avLst/>
              <a:gdLst>
                <a:gd name="connsiteX0" fmla="*/ 225874 w 258141"/>
                <a:gd name="connsiteY0" fmla="*/ 793785 h 774423"/>
                <a:gd name="connsiteX1" fmla="*/ 96803 w 258141"/>
                <a:gd name="connsiteY1" fmla="*/ 780877 h 774423"/>
                <a:gd name="connsiteX2" fmla="*/ 96803 w 258141"/>
                <a:gd name="connsiteY2" fmla="*/ 780877 h 774423"/>
                <a:gd name="connsiteX3" fmla="*/ 264594 w 258141"/>
                <a:gd name="connsiteY3" fmla="*/ 96803 h 774423"/>
                <a:gd name="connsiteX4" fmla="*/ 264594 w 258141"/>
                <a:gd name="connsiteY4" fmla="*/ 96803 h 774423"/>
                <a:gd name="connsiteX5" fmla="*/ 225874 w 258141"/>
                <a:gd name="connsiteY5" fmla="*/ 793785 h 774423"/>
                <a:gd name="connsiteX6" fmla="*/ 109710 w 258141"/>
                <a:gd name="connsiteY6" fmla="*/ 780877 h 774423"/>
                <a:gd name="connsiteX7" fmla="*/ 225874 w 258141"/>
                <a:gd name="connsiteY7" fmla="*/ 793785 h 774423"/>
                <a:gd name="connsiteX8" fmla="*/ 264594 w 258141"/>
                <a:gd name="connsiteY8" fmla="*/ 135524 h 774423"/>
                <a:gd name="connsiteX9" fmla="*/ 109710 w 258141"/>
                <a:gd name="connsiteY9" fmla="*/ 78087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774423">
                  <a:moveTo>
                    <a:pt x="225874" y="793785"/>
                  </a:moveTo>
                  <a:lnTo>
                    <a:pt x="96803" y="780877"/>
                  </a:lnTo>
                  <a:lnTo>
                    <a:pt x="96803" y="780877"/>
                  </a:lnTo>
                  <a:lnTo>
                    <a:pt x="264594" y="96803"/>
                  </a:lnTo>
                  <a:lnTo>
                    <a:pt x="264594" y="96803"/>
                  </a:lnTo>
                  <a:lnTo>
                    <a:pt x="225874" y="793785"/>
                  </a:lnTo>
                  <a:close/>
                  <a:moveTo>
                    <a:pt x="109710" y="780877"/>
                  </a:moveTo>
                  <a:lnTo>
                    <a:pt x="225874" y="793785"/>
                  </a:lnTo>
                  <a:lnTo>
                    <a:pt x="264594" y="135524"/>
                  </a:lnTo>
                  <a:lnTo>
                    <a:pt x="109710" y="7808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7" name="Freeform: Shape 3096">
              <a:extLst>
                <a:ext uri="{FF2B5EF4-FFF2-40B4-BE49-F238E27FC236}">
                  <a16:creationId xmlns:a16="http://schemas.microsoft.com/office/drawing/2014/main" id="{74422527-7601-4AFC-A1EE-52574AB63FA6}"/>
                </a:ext>
              </a:extLst>
            </p:cNvPr>
            <p:cNvSpPr/>
            <p:nvPr/>
          </p:nvSpPr>
          <p:spPr>
            <a:xfrm>
              <a:off x="14536055" y="2789106"/>
              <a:ext cx="516283" cy="774424"/>
            </a:xfrm>
            <a:custGeom>
              <a:avLst/>
              <a:gdLst>
                <a:gd name="connsiteX0" fmla="*/ 96803 w 516282"/>
                <a:gd name="connsiteY0" fmla="*/ 806691 h 774423"/>
                <a:gd name="connsiteX1" fmla="*/ 96803 w 516282"/>
                <a:gd name="connsiteY1" fmla="*/ 806691 h 774423"/>
                <a:gd name="connsiteX2" fmla="*/ 135524 w 516282"/>
                <a:gd name="connsiteY2" fmla="*/ 96803 h 774423"/>
                <a:gd name="connsiteX3" fmla="*/ 432386 w 516282"/>
                <a:gd name="connsiteY3" fmla="*/ 277502 h 774423"/>
                <a:gd name="connsiteX4" fmla="*/ 432386 w 516282"/>
                <a:gd name="connsiteY4" fmla="*/ 277502 h 774423"/>
                <a:gd name="connsiteX5" fmla="*/ 96803 w 516282"/>
                <a:gd name="connsiteY5" fmla="*/ 806691 h 774423"/>
                <a:gd name="connsiteX6" fmla="*/ 148431 w 516282"/>
                <a:gd name="connsiteY6" fmla="*/ 109710 h 774423"/>
                <a:gd name="connsiteX7" fmla="*/ 109710 w 516282"/>
                <a:gd name="connsiteY7" fmla="*/ 793785 h 774423"/>
                <a:gd name="connsiteX8" fmla="*/ 432386 w 516282"/>
                <a:gd name="connsiteY8" fmla="*/ 277502 h 774423"/>
                <a:gd name="connsiteX9" fmla="*/ 148431 w 516282"/>
                <a:gd name="connsiteY9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16282" h="774423">
                  <a:moveTo>
                    <a:pt x="96803" y="806691"/>
                  </a:moveTo>
                  <a:lnTo>
                    <a:pt x="96803" y="806691"/>
                  </a:lnTo>
                  <a:lnTo>
                    <a:pt x="135524" y="96803"/>
                  </a:lnTo>
                  <a:lnTo>
                    <a:pt x="432386" y="277502"/>
                  </a:lnTo>
                  <a:lnTo>
                    <a:pt x="432386" y="277502"/>
                  </a:lnTo>
                  <a:lnTo>
                    <a:pt x="96803" y="806691"/>
                  </a:lnTo>
                  <a:close/>
                  <a:moveTo>
                    <a:pt x="148431" y="109710"/>
                  </a:moveTo>
                  <a:lnTo>
                    <a:pt x="109710" y="793785"/>
                  </a:lnTo>
                  <a:lnTo>
                    <a:pt x="432386" y="277502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8" name="Freeform: Shape 3097">
              <a:extLst>
                <a:ext uri="{FF2B5EF4-FFF2-40B4-BE49-F238E27FC236}">
                  <a16:creationId xmlns:a16="http://schemas.microsoft.com/office/drawing/2014/main" id="{686C4538-3CC7-4DFC-9533-098BA0A0C87C}"/>
                </a:ext>
              </a:extLst>
            </p:cNvPr>
            <p:cNvSpPr/>
            <p:nvPr/>
          </p:nvSpPr>
          <p:spPr>
            <a:xfrm>
              <a:off x="15710598" y="2311544"/>
              <a:ext cx="387212" cy="258141"/>
            </a:xfrm>
            <a:custGeom>
              <a:avLst/>
              <a:gdLst>
                <a:gd name="connsiteX0" fmla="*/ 161338 w 387211"/>
                <a:gd name="connsiteY0" fmla="*/ 225874 h 258141"/>
                <a:gd name="connsiteX1" fmla="*/ 96803 w 387211"/>
                <a:gd name="connsiteY1" fmla="*/ 161338 h 258141"/>
                <a:gd name="connsiteX2" fmla="*/ 380758 w 387211"/>
                <a:gd name="connsiteY2" fmla="*/ 96803 h 258141"/>
                <a:gd name="connsiteX3" fmla="*/ 161338 w 387211"/>
                <a:gd name="connsiteY3" fmla="*/ 225874 h 258141"/>
                <a:gd name="connsiteX4" fmla="*/ 96803 w 387211"/>
                <a:gd name="connsiteY4" fmla="*/ 161338 h 258141"/>
                <a:gd name="connsiteX5" fmla="*/ 148431 w 387211"/>
                <a:gd name="connsiteY5" fmla="*/ 212967 h 258141"/>
                <a:gd name="connsiteX6" fmla="*/ 329131 w 387211"/>
                <a:gd name="connsiteY6" fmla="*/ 109710 h 258141"/>
                <a:gd name="connsiteX7" fmla="*/ 96803 w 387211"/>
                <a:gd name="connsiteY7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161338" y="225874"/>
                  </a:moveTo>
                  <a:lnTo>
                    <a:pt x="96803" y="161338"/>
                  </a:lnTo>
                  <a:lnTo>
                    <a:pt x="380758" y="96803"/>
                  </a:lnTo>
                  <a:lnTo>
                    <a:pt x="161338" y="225874"/>
                  </a:lnTo>
                  <a:close/>
                  <a:moveTo>
                    <a:pt x="96803" y="161338"/>
                  </a:moveTo>
                  <a:lnTo>
                    <a:pt x="148431" y="212967"/>
                  </a:lnTo>
                  <a:lnTo>
                    <a:pt x="329131" y="109710"/>
                  </a:lnTo>
                  <a:lnTo>
                    <a:pt x="96803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99" name="Freeform: Shape 3098">
              <a:extLst>
                <a:ext uri="{FF2B5EF4-FFF2-40B4-BE49-F238E27FC236}">
                  <a16:creationId xmlns:a16="http://schemas.microsoft.com/office/drawing/2014/main" id="{EFCCA281-B8B3-4CBD-A069-8A1960D248E2}"/>
                </a:ext>
              </a:extLst>
            </p:cNvPr>
            <p:cNvSpPr/>
            <p:nvPr/>
          </p:nvSpPr>
          <p:spPr>
            <a:xfrm>
              <a:off x="15762226" y="2311544"/>
              <a:ext cx="387212" cy="258141"/>
            </a:xfrm>
            <a:custGeom>
              <a:avLst/>
              <a:gdLst>
                <a:gd name="connsiteX0" fmla="*/ 264594 w 387211"/>
                <a:gd name="connsiteY0" fmla="*/ 251688 h 258141"/>
                <a:gd name="connsiteX1" fmla="*/ 96803 w 387211"/>
                <a:gd name="connsiteY1" fmla="*/ 225874 h 258141"/>
                <a:gd name="connsiteX2" fmla="*/ 303316 w 387211"/>
                <a:gd name="connsiteY2" fmla="*/ 96803 h 258141"/>
                <a:gd name="connsiteX3" fmla="*/ 264594 w 387211"/>
                <a:gd name="connsiteY3" fmla="*/ 251688 h 258141"/>
                <a:gd name="connsiteX4" fmla="*/ 109710 w 387211"/>
                <a:gd name="connsiteY4" fmla="*/ 212967 h 258141"/>
                <a:gd name="connsiteX5" fmla="*/ 251687 w 387211"/>
                <a:gd name="connsiteY5" fmla="*/ 238781 h 258141"/>
                <a:gd name="connsiteX6" fmla="*/ 290409 w 387211"/>
                <a:gd name="connsiteY6" fmla="*/ 109710 h 258141"/>
                <a:gd name="connsiteX7" fmla="*/ 109710 w 387211"/>
                <a:gd name="connsiteY7" fmla="*/ 21296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264594" y="251688"/>
                  </a:moveTo>
                  <a:lnTo>
                    <a:pt x="96803" y="225874"/>
                  </a:lnTo>
                  <a:lnTo>
                    <a:pt x="303316" y="96803"/>
                  </a:lnTo>
                  <a:lnTo>
                    <a:pt x="264594" y="251688"/>
                  </a:lnTo>
                  <a:close/>
                  <a:moveTo>
                    <a:pt x="109710" y="212967"/>
                  </a:moveTo>
                  <a:lnTo>
                    <a:pt x="251687" y="238781"/>
                  </a:lnTo>
                  <a:lnTo>
                    <a:pt x="290409" y="109710"/>
                  </a:lnTo>
                  <a:lnTo>
                    <a:pt x="109710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0" name="Freeform: Shape 3099">
              <a:extLst>
                <a:ext uri="{FF2B5EF4-FFF2-40B4-BE49-F238E27FC236}">
                  <a16:creationId xmlns:a16="http://schemas.microsoft.com/office/drawing/2014/main" id="{1550A12A-9B13-44D7-BF83-8C1B179ACAF3}"/>
                </a:ext>
              </a:extLst>
            </p:cNvPr>
            <p:cNvSpPr/>
            <p:nvPr/>
          </p:nvSpPr>
          <p:spPr>
            <a:xfrm>
              <a:off x="15529898" y="2363172"/>
              <a:ext cx="387212" cy="387212"/>
            </a:xfrm>
            <a:custGeom>
              <a:avLst/>
              <a:gdLst>
                <a:gd name="connsiteX0" fmla="*/ 96803 w 387211"/>
                <a:gd name="connsiteY0" fmla="*/ 406572 h 387211"/>
                <a:gd name="connsiteX1" fmla="*/ 277502 w 387211"/>
                <a:gd name="connsiteY1" fmla="*/ 96803 h 387211"/>
                <a:gd name="connsiteX2" fmla="*/ 342037 w 387211"/>
                <a:gd name="connsiteY2" fmla="*/ 161338 h 387211"/>
                <a:gd name="connsiteX3" fmla="*/ 342037 w 387211"/>
                <a:gd name="connsiteY3" fmla="*/ 161338 h 387211"/>
                <a:gd name="connsiteX4" fmla="*/ 96803 w 387211"/>
                <a:gd name="connsiteY4" fmla="*/ 406572 h 387211"/>
                <a:gd name="connsiteX5" fmla="*/ 277502 w 387211"/>
                <a:gd name="connsiteY5" fmla="*/ 109710 h 387211"/>
                <a:gd name="connsiteX6" fmla="*/ 122618 w 387211"/>
                <a:gd name="connsiteY6" fmla="*/ 367851 h 387211"/>
                <a:gd name="connsiteX7" fmla="*/ 329131 w 387211"/>
                <a:gd name="connsiteY7" fmla="*/ 161338 h 387211"/>
                <a:gd name="connsiteX8" fmla="*/ 277502 w 387211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96803" y="406572"/>
                  </a:moveTo>
                  <a:lnTo>
                    <a:pt x="277502" y="96803"/>
                  </a:lnTo>
                  <a:lnTo>
                    <a:pt x="342037" y="161338"/>
                  </a:lnTo>
                  <a:lnTo>
                    <a:pt x="342037" y="161338"/>
                  </a:lnTo>
                  <a:lnTo>
                    <a:pt x="96803" y="406572"/>
                  </a:lnTo>
                  <a:close/>
                  <a:moveTo>
                    <a:pt x="277502" y="109710"/>
                  </a:moveTo>
                  <a:lnTo>
                    <a:pt x="122618" y="367851"/>
                  </a:lnTo>
                  <a:lnTo>
                    <a:pt x="329131" y="161338"/>
                  </a:lnTo>
                  <a:lnTo>
                    <a:pt x="277502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1" name="Freeform: Shape 3100">
              <a:extLst>
                <a:ext uri="{FF2B5EF4-FFF2-40B4-BE49-F238E27FC236}">
                  <a16:creationId xmlns:a16="http://schemas.microsoft.com/office/drawing/2014/main" id="{DE4CCEF6-0BCE-4A54-9190-0625439464A3}"/>
                </a:ext>
              </a:extLst>
            </p:cNvPr>
            <p:cNvSpPr/>
            <p:nvPr/>
          </p:nvSpPr>
          <p:spPr>
            <a:xfrm>
              <a:off x="15542805" y="2660035"/>
              <a:ext cx="516283" cy="516283"/>
            </a:xfrm>
            <a:custGeom>
              <a:avLst/>
              <a:gdLst>
                <a:gd name="connsiteX0" fmla="*/ 148431 w 516282"/>
                <a:gd name="connsiteY0" fmla="*/ 445294 h 516282"/>
                <a:gd name="connsiteX1" fmla="*/ 96803 w 516282"/>
                <a:gd name="connsiteY1" fmla="*/ 96803 h 516282"/>
                <a:gd name="connsiteX2" fmla="*/ 419480 w 516282"/>
                <a:gd name="connsiteY2" fmla="*/ 225874 h 516282"/>
                <a:gd name="connsiteX3" fmla="*/ 148431 w 516282"/>
                <a:gd name="connsiteY3" fmla="*/ 445294 h 516282"/>
                <a:gd name="connsiteX4" fmla="*/ 96803 w 516282"/>
                <a:gd name="connsiteY4" fmla="*/ 96803 h 516282"/>
                <a:gd name="connsiteX5" fmla="*/ 148431 w 516282"/>
                <a:gd name="connsiteY5" fmla="*/ 432387 h 516282"/>
                <a:gd name="connsiteX6" fmla="*/ 393666 w 516282"/>
                <a:gd name="connsiteY6" fmla="*/ 225874 h 516282"/>
                <a:gd name="connsiteX7" fmla="*/ 96803 w 516282"/>
                <a:gd name="connsiteY7" fmla="*/ 9680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148431" y="445294"/>
                  </a:moveTo>
                  <a:lnTo>
                    <a:pt x="96803" y="96803"/>
                  </a:lnTo>
                  <a:lnTo>
                    <a:pt x="419480" y="225874"/>
                  </a:lnTo>
                  <a:lnTo>
                    <a:pt x="148431" y="445294"/>
                  </a:lnTo>
                  <a:close/>
                  <a:moveTo>
                    <a:pt x="96803" y="96803"/>
                  </a:moveTo>
                  <a:lnTo>
                    <a:pt x="148431" y="432387"/>
                  </a:lnTo>
                  <a:lnTo>
                    <a:pt x="393666" y="225874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2" name="Freeform: Shape 3101">
              <a:extLst>
                <a:ext uri="{FF2B5EF4-FFF2-40B4-BE49-F238E27FC236}">
                  <a16:creationId xmlns:a16="http://schemas.microsoft.com/office/drawing/2014/main" id="{04E5A7BE-1165-43D7-8B20-0D94BCF50628}"/>
                </a:ext>
              </a:extLst>
            </p:cNvPr>
            <p:cNvSpPr/>
            <p:nvPr/>
          </p:nvSpPr>
          <p:spPr>
            <a:xfrm>
              <a:off x="15529898" y="2427708"/>
              <a:ext cx="516283" cy="516283"/>
            </a:xfrm>
            <a:custGeom>
              <a:avLst/>
              <a:gdLst>
                <a:gd name="connsiteX0" fmla="*/ 419480 w 516282"/>
                <a:gd name="connsiteY0" fmla="*/ 458201 h 516282"/>
                <a:gd name="connsiteX1" fmla="*/ 96803 w 516282"/>
                <a:gd name="connsiteY1" fmla="*/ 329130 h 516282"/>
                <a:gd name="connsiteX2" fmla="*/ 329131 w 516282"/>
                <a:gd name="connsiteY2" fmla="*/ 96803 h 516282"/>
                <a:gd name="connsiteX3" fmla="*/ 419480 w 516282"/>
                <a:gd name="connsiteY3" fmla="*/ 458201 h 516282"/>
                <a:gd name="connsiteX4" fmla="*/ 122618 w 516282"/>
                <a:gd name="connsiteY4" fmla="*/ 329130 h 516282"/>
                <a:gd name="connsiteX5" fmla="*/ 419480 w 516282"/>
                <a:gd name="connsiteY5" fmla="*/ 445294 h 516282"/>
                <a:gd name="connsiteX6" fmla="*/ 342037 w 516282"/>
                <a:gd name="connsiteY6" fmla="*/ 109710 h 516282"/>
                <a:gd name="connsiteX7" fmla="*/ 122618 w 516282"/>
                <a:gd name="connsiteY7" fmla="*/ 32913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419480" y="458201"/>
                  </a:moveTo>
                  <a:lnTo>
                    <a:pt x="96803" y="329130"/>
                  </a:lnTo>
                  <a:lnTo>
                    <a:pt x="329131" y="96803"/>
                  </a:lnTo>
                  <a:lnTo>
                    <a:pt x="419480" y="458201"/>
                  </a:lnTo>
                  <a:close/>
                  <a:moveTo>
                    <a:pt x="122618" y="329130"/>
                  </a:moveTo>
                  <a:lnTo>
                    <a:pt x="419480" y="445294"/>
                  </a:lnTo>
                  <a:lnTo>
                    <a:pt x="342037" y="109710"/>
                  </a:lnTo>
                  <a:lnTo>
                    <a:pt x="122618" y="3291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3" name="Freeform: Shape 3102">
              <a:extLst>
                <a:ext uri="{FF2B5EF4-FFF2-40B4-BE49-F238E27FC236}">
                  <a16:creationId xmlns:a16="http://schemas.microsoft.com/office/drawing/2014/main" id="{8EA09104-861B-45B3-B009-3D09DAAB6790}"/>
                </a:ext>
              </a:extLst>
            </p:cNvPr>
            <p:cNvSpPr/>
            <p:nvPr/>
          </p:nvSpPr>
          <p:spPr>
            <a:xfrm>
              <a:off x="15762226" y="2427708"/>
              <a:ext cx="258141" cy="516283"/>
            </a:xfrm>
            <a:custGeom>
              <a:avLst/>
              <a:gdLst>
                <a:gd name="connsiteX0" fmla="*/ 187152 w 258141"/>
                <a:gd name="connsiteY0" fmla="*/ 458201 h 516282"/>
                <a:gd name="connsiteX1" fmla="*/ 96803 w 258141"/>
                <a:gd name="connsiteY1" fmla="*/ 96803 h 516282"/>
                <a:gd name="connsiteX2" fmla="*/ 277502 w 258141"/>
                <a:gd name="connsiteY2" fmla="*/ 161338 h 516282"/>
                <a:gd name="connsiteX3" fmla="*/ 187152 w 258141"/>
                <a:gd name="connsiteY3" fmla="*/ 458201 h 516282"/>
                <a:gd name="connsiteX4" fmla="*/ 109710 w 258141"/>
                <a:gd name="connsiteY4" fmla="*/ 109710 h 516282"/>
                <a:gd name="connsiteX5" fmla="*/ 187152 w 258141"/>
                <a:gd name="connsiteY5" fmla="*/ 432387 h 516282"/>
                <a:gd name="connsiteX6" fmla="*/ 264594 w 258141"/>
                <a:gd name="connsiteY6" fmla="*/ 161338 h 516282"/>
                <a:gd name="connsiteX7" fmla="*/ 109710 w 258141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187152" y="458201"/>
                  </a:moveTo>
                  <a:lnTo>
                    <a:pt x="96803" y="96803"/>
                  </a:lnTo>
                  <a:lnTo>
                    <a:pt x="277502" y="161338"/>
                  </a:lnTo>
                  <a:lnTo>
                    <a:pt x="187152" y="458201"/>
                  </a:lnTo>
                  <a:close/>
                  <a:moveTo>
                    <a:pt x="109710" y="109710"/>
                  </a:moveTo>
                  <a:lnTo>
                    <a:pt x="187152" y="432387"/>
                  </a:lnTo>
                  <a:lnTo>
                    <a:pt x="264594" y="161338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4" name="Freeform: Shape 3103">
              <a:extLst>
                <a:ext uri="{FF2B5EF4-FFF2-40B4-BE49-F238E27FC236}">
                  <a16:creationId xmlns:a16="http://schemas.microsoft.com/office/drawing/2014/main" id="{9CEDFBC4-B9B7-4B2C-83B3-30D5F1AB02AA}"/>
                </a:ext>
              </a:extLst>
            </p:cNvPr>
            <p:cNvSpPr/>
            <p:nvPr/>
          </p:nvSpPr>
          <p:spPr>
            <a:xfrm>
              <a:off x="15736411" y="2427708"/>
              <a:ext cx="387212" cy="258141"/>
            </a:xfrm>
            <a:custGeom>
              <a:avLst/>
              <a:gdLst>
                <a:gd name="connsiteX0" fmla="*/ 303317 w 387211"/>
                <a:gd name="connsiteY0" fmla="*/ 174245 h 258141"/>
                <a:gd name="connsiteX1" fmla="*/ 96803 w 387211"/>
                <a:gd name="connsiteY1" fmla="*/ 96803 h 258141"/>
                <a:gd name="connsiteX2" fmla="*/ 290409 w 387211"/>
                <a:gd name="connsiteY2" fmla="*/ 122617 h 258141"/>
                <a:gd name="connsiteX3" fmla="*/ 303317 w 387211"/>
                <a:gd name="connsiteY3" fmla="*/ 174245 h 258141"/>
                <a:gd name="connsiteX4" fmla="*/ 161338 w 387211"/>
                <a:gd name="connsiteY4" fmla="*/ 109710 h 258141"/>
                <a:gd name="connsiteX5" fmla="*/ 290409 w 387211"/>
                <a:gd name="connsiteY5" fmla="*/ 161338 h 258141"/>
                <a:gd name="connsiteX6" fmla="*/ 277502 w 387211"/>
                <a:gd name="connsiteY6" fmla="*/ 135524 h 258141"/>
                <a:gd name="connsiteX7" fmla="*/ 161338 w 38721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03317" y="174245"/>
                  </a:moveTo>
                  <a:lnTo>
                    <a:pt x="96803" y="96803"/>
                  </a:lnTo>
                  <a:lnTo>
                    <a:pt x="290409" y="122617"/>
                  </a:lnTo>
                  <a:lnTo>
                    <a:pt x="303317" y="174245"/>
                  </a:lnTo>
                  <a:close/>
                  <a:moveTo>
                    <a:pt x="161338" y="109710"/>
                  </a:moveTo>
                  <a:lnTo>
                    <a:pt x="290409" y="161338"/>
                  </a:lnTo>
                  <a:lnTo>
                    <a:pt x="277502" y="135524"/>
                  </a:lnTo>
                  <a:lnTo>
                    <a:pt x="16133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5" name="Freeform: Shape 3104">
              <a:extLst>
                <a:ext uri="{FF2B5EF4-FFF2-40B4-BE49-F238E27FC236}">
                  <a16:creationId xmlns:a16="http://schemas.microsoft.com/office/drawing/2014/main" id="{B299C2BA-A56D-4E62-8951-AC74288B5AAB}"/>
                </a:ext>
              </a:extLst>
            </p:cNvPr>
            <p:cNvSpPr/>
            <p:nvPr/>
          </p:nvSpPr>
          <p:spPr>
            <a:xfrm>
              <a:off x="15930017" y="2324451"/>
              <a:ext cx="129071" cy="387212"/>
            </a:xfrm>
            <a:custGeom>
              <a:avLst/>
              <a:gdLst>
                <a:gd name="connsiteX0" fmla="*/ 109711 w 129070"/>
                <a:gd name="connsiteY0" fmla="*/ 290409 h 387211"/>
                <a:gd name="connsiteX1" fmla="*/ 96803 w 129070"/>
                <a:gd name="connsiteY1" fmla="*/ 238781 h 387211"/>
                <a:gd name="connsiteX2" fmla="*/ 96803 w 129070"/>
                <a:gd name="connsiteY2" fmla="*/ 238781 h 387211"/>
                <a:gd name="connsiteX3" fmla="*/ 135525 w 129070"/>
                <a:gd name="connsiteY3" fmla="*/ 96803 h 387211"/>
                <a:gd name="connsiteX4" fmla="*/ 135525 w 129070"/>
                <a:gd name="connsiteY4" fmla="*/ 96803 h 387211"/>
                <a:gd name="connsiteX5" fmla="*/ 109711 w 129070"/>
                <a:gd name="connsiteY5" fmla="*/ 290409 h 387211"/>
                <a:gd name="connsiteX6" fmla="*/ 96803 w 129070"/>
                <a:gd name="connsiteY6" fmla="*/ 225874 h 387211"/>
                <a:gd name="connsiteX7" fmla="*/ 96803 w 129070"/>
                <a:gd name="connsiteY7" fmla="*/ 251688 h 387211"/>
                <a:gd name="connsiteX8" fmla="*/ 109711 w 129070"/>
                <a:gd name="connsiteY8" fmla="*/ 148431 h 387211"/>
                <a:gd name="connsiteX9" fmla="*/ 96803 w 129070"/>
                <a:gd name="connsiteY9" fmla="*/ 22587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070" h="387211">
                  <a:moveTo>
                    <a:pt x="109711" y="290409"/>
                  </a:moveTo>
                  <a:lnTo>
                    <a:pt x="96803" y="238781"/>
                  </a:lnTo>
                  <a:lnTo>
                    <a:pt x="96803" y="238781"/>
                  </a:lnTo>
                  <a:lnTo>
                    <a:pt x="135525" y="96803"/>
                  </a:lnTo>
                  <a:lnTo>
                    <a:pt x="135525" y="96803"/>
                  </a:lnTo>
                  <a:lnTo>
                    <a:pt x="109711" y="290409"/>
                  </a:lnTo>
                  <a:close/>
                  <a:moveTo>
                    <a:pt x="96803" y="225874"/>
                  </a:moveTo>
                  <a:lnTo>
                    <a:pt x="96803" y="251688"/>
                  </a:lnTo>
                  <a:lnTo>
                    <a:pt x="109711" y="148431"/>
                  </a:lnTo>
                  <a:lnTo>
                    <a:pt x="96803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6" name="Freeform: Shape 3105">
              <a:extLst>
                <a:ext uri="{FF2B5EF4-FFF2-40B4-BE49-F238E27FC236}">
                  <a16:creationId xmlns:a16="http://schemas.microsoft.com/office/drawing/2014/main" id="{63C0520A-4C2A-4F40-A39A-D9D2137A676E}"/>
                </a:ext>
              </a:extLst>
            </p:cNvPr>
            <p:cNvSpPr/>
            <p:nvPr/>
          </p:nvSpPr>
          <p:spPr>
            <a:xfrm>
              <a:off x="15930017" y="2324451"/>
              <a:ext cx="516283" cy="258141"/>
            </a:xfrm>
            <a:custGeom>
              <a:avLst/>
              <a:gdLst>
                <a:gd name="connsiteX0" fmla="*/ 96803 w 516282"/>
                <a:gd name="connsiteY0" fmla="*/ 277502 h 258141"/>
                <a:gd name="connsiteX1" fmla="*/ 122618 w 516282"/>
                <a:gd name="connsiteY1" fmla="*/ 96803 h 258141"/>
                <a:gd name="connsiteX2" fmla="*/ 535643 w 516282"/>
                <a:gd name="connsiteY2" fmla="*/ 200060 h 258141"/>
                <a:gd name="connsiteX3" fmla="*/ 96803 w 516282"/>
                <a:gd name="connsiteY3" fmla="*/ 277502 h 258141"/>
                <a:gd name="connsiteX4" fmla="*/ 135525 w 516282"/>
                <a:gd name="connsiteY4" fmla="*/ 96803 h 258141"/>
                <a:gd name="connsiteX5" fmla="*/ 109711 w 516282"/>
                <a:gd name="connsiteY5" fmla="*/ 264595 h 258141"/>
                <a:gd name="connsiteX6" fmla="*/ 509830 w 516282"/>
                <a:gd name="connsiteY6" fmla="*/ 187152 h 258141"/>
                <a:gd name="connsiteX7" fmla="*/ 135525 w 516282"/>
                <a:gd name="connsiteY7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96803" y="277502"/>
                  </a:moveTo>
                  <a:lnTo>
                    <a:pt x="122618" y="96803"/>
                  </a:lnTo>
                  <a:lnTo>
                    <a:pt x="535643" y="200060"/>
                  </a:lnTo>
                  <a:lnTo>
                    <a:pt x="96803" y="277502"/>
                  </a:lnTo>
                  <a:close/>
                  <a:moveTo>
                    <a:pt x="135525" y="96803"/>
                  </a:moveTo>
                  <a:lnTo>
                    <a:pt x="109711" y="264595"/>
                  </a:lnTo>
                  <a:lnTo>
                    <a:pt x="509830" y="187152"/>
                  </a:lnTo>
                  <a:lnTo>
                    <a:pt x="135525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7" name="Freeform: Shape 3106">
              <a:extLst>
                <a:ext uri="{FF2B5EF4-FFF2-40B4-BE49-F238E27FC236}">
                  <a16:creationId xmlns:a16="http://schemas.microsoft.com/office/drawing/2014/main" id="{577FFC8E-2DF4-48ED-995D-DA47C08CD96E}"/>
                </a:ext>
              </a:extLst>
            </p:cNvPr>
            <p:cNvSpPr/>
            <p:nvPr/>
          </p:nvSpPr>
          <p:spPr>
            <a:xfrm>
              <a:off x="16355951" y="2182474"/>
              <a:ext cx="516283" cy="387212"/>
            </a:xfrm>
            <a:custGeom>
              <a:avLst/>
              <a:gdLst>
                <a:gd name="connsiteX0" fmla="*/ 96803 w 516282"/>
                <a:gd name="connsiteY0" fmla="*/ 342037 h 387211"/>
                <a:gd name="connsiteX1" fmla="*/ 277502 w 516282"/>
                <a:gd name="connsiteY1" fmla="*/ 96803 h 387211"/>
                <a:gd name="connsiteX2" fmla="*/ 432386 w 516282"/>
                <a:gd name="connsiteY2" fmla="*/ 238781 h 387211"/>
                <a:gd name="connsiteX3" fmla="*/ 96803 w 516282"/>
                <a:gd name="connsiteY3" fmla="*/ 342037 h 387211"/>
                <a:gd name="connsiteX4" fmla="*/ 277502 w 516282"/>
                <a:gd name="connsiteY4" fmla="*/ 109710 h 387211"/>
                <a:gd name="connsiteX5" fmla="*/ 109710 w 516282"/>
                <a:gd name="connsiteY5" fmla="*/ 329130 h 387211"/>
                <a:gd name="connsiteX6" fmla="*/ 419480 w 516282"/>
                <a:gd name="connsiteY6" fmla="*/ 238781 h 387211"/>
                <a:gd name="connsiteX7" fmla="*/ 277502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96803" y="342037"/>
                  </a:moveTo>
                  <a:lnTo>
                    <a:pt x="277502" y="96803"/>
                  </a:lnTo>
                  <a:lnTo>
                    <a:pt x="432386" y="238781"/>
                  </a:lnTo>
                  <a:lnTo>
                    <a:pt x="96803" y="342037"/>
                  </a:lnTo>
                  <a:close/>
                  <a:moveTo>
                    <a:pt x="277502" y="109710"/>
                  </a:moveTo>
                  <a:lnTo>
                    <a:pt x="109710" y="329130"/>
                  </a:lnTo>
                  <a:lnTo>
                    <a:pt x="419480" y="238781"/>
                  </a:lnTo>
                  <a:lnTo>
                    <a:pt x="277502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8" name="Freeform: Shape 3107">
              <a:extLst>
                <a:ext uri="{FF2B5EF4-FFF2-40B4-BE49-F238E27FC236}">
                  <a16:creationId xmlns:a16="http://schemas.microsoft.com/office/drawing/2014/main" id="{FAE55D83-F322-49F9-BACE-7F7C72AEBB40}"/>
                </a:ext>
              </a:extLst>
            </p:cNvPr>
            <p:cNvSpPr/>
            <p:nvPr/>
          </p:nvSpPr>
          <p:spPr>
            <a:xfrm>
              <a:off x="16523743" y="1975961"/>
              <a:ext cx="387212" cy="387212"/>
            </a:xfrm>
            <a:custGeom>
              <a:avLst/>
              <a:gdLst>
                <a:gd name="connsiteX0" fmla="*/ 96803 w 387211"/>
                <a:gd name="connsiteY0" fmla="*/ 316223 h 387211"/>
                <a:gd name="connsiteX1" fmla="*/ 354944 w 387211"/>
                <a:gd name="connsiteY1" fmla="*/ 96803 h 387211"/>
                <a:gd name="connsiteX2" fmla="*/ 342036 w 387211"/>
                <a:gd name="connsiteY2" fmla="*/ 264595 h 387211"/>
                <a:gd name="connsiteX3" fmla="*/ 96803 w 387211"/>
                <a:gd name="connsiteY3" fmla="*/ 316223 h 387211"/>
                <a:gd name="connsiteX4" fmla="*/ 342036 w 387211"/>
                <a:gd name="connsiteY4" fmla="*/ 109710 h 387211"/>
                <a:gd name="connsiteX5" fmla="*/ 122617 w 387211"/>
                <a:gd name="connsiteY5" fmla="*/ 303316 h 387211"/>
                <a:gd name="connsiteX6" fmla="*/ 329130 w 387211"/>
                <a:gd name="connsiteY6" fmla="*/ 251688 h 387211"/>
                <a:gd name="connsiteX7" fmla="*/ 342036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16223"/>
                  </a:moveTo>
                  <a:lnTo>
                    <a:pt x="354944" y="96803"/>
                  </a:lnTo>
                  <a:lnTo>
                    <a:pt x="342036" y="264595"/>
                  </a:lnTo>
                  <a:lnTo>
                    <a:pt x="96803" y="316223"/>
                  </a:lnTo>
                  <a:close/>
                  <a:moveTo>
                    <a:pt x="342036" y="109710"/>
                  </a:moveTo>
                  <a:lnTo>
                    <a:pt x="122617" y="303316"/>
                  </a:lnTo>
                  <a:lnTo>
                    <a:pt x="329130" y="251688"/>
                  </a:lnTo>
                  <a:lnTo>
                    <a:pt x="342036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09" name="Freeform: Shape 3108">
              <a:extLst>
                <a:ext uri="{FF2B5EF4-FFF2-40B4-BE49-F238E27FC236}">
                  <a16:creationId xmlns:a16="http://schemas.microsoft.com/office/drawing/2014/main" id="{5509E63B-C32F-45E3-BEF3-917D71D1889F}"/>
                </a:ext>
              </a:extLst>
            </p:cNvPr>
            <p:cNvSpPr/>
            <p:nvPr/>
          </p:nvSpPr>
          <p:spPr>
            <a:xfrm>
              <a:off x="16756070" y="1975961"/>
              <a:ext cx="516283" cy="258141"/>
            </a:xfrm>
            <a:custGeom>
              <a:avLst/>
              <a:gdLst>
                <a:gd name="connsiteX0" fmla="*/ 96803 w 516282"/>
                <a:gd name="connsiteY0" fmla="*/ 264595 h 258141"/>
                <a:gd name="connsiteX1" fmla="*/ 109710 w 516282"/>
                <a:gd name="connsiteY1" fmla="*/ 96803 h 258141"/>
                <a:gd name="connsiteX2" fmla="*/ 535643 w 516282"/>
                <a:gd name="connsiteY2" fmla="*/ 251688 h 258141"/>
                <a:gd name="connsiteX3" fmla="*/ 96803 w 516282"/>
                <a:gd name="connsiteY3" fmla="*/ 264595 h 258141"/>
                <a:gd name="connsiteX4" fmla="*/ 122618 w 516282"/>
                <a:gd name="connsiteY4" fmla="*/ 109710 h 258141"/>
                <a:gd name="connsiteX5" fmla="*/ 109710 w 516282"/>
                <a:gd name="connsiteY5" fmla="*/ 251688 h 258141"/>
                <a:gd name="connsiteX6" fmla="*/ 522736 w 516282"/>
                <a:gd name="connsiteY6" fmla="*/ 251688 h 258141"/>
                <a:gd name="connsiteX7" fmla="*/ 122618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96803" y="264595"/>
                  </a:moveTo>
                  <a:lnTo>
                    <a:pt x="109710" y="96803"/>
                  </a:lnTo>
                  <a:lnTo>
                    <a:pt x="535643" y="251688"/>
                  </a:lnTo>
                  <a:lnTo>
                    <a:pt x="96803" y="264595"/>
                  </a:lnTo>
                  <a:close/>
                  <a:moveTo>
                    <a:pt x="122618" y="109710"/>
                  </a:moveTo>
                  <a:lnTo>
                    <a:pt x="109710" y="251688"/>
                  </a:lnTo>
                  <a:lnTo>
                    <a:pt x="522736" y="251688"/>
                  </a:lnTo>
                  <a:lnTo>
                    <a:pt x="12261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0" name="Freeform: Shape 3109">
              <a:extLst>
                <a:ext uri="{FF2B5EF4-FFF2-40B4-BE49-F238E27FC236}">
                  <a16:creationId xmlns:a16="http://schemas.microsoft.com/office/drawing/2014/main" id="{A7419BB1-BED0-4B4B-BAC5-E1B7C08C226F}"/>
                </a:ext>
              </a:extLst>
            </p:cNvPr>
            <p:cNvSpPr/>
            <p:nvPr/>
          </p:nvSpPr>
          <p:spPr>
            <a:xfrm>
              <a:off x="15968739" y="1898518"/>
              <a:ext cx="516283" cy="645353"/>
            </a:xfrm>
            <a:custGeom>
              <a:avLst/>
              <a:gdLst>
                <a:gd name="connsiteX0" fmla="*/ 496922 w 516282"/>
                <a:gd name="connsiteY0" fmla="*/ 625993 h 645353"/>
                <a:gd name="connsiteX1" fmla="*/ 96803 w 516282"/>
                <a:gd name="connsiteY1" fmla="*/ 522736 h 645353"/>
                <a:gd name="connsiteX2" fmla="*/ 96803 w 516282"/>
                <a:gd name="connsiteY2" fmla="*/ 522736 h 645353"/>
                <a:gd name="connsiteX3" fmla="*/ 393666 w 516282"/>
                <a:gd name="connsiteY3" fmla="*/ 96803 h 645353"/>
                <a:gd name="connsiteX4" fmla="*/ 496922 w 516282"/>
                <a:gd name="connsiteY4" fmla="*/ 625993 h 645353"/>
                <a:gd name="connsiteX5" fmla="*/ 96803 w 516282"/>
                <a:gd name="connsiteY5" fmla="*/ 509829 h 645353"/>
                <a:gd name="connsiteX6" fmla="*/ 484015 w 516282"/>
                <a:gd name="connsiteY6" fmla="*/ 613086 h 645353"/>
                <a:gd name="connsiteX7" fmla="*/ 380758 w 516282"/>
                <a:gd name="connsiteY7" fmla="*/ 96803 h 645353"/>
                <a:gd name="connsiteX8" fmla="*/ 96803 w 516282"/>
                <a:gd name="connsiteY8" fmla="*/ 509829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496922" y="625993"/>
                  </a:moveTo>
                  <a:lnTo>
                    <a:pt x="96803" y="522736"/>
                  </a:lnTo>
                  <a:lnTo>
                    <a:pt x="96803" y="522736"/>
                  </a:lnTo>
                  <a:lnTo>
                    <a:pt x="393666" y="96803"/>
                  </a:lnTo>
                  <a:lnTo>
                    <a:pt x="496922" y="625993"/>
                  </a:lnTo>
                  <a:close/>
                  <a:moveTo>
                    <a:pt x="96803" y="509829"/>
                  </a:moveTo>
                  <a:lnTo>
                    <a:pt x="484015" y="613086"/>
                  </a:lnTo>
                  <a:lnTo>
                    <a:pt x="380758" y="96803"/>
                  </a:lnTo>
                  <a:lnTo>
                    <a:pt x="96803" y="5098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1" name="Freeform: Shape 3110">
              <a:extLst>
                <a:ext uri="{FF2B5EF4-FFF2-40B4-BE49-F238E27FC236}">
                  <a16:creationId xmlns:a16="http://schemas.microsoft.com/office/drawing/2014/main" id="{1D2B4EBC-23C0-4BB9-8E4B-EE64A6434F94}"/>
                </a:ext>
              </a:extLst>
            </p:cNvPr>
            <p:cNvSpPr/>
            <p:nvPr/>
          </p:nvSpPr>
          <p:spPr>
            <a:xfrm>
              <a:off x="16252694" y="1885611"/>
              <a:ext cx="387212" cy="645353"/>
            </a:xfrm>
            <a:custGeom>
              <a:avLst/>
              <a:gdLst>
                <a:gd name="connsiteX0" fmla="*/ 200060 w 387211"/>
                <a:gd name="connsiteY0" fmla="*/ 638900 h 645353"/>
                <a:gd name="connsiteX1" fmla="*/ 200060 w 387211"/>
                <a:gd name="connsiteY1" fmla="*/ 638900 h 645353"/>
                <a:gd name="connsiteX2" fmla="*/ 96803 w 387211"/>
                <a:gd name="connsiteY2" fmla="*/ 96803 h 645353"/>
                <a:gd name="connsiteX3" fmla="*/ 380759 w 387211"/>
                <a:gd name="connsiteY3" fmla="*/ 393665 h 645353"/>
                <a:gd name="connsiteX4" fmla="*/ 380759 w 387211"/>
                <a:gd name="connsiteY4" fmla="*/ 393665 h 645353"/>
                <a:gd name="connsiteX5" fmla="*/ 200060 w 387211"/>
                <a:gd name="connsiteY5" fmla="*/ 638900 h 645353"/>
                <a:gd name="connsiteX6" fmla="*/ 109711 w 387211"/>
                <a:gd name="connsiteY6" fmla="*/ 122617 h 645353"/>
                <a:gd name="connsiteX7" fmla="*/ 212967 w 387211"/>
                <a:gd name="connsiteY7" fmla="*/ 625993 h 645353"/>
                <a:gd name="connsiteX8" fmla="*/ 380759 w 387211"/>
                <a:gd name="connsiteY8" fmla="*/ 406572 h 645353"/>
                <a:gd name="connsiteX9" fmla="*/ 109711 w 387211"/>
                <a:gd name="connsiteY9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645353">
                  <a:moveTo>
                    <a:pt x="200060" y="638900"/>
                  </a:moveTo>
                  <a:lnTo>
                    <a:pt x="200060" y="638900"/>
                  </a:lnTo>
                  <a:lnTo>
                    <a:pt x="96803" y="96803"/>
                  </a:lnTo>
                  <a:lnTo>
                    <a:pt x="380759" y="393665"/>
                  </a:lnTo>
                  <a:lnTo>
                    <a:pt x="380759" y="393665"/>
                  </a:lnTo>
                  <a:lnTo>
                    <a:pt x="200060" y="638900"/>
                  </a:lnTo>
                  <a:close/>
                  <a:moveTo>
                    <a:pt x="109711" y="122617"/>
                  </a:moveTo>
                  <a:lnTo>
                    <a:pt x="212967" y="625993"/>
                  </a:lnTo>
                  <a:lnTo>
                    <a:pt x="380759" y="406572"/>
                  </a:lnTo>
                  <a:lnTo>
                    <a:pt x="109711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2" name="Freeform: Shape 3111">
              <a:extLst>
                <a:ext uri="{FF2B5EF4-FFF2-40B4-BE49-F238E27FC236}">
                  <a16:creationId xmlns:a16="http://schemas.microsoft.com/office/drawing/2014/main" id="{98566AA3-9586-4EC7-BAC2-129212D895F4}"/>
                </a:ext>
              </a:extLst>
            </p:cNvPr>
            <p:cNvSpPr/>
            <p:nvPr/>
          </p:nvSpPr>
          <p:spPr>
            <a:xfrm>
              <a:off x="16252694" y="1898518"/>
              <a:ext cx="645353" cy="387212"/>
            </a:xfrm>
            <a:custGeom>
              <a:avLst/>
              <a:gdLst>
                <a:gd name="connsiteX0" fmla="*/ 380759 w 645353"/>
                <a:gd name="connsiteY0" fmla="*/ 393665 h 387211"/>
                <a:gd name="connsiteX1" fmla="*/ 96803 w 645353"/>
                <a:gd name="connsiteY1" fmla="*/ 96803 h 387211"/>
                <a:gd name="connsiteX2" fmla="*/ 625993 w 645353"/>
                <a:gd name="connsiteY2" fmla="*/ 187152 h 387211"/>
                <a:gd name="connsiteX3" fmla="*/ 380759 w 645353"/>
                <a:gd name="connsiteY3" fmla="*/ 393665 h 387211"/>
                <a:gd name="connsiteX4" fmla="*/ 109711 w 645353"/>
                <a:gd name="connsiteY4" fmla="*/ 109710 h 387211"/>
                <a:gd name="connsiteX5" fmla="*/ 380759 w 645353"/>
                <a:gd name="connsiteY5" fmla="*/ 393665 h 387211"/>
                <a:gd name="connsiteX6" fmla="*/ 613086 w 645353"/>
                <a:gd name="connsiteY6" fmla="*/ 200059 h 387211"/>
                <a:gd name="connsiteX7" fmla="*/ 109711 w 645353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380759" y="393665"/>
                  </a:moveTo>
                  <a:lnTo>
                    <a:pt x="96803" y="96803"/>
                  </a:lnTo>
                  <a:lnTo>
                    <a:pt x="625993" y="187152"/>
                  </a:lnTo>
                  <a:lnTo>
                    <a:pt x="380759" y="393665"/>
                  </a:lnTo>
                  <a:close/>
                  <a:moveTo>
                    <a:pt x="109711" y="109710"/>
                  </a:moveTo>
                  <a:lnTo>
                    <a:pt x="380759" y="393665"/>
                  </a:lnTo>
                  <a:lnTo>
                    <a:pt x="613086" y="200059"/>
                  </a:lnTo>
                  <a:lnTo>
                    <a:pt x="10971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3" name="Freeform: Shape 3112">
              <a:extLst>
                <a:ext uri="{FF2B5EF4-FFF2-40B4-BE49-F238E27FC236}">
                  <a16:creationId xmlns:a16="http://schemas.microsoft.com/office/drawing/2014/main" id="{4B0E00B2-9FB6-462B-AFD7-268C2C4082FD}"/>
                </a:ext>
              </a:extLst>
            </p:cNvPr>
            <p:cNvSpPr/>
            <p:nvPr/>
          </p:nvSpPr>
          <p:spPr>
            <a:xfrm>
              <a:off x="15697691" y="1924332"/>
              <a:ext cx="387212" cy="645353"/>
            </a:xfrm>
            <a:custGeom>
              <a:avLst/>
              <a:gdLst>
                <a:gd name="connsiteX0" fmla="*/ 96803 w 387211"/>
                <a:gd name="connsiteY0" fmla="*/ 548550 h 645353"/>
                <a:gd name="connsiteX1" fmla="*/ 329130 w 387211"/>
                <a:gd name="connsiteY1" fmla="*/ 96803 h 645353"/>
                <a:gd name="connsiteX2" fmla="*/ 367851 w 387211"/>
                <a:gd name="connsiteY2" fmla="*/ 484015 h 645353"/>
                <a:gd name="connsiteX3" fmla="*/ 96803 w 387211"/>
                <a:gd name="connsiteY3" fmla="*/ 548550 h 645353"/>
                <a:gd name="connsiteX4" fmla="*/ 329130 w 387211"/>
                <a:gd name="connsiteY4" fmla="*/ 122617 h 645353"/>
                <a:gd name="connsiteX5" fmla="*/ 122617 w 387211"/>
                <a:gd name="connsiteY5" fmla="*/ 535643 h 645353"/>
                <a:gd name="connsiteX6" fmla="*/ 367851 w 387211"/>
                <a:gd name="connsiteY6" fmla="*/ 484015 h 645353"/>
                <a:gd name="connsiteX7" fmla="*/ 329130 w 387211"/>
                <a:gd name="connsiteY7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96803" y="548550"/>
                  </a:moveTo>
                  <a:lnTo>
                    <a:pt x="329130" y="96803"/>
                  </a:lnTo>
                  <a:lnTo>
                    <a:pt x="367851" y="484015"/>
                  </a:lnTo>
                  <a:lnTo>
                    <a:pt x="96803" y="548550"/>
                  </a:lnTo>
                  <a:close/>
                  <a:moveTo>
                    <a:pt x="329130" y="122617"/>
                  </a:moveTo>
                  <a:lnTo>
                    <a:pt x="122617" y="535643"/>
                  </a:lnTo>
                  <a:lnTo>
                    <a:pt x="367851" y="484015"/>
                  </a:lnTo>
                  <a:lnTo>
                    <a:pt x="32913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4" name="Freeform: Shape 3113">
              <a:extLst>
                <a:ext uri="{FF2B5EF4-FFF2-40B4-BE49-F238E27FC236}">
                  <a16:creationId xmlns:a16="http://schemas.microsoft.com/office/drawing/2014/main" id="{7C9A1A45-086D-4351-B78F-D779846F206D}"/>
                </a:ext>
              </a:extLst>
            </p:cNvPr>
            <p:cNvSpPr/>
            <p:nvPr/>
          </p:nvSpPr>
          <p:spPr>
            <a:xfrm>
              <a:off x="15930017" y="1898518"/>
              <a:ext cx="516283" cy="516283"/>
            </a:xfrm>
            <a:custGeom>
              <a:avLst/>
              <a:gdLst>
                <a:gd name="connsiteX0" fmla="*/ 135525 w 516282"/>
                <a:gd name="connsiteY0" fmla="*/ 522736 h 516282"/>
                <a:gd name="connsiteX1" fmla="*/ 96803 w 516282"/>
                <a:gd name="connsiteY1" fmla="*/ 135524 h 516282"/>
                <a:gd name="connsiteX2" fmla="*/ 432387 w 516282"/>
                <a:gd name="connsiteY2" fmla="*/ 96803 h 516282"/>
                <a:gd name="connsiteX3" fmla="*/ 135525 w 516282"/>
                <a:gd name="connsiteY3" fmla="*/ 522736 h 516282"/>
                <a:gd name="connsiteX4" fmla="*/ 96803 w 516282"/>
                <a:gd name="connsiteY4" fmla="*/ 148431 h 516282"/>
                <a:gd name="connsiteX5" fmla="*/ 135525 w 516282"/>
                <a:gd name="connsiteY5" fmla="*/ 509829 h 516282"/>
                <a:gd name="connsiteX6" fmla="*/ 419480 w 516282"/>
                <a:gd name="connsiteY6" fmla="*/ 109710 h 516282"/>
                <a:gd name="connsiteX7" fmla="*/ 96803 w 516282"/>
                <a:gd name="connsiteY7" fmla="*/ 14843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135525" y="522736"/>
                  </a:moveTo>
                  <a:lnTo>
                    <a:pt x="96803" y="135524"/>
                  </a:lnTo>
                  <a:lnTo>
                    <a:pt x="432387" y="96803"/>
                  </a:lnTo>
                  <a:lnTo>
                    <a:pt x="135525" y="522736"/>
                  </a:lnTo>
                  <a:close/>
                  <a:moveTo>
                    <a:pt x="96803" y="148431"/>
                  </a:moveTo>
                  <a:lnTo>
                    <a:pt x="135525" y="509829"/>
                  </a:lnTo>
                  <a:lnTo>
                    <a:pt x="419480" y="109710"/>
                  </a:lnTo>
                  <a:lnTo>
                    <a:pt x="96803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5" name="Freeform: Shape 3114">
              <a:extLst>
                <a:ext uri="{FF2B5EF4-FFF2-40B4-BE49-F238E27FC236}">
                  <a16:creationId xmlns:a16="http://schemas.microsoft.com/office/drawing/2014/main" id="{6C126A2E-9CC9-4770-9ECD-9FF2CAFFC123}"/>
                </a:ext>
              </a:extLst>
            </p:cNvPr>
            <p:cNvSpPr/>
            <p:nvPr/>
          </p:nvSpPr>
          <p:spPr>
            <a:xfrm>
              <a:off x="15349199" y="1833983"/>
              <a:ext cx="516283" cy="774424"/>
            </a:xfrm>
            <a:custGeom>
              <a:avLst/>
              <a:gdLst>
                <a:gd name="connsiteX0" fmla="*/ 161338 w 516282"/>
                <a:gd name="connsiteY0" fmla="*/ 806691 h 774423"/>
                <a:gd name="connsiteX1" fmla="*/ 96803 w 516282"/>
                <a:gd name="connsiteY1" fmla="*/ 96803 h 774423"/>
                <a:gd name="connsiteX2" fmla="*/ 445294 w 516282"/>
                <a:gd name="connsiteY2" fmla="*/ 651807 h 774423"/>
                <a:gd name="connsiteX3" fmla="*/ 161338 w 516282"/>
                <a:gd name="connsiteY3" fmla="*/ 806691 h 774423"/>
                <a:gd name="connsiteX4" fmla="*/ 122618 w 516282"/>
                <a:gd name="connsiteY4" fmla="*/ 109710 h 774423"/>
                <a:gd name="connsiteX5" fmla="*/ 174246 w 516282"/>
                <a:gd name="connsiteY5" fmla="*/ 793784 h 774423"/>
                <a:gd name="connsiteX6" fmla="*/ 458201 w 516282"/>
                <a:gd name="connsiteY6" fmla="*/ 638900 h 774423"/>
                <a:gd name="connsiteX7" fmla="*/ 122618 w 516282"/>
                <a:gd name="connsiteY7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774423">
                  <a:moveTo>
                    <a:pt x="161338" y="806691"/>
                  </a:moveTo>
                  <a:lnTo>
                    <a:pt x="96803" y="96803"/>
                  </a:lnTo>
                  <a:lnTo>
                    <a:pt x="445294" y="651807"/>
                  </a:lnTo>
                  <a:lnTo>
                    <a:pt x="161338" y="806691"/>
                  </a:lnTo>
                  <a:close/>
                  <a:moveTo>
                    <a:pt x="122618" y="109710"/>
                  </a:moveTo>
                  <a:lnTo>
                    <a:pt x="174246" y="793784"/>
                  </a:lnTo>
                  <a:lnTo>
                    <a:pt x="458201" y="638900"/>
                  </a:lnTo>
                  <a:lnTo>
                    <a:pt x="12261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6" name="Freeform: Shape 3115">
              <a:extLst>
                <a:ext uri="{FF2B5EF4-FFF2-40B4-BE49-F238E27FC236}">
                  <a16:creationId xmlns:a16="http://schemas.microsoft.com/office/drawing/2014/main" id="{EF834B1F-CADF-4823-85DA-814B0022CC96}"/>
                </a:ext>
              </a:extLst>
            </p:cNvPr>
            <p:cNvSpPr/>
            <p:nvPr/>
          </p:nvSpPr>
          <p:spPr>
            <a:xfrm>
              <a:off x="15362107" y="1833983"/>
              <a:ext cx="774424" cy="645353"/>
            </a:xfrm>
            <a:custGeom>
              <a:avLst/>
              <a:gdLst>
                <a:gd name="connsiteX0" fmla="*/ 445293 w 774423"/>
                <a:gd name="connsiteY0" fmla="*/ 638900 h 645353"/>
                <a:gd name="connsiteX1" fmla="*/ 445293 w 774423"/>
                <a:gd name="connsiteY1" fmla="*/ 638900 h 645353"/>
                <a:gd name="connsiteX2" fmla="*/ 96803 w 774423"/>
                <a:gd name="connsiteY2" fmla="*/ 96803 h 645353"/>
                <a:gd name="connsiteX3" fmla="*/ 677621 w 774423"/>
                <a:gd name="connsiteY3" fmla="*/ 200059 h 645353"/>
                <a:gd name="connsiteX4" fmla="*/ 445293 w 774423"/>
                <a:gd name="connsiteY4" fmla="*/ 638900 h 645353"/>
                <a:gd name="connsiteX5" fmla="*/ 109710 w 774423"/>
                <a:gd name="connsiteY5" fmla="*/ 109710 h 645353"/>
                <a:gd name="connsiteX6" fmla="*/ 445293 w 774423"/>
                <a:gd name="connsiteY6" fmla="*/ 638900 h 645353"/>
                <a:gd name="connsiteX7" fmla="*/ 664713 w 774423"/>
                <a:gd name="connsiteY7" fmla="*/ 212967 h 645353"/>
                <a:gd name="connsiteX8" fmla="*/ 109710 w 774423"/>
                <a:gd name="connsiteY8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645353">
                  <a:moveTo>
                    <a:pt x="445293" y="638900"/>
                  </a:moveTo>
                  <a:lnTo>
                    <a:pt x="445293" y="638900"/>
                  </a:lnTo>
                  <a:lnTo>
                    <a:pt x="96803" y="96803"/>
                  </a:lnTo>
                  <a:lnTo>
                    <a:pt x="677621" y="200059"/>
                  </a:lnTo>
                  <a:lnTo>
                    <a:pt x="445293" y="638900"/>
                  </a:lnTo>
                  <a:close/>
                  <a:moveTo>
                    <a:pt x="109710" y="109710"/>
                  </a:moveTo>
                  <a:lnTo>
                    <a:pt x="445293" y="638900"/>
                  </a:lnTo>
                  <a:lnTo>
                    <a:pt x="664713" y="212967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7" name="Freeform: Shape 3116">
              <a:extLst>
                <a:ext uri="{FF2B5EF4-FFF2-40B4-BE49-F238E27FC236}">
                  <a16:creationId xmlns:a16="http://schemas.microsoft.com/office/drawing/2014/main" id="{060B77B4-20A3-468A-A9B1-6E186D83E04A}"/>
                </a:ext>
              </a:extLst>
            </p:cNvPr>
            <p:cNvSpPr/>
            <p:nvPr/>
          </p:nvSpPr>
          <p:spPr>
            <a:xfrm>
              <a:off x="15362107" y="1846890"/>
              <a:ext cx="1032565" cy="258141"/>
            </a:xfrm>
            <a:custGeom>
              <a:avLst/>
              <a:gdLst>
                <a:gd name="connsiteX0" fmla="*/ 664713 w 1032565"/>
                <a:gd name="connsiteY0" fmla="*/ 200060 h 258141"/>
                <a:gd name="connsiteX1" fmla="*/ 664713 w 1032565"/>
                <a:gd name="connsiteY1" fmla="*/ 200060 h 258141"/>
                <a:gd name="connsiteX2" fmla="*/ 96803 w 1032565"/>
                <a:gd name="connsiteY2" fmla="*/ 96803 h 258141"/>
                <a:gd name="connsiteX3" fmla="*/ 96803 w 1032565"/>
                <a:gd name="connsiteY3" fmla="*/ 96803 h 258141"/>
                <a:gd name="connsiteX4" fmla="*/ 987390 w 1032565"/>
                <a:gd name="connsiteY4" fmla="*/ 161338 h 258141"/>
                <a:gd name="connsiteX5" fmla="*/ 987390 w 1032565"/>
                <a:gd name="connsiteY5" fmla="*/ 161338 h 258141"/>
                <a:gd name="connsiteX6" fmla="*/ 664713 w 1032565"/>
                <a:gd name="connsiteY6" fmla="*/ 200060 h 258141"/>
                <a:gd name="connsiteX7" fmla="*/ 148430 w 1032565"/>
                <a:gd name="connsiteY7" fmla="*/ 96803 h 258141"/>
                <a:gd name="connsiteX8" fmla="*/ 651806 w 1032565"/>
                <a:gd name="connsiteY8" fmla="*/ 187152 h 258141"/>
                <a:gd name="connsiteX9" fmla="*/ 948669 w 1032565"/>
                <a:gd name="connsiteY9" fmla="*/ 148431 h 258141"/>
                <a:gd name="connsiteX10" fmla="*/ 148430 w 1032565"/>
                <a:gd name="connsiteY10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2565" h="258141">
                  <a:moveTo>
                    <a:pt x="664713" y="200060"/>
                  </a:moveTo>
                  <a:lnTo>
                    <a:pt x="664713" y="200060"/>
                  </a:lnTo>
                  <a:lnTo>
                    <a:pt x="96803" y="96803"/>
                  </a:lnTo>
                  <a:lnTo>
                    <a:pt x="96803" y="96803"/>
                  </a:lnTo>
                  <a:lnTo>
                    <a:pt x="987390" y="161338"/>
                  </a:lnTo>
                  <a:lnTo>
                    <a:pt x="987390" y="161338"/>
                  </a:lnTo>
                  <a:lnTo>
                    <a:pt x="664713" y="200060"/>
                  </a:lnTo>
                  <a:close/>
                  <a:moveTo>
                    <a:pt x="148430" y="96803"/>
                  </a:moveTo>
                  <a:lnTo>
                    <a:pt x="651806" y="187152"/>
                  </a:lnTo>
                  <a:lnTo>
                    <a:pt x="948669" y="148431"/>
                  </a:lnTo>
                  <a:lnTo>
                    <a:pt x="14843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8" name="Freeform: Shape 3117">
              <a:extLst>
                <a:ext uri="{FF2B5EF4-FFF2-40B4-BE49-F238E27FC236}">
                  <a16:creationId xmlns:a16="http://schemas.microsoft.com/office/drawing/2014/main" id="{1331AB02-0B22-45C3-9718-6997CD35BC03}"/>
                </a:ext>
              </a:extLst>
            </p:cNvPr>
            <p:cNvSpPr/>
            <p:nvPr/>
          </p:nvSpPr>
          <p:spPr>
            <a:xfrm>
              <a:off x="12974300" y="1485492"/>
              <a:ext cx="645353" cy="387212"/>
            </a:xfrm>
            <a:custGeom>
              <a:avLst/>
              <a:gdLst>
                <a:gd name="connsiteX0" fmla="*/ 277501 w 645353"/>
                <a:gd name="connsiteY0" fmla="*/ 329130 h 387211"/>
                <a:gd name="connsiteX1" fmla="*/ 277501 w 645353"/>
                <a:gd name="connsiteY1" fmla="*/ 329130 h 387211"/>
                <a:gd name="connsiteX2" fmla="*/ 96803 w 645353"/>
                <a:gd name="connsiteY2" fmla="*/ 96803 h 387211"/>
                <a:gd name="connsiteX3" fmla="*/ 638899 w 645353"/>
                <a:gd name="connsiteY3" fmla="*/ 135524 h 387211"/>
                <a:gd name="connsiteX4" fmla="*/ 277501 w 645353"/>
                <a:gd name="connsiteY4" fmla="*/ 329130 h 387211"/>
                <a:gd name="connsiteX5" fmla="*/ 109710 w 645353"/>
                <a:gd name="connsiteY5" fmla="*/ 96803 h 387211"/>
                <a:gd name="connsiteX6" fmla="*/ 277501 w 645353"/>
                <a:gd name="connsiteY6" fmla="*/ 316223 h 387211"/>
                <a:gd name="connsiteX7" fmla="*/ 600178 w 645353"/>
                <a:gd name="connsiteY7" fmla="*/ 135524 h 387211"/>
                <a:gd name="connsiteX8" fmla="*/ 109710 w 645353"/>
                <a:gd name="connsiteY8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387211">
                  <a:moveTo>
                    <a:pt x="277501" y="329130"/>
                  </a:moveTo>
                  <a:lnTo>
                    <a:pt x="277501" y="329130"/>
                  </a:lnTo>
                  <a:lnTo>
                    <a:pt x="96803" y="96803"/>
                  </a:lnTo>
                  <a:lnTo>
                    <a:pt x="638899" y="135524"/>
                  </a:lnTo>
                  <a:lnTo>
                    <a:pt x="277501" y="329130"/>
                  </a:lnTo>
                  <a:close/>
                  <a:moveTo>
                    <a:pt x="109710" y="96803"/>
                  </a:moveTo>
                  <a:lnTo>
                    <a:pt x="277501" y="316223"/>
                  </a:lnTo>
                  <a:lnTo>
                    <a:pt x="600178" y="135524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19" name="Freeform: Shape 3118">
              <a:extLst>
                <a:ext uri="{FF2B5EF4-FFF2-40B4-BE49-F238E27FC236}">
                  <a16:creationId xmlns:a16="http://schemas.microsoft.com/office/drawing/2014/main" id="{841124AF-C2EE-477C-86E6-AA20CEC5246C}"/>
                </a:ext>
              </a:extLst>
            </p:cNvPr>
            <p:cNvSpPr/>
            <p:nvPr/>
          </p:nvSpPr>
          <p:spPr>
            <a:xfrm>
              <a:off x="12044991" y="1472585"/>
              <a:ext cx="1032565" cy="645353"/>
            </a:xfrm>
            <a:custGeom>
              <a:avLst/>
              <a:gdLst>
                <a:gd name="connsiteX0" fmla="*/ 212967 w 1032565"/>
                <a:gd name="connsiteY0" fmla="*/ 561457 h 645353"/>
                <a:gd name="connsiteX1" fmla="*/ 96803 w 1032565"/>
                <a:gd name="connsiteY1" fmla="*/ 290409 h 645353"/>
                <a:gd name="connsiteX2" fmla="*/ 1051926 w 1032565"/>
                <a:gd name="connsiteY2" fmla="*/ 96803 h 645353"/>
                <a:gd name="connsiteX3" fmla="*/ 212967 w 1032565"/>
                <a:gd name="connsiteY3" fmla="*/ 561457 h 645353"/>
                <a:gd name="connsiteX4" fmla="*/ 109710 w 1032565"/>
                <a:gd name="connsiteY4" fmla="*/ 303316 h 645353"/>
                <a:gd name="connsiteX5" fmla="*/ 212967 w 1032565"/>
                <a:gd name="connsiteY5" fmla="*/ 561457 h 645353"/>
                <a:gd name="connsiteX6" fmla="*/ 1013204 w 1032565"/>
                <a:gd name="connsiteY6" fmla="*/ 122617 h 645353"/>
                <a:gd name="connsiteX7" fmla="*/ 109710 w 1032565"/>
                <a:gd name="connsiteY7" fmla="*/ 303316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2565" h="645353">
                  <a:moveTo>
                    <a:pt x="212967" y="561457"/>
                  </a:moveTo>
                  <a:lnTo>
                    <a:pt x="96803" y="290409"/>
                  </a:lnTo>
                  <a:lnTo>
                    <a:pt x="1051926" y="96803"/>
                  </a:lnTo>
                  <a:lnTo>
                    <a:pt x="212967" y="561457"/>
                  </a:lnTo>
                  <a:close/>
                  <a:moveTo>
                    <a:pt x="109710" y="303316"/>
                  </a:moveTo>
                  <a:lnTo>
                    <a:pt x="212967" y="561457"/>
                  </a:lnTo>
                  <a:lnTo>
                    <a:pt x="1013204" y="122617"/>
                  </a:lnTo>
                  <a:lnTo>
                    <a:pt x="109710" y="3033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0" name="Freeform: Shape 3119">
              <a:extLst>
                <a:ext uri="{FF2B5EF4-FFF2-40B4-BE49-F238E27FC236}">
                  <a16:creationId xmlns:a16="http://schemas.microsoft.com/office/drawing/2014/main" id="{AE7DA151-39D2-4DDB-BFD9-C363EDB776F7}"/>
                </a:ext>
              </a:extLst>
            </p:cNvPr>
            <p:cNvSpPr/>
            <p:nvPr/>
          </p:nvSpPr>
          <p:spPr>
            <a:xfrm>
              <a:off x="12148248" y="1485492"/>
              <a:ext cx="1161636" cy="645353"/>
            </a:xfrm>
            <a:custGeom>
              <a:avLst/>
              <a:gdLst>
                <a:gd name="connsiteX0" fmla="*/ 96803 w 1161635"/>
                <a:gd name="connsiteY0" fmla="*/ 561457 h 645353"/>
                <a:gd name="connsiteX1" fmla="*/ 935762 w 1161635"/>
                <a:gd name="connsiteY1" fmla="*/ 96803 h 645353"/>
                <a:gd name="connsiteX2" fmla="*/ 935762 w 1161635"/>
                <a:gd name="connsiteY2" fmla="*/ 96803 h 645353"/>
                <a:gd name="connsiteX3" fmla="*/ 1116461 w 1161635"/>
                <a:gd name="connsiteY3" fmla="*/ 329130 h 645353"/>
                <a:gd name="connsiteX4" fmla="*/ 1116461 w 1161635"/>
                <a:gd name="connsiteY4" fmla="*/ 329130 h 645353"/>
                <a:gd name="connsiteX5" fmla="*/ 96803 w 1161635"/>
                <a:gd name="connsiteY5" fmla="*/ 561457 h 645353"/>
                <a:gd name="connsiteX6" fmla="*/ 922855 w 1161635"/>
                <a:gd name="connsiteY6" fmla="*/ 96803 h 645353"/>
                <a:gd name="connsiteX7" fmla="*/ 122617 w 1161635"/>
                <a:gd name="connsiteY7" fmla="*/ 535643 h 645353"/>
                <a:gd name="connsiteX8" fmla="*/ 1090647 w 1161635"/>
                <a:gd name="connsiteY8" fmla="*/ 316223 h 645353"/>
                <a:gd name="connsiteX9" fmla="*/ 922855 w 1161635"/>
                <a:gd name="connsiteY9" fmla="*/ 9680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635" h="645353">
                  <a:moveTo>
                    <a:pt x="96803" y="561457"/>
                  </a:moveTo>
                  <a:lnTo>
                    <a:pt x="935762" y="96803"/>
                  </a:lnTo>
                  <a:lnTo>
                    <a:pt x="935762" y="96803"/>
                  </a:lnTo>
                  <a:lnTo>
                    <a:pt x="1116461" y="329130"/>
                  </a:lnTo>
                  <a:lnTo>
                    <a:pt x="1116461" y="329130"/>
                  </a:lnTo>
                  <a:lnTo>
                    <a:pt x="96803" y="561457"/>
                  </a:lnTo>
                  <a:close/>
                  <a:moveTo>
                    <a:pt x="922855" y="96803"/>
                  </a:moveTo>
                  <a:lnTo>
                    <a:pt x="122617" y="535643"/>
                  </a:lnTo>
                  <a:lnTo>
                    <a:pt x="1090647" y="316223"/>
                  </a:lnTo>
                  <a:lnTo>
                    <a:pt x="922855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1" name="Freeform: Shape 3120">
              <a:extLst>
                <a:ext uri="{FF2B5EF4-FFF2-40B4-BE49-F238E27FC236}">
                  <a16:creationId xmlns:a16="http://schemas.microsoft.com/office/drawing/2014/main" id="{EC1B86C2-32E7-4E2B-B780-3AF4BEC05D94}"/>
                </a:ext>
              </a:extLst>
            </p:cNvPr>
            <p:cNvSpPr/>
            <p:nvPr/>
          </p:nvSpPr>
          <p:spPr>
            <a:xfrm>
              <a:off x="11773943" y="1666191"/>
              <a:ext cx="516283" cy="387212"/>
            </a:xfrm>
            <a:custGeom>
              <a:avLst/>
              <a:gdLst>
                <a:gd name="connsiteX0" fmla="*/ 496922 w 516282"/>
                <a:gd name="connsiteY0" fmla="*/ 367851 h 387211"/>
                <a:gd name="connsiteX1" fmla="*/ 96803 w 516282"/>
                <a:gd name="connsiteY1" fmla="*/ 225874 h 387211"/>
                <a:gd name="connsiteX2" fmla="*/ 380758 w 516282"/>
                <a:gd name="connsiteY2" fmla="*/ 96803 h 387211"/>
                <a:gd name="connsiteX3" fmla="*/ 496922 w 516282"/>
                <a:gd name="connsiteY3" fmla="*/ 367851 h 387211"/>
                <a:gd name="connsiteX4" fmla="*/ 109710 w 516282"/>
                <a:gd name="connsiteY4" fmla="*/ 238781 h 387211"/>
                <a:gd name="connsiteX5" fmla="*/ 484015 w 516282"/>
                <a:gd name="connsiteY5" fmla="*/ 367851 h 387211"/>
                <a:gd name="connsiteX6" fmla="*/ 380758 w 516282"/>
                <a:gd name="connsiteY6" fmla="*/ 109710 h 387211"/>
                <a:gd name="connsiteX7" fmla="*/ 109710 w 516282"/>
                <a:gd name="connsiteY7" fmla="*/ 23878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96922" y="367851"/>
                  </a:moveTo>
                  <a:lnTo>
                    <a:pt x="96803" y="225874"/>
                  </a:lnTo>
                  <a:lnTo>
                    <a:pt x="380758" y="96803"/>
                  </a:lnTo>
                  <a:lnTo>
                    <a:pt x="496922" y="367851"/>
                  </a:lnTo>
                  <a:close/>
                  <a:moveTo>
                    <a:pt x="109710" y="238781"/>
                  </a:moveTo>
                  <a:lnTo>
                    <a:pt x="484015" y="367851"/>
                  </a:lnTo>
                  <a:lnTo>
                    <a:pt x="380758" y="109710"/>
                  </a:lnTo>
                  <a:lnTo>
                    <a:pt x="109710" y="2387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2" name="Freeform: Shape 3121">
              <a:extLst>
                <a:ext uri="{FF2B5EF4-FFF2-40B4-BE49-F238E27FC236}">
                  <a16:creationId xmlns:a16="http://schemas.microsoft.com/office/drawing/2014/main" id="{04E4F670-BAC5-46E7-A196-11719980A063}"/>
                </a:ext>
              </a:extLst>
            </p:cNvPr>
            <p:cNvSpPr/>
            <p:nvPr/>
          </p:nvSpPr>
          <p:spPr>
            <a:xfrm>
              <a:off x="11657779" y="1795262"/>
              <a:ext cx="645353" cy="387212"/>
            </a:xfrm>
            <a:custGeom>
              <a:avLst/>
              <a:gdLst>
                <a:gd name="connsiteX0" fmla="*/ 96803 w 645353"/>
                <a:gd name="connsiteY0" fmla="*/ 316223 h 387211"/>
                <a:gd name="connsiteX1" fmla="*/ 212967 w 645353"/>
                <a:gd name="connsiteY1" fmla="*/ 96803 h 387211"/>
                <a:gd name="connsiteX2" fmla="*/ 613086 w 645353"/>
                <a:gd name="connsiteY2" fmla="*/ 238781 h 387211"/>
                <a:gd name="connsiteX3" fmla="*/ 96803 w 645353"/>
                <a:gd name="connsiteY3" fmla="*/ 316223 h 387211"/>
                <a:gd name="connsiteX4" fmla="*/ 212967 w 645353"/>
                <a:gd name="connsiteY4" fmla="*/ 109710 h 387211"/>
                <a:gd name="connsiteX5" fmla="*/ 109710 w 645353"/>
                <a:gd name="connsiteY5" fmla="*/ 303316 h 387211"/>
                <a:gd name="connsiteX6" fmla="*/ 587272 w 645353"/>
                <a:gd name="connsiteY6" fmla="*/ 238781 h 387211"/>
                <a:gd name="connsiteX7" fmla="*/ 212967 w 645353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387211">
                  <a:moveTo>
                    <a:pt x="96803" y="316223"/>
                  </a:moveTo>
                  <a:lnTo>
                    <a:pt x="212967" y="96803"/>
                  </a:lnTo>
                  <a:lnTo>
                    <a:pt x="613086" y="238781"/>
                  </a:lnTo>
                  <a:lnTo>
                    <a:pt x="96803" y="316223"/>
                  </a:lnTo>
                  <a:close/>
                  <a:moveTo>
                    <a:pt x="212967" y="109710"/>
                  </a:moveTo>
                  <a:lnTo>
                    <a:pt x="109710" y="303316"/>
                  </a:lnTo>
                  <a:lnTo>
                    <a:pt x="587272" y="238781"/>
                  </a:lnTo>
                  <a:lnTo>
                    <a:pt x="21296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3" name="Freeform: Shape 3122">
              <a:extLst>
                <a:ext uri="{FF2B5EF4-FFF2-40B4-BE49-F238E27FC236}">
                  <a16:creationId xmlns:a16="http://schemas.microsoft.com/office/drawing/2014/main" id="{F75DB4E2-5715-488C-A94A-0ADE245B2270}"/>
                </a:ext>
              </a:extLst>
            </p:cNvPr>
            <p:cNvSpPr/>
            <p:nvPr/>
          </p:nvSpPr>
          <p:spPr>
            <a:xfrm>
              <a:off x="11631965" y="1717819"/>
              <a:ext cx="258141" cy="387212"/>
            </a:xfrm>
            <a:custGeom>
              <a:avLst/>
              <a:gdLst>
                <a:gd name="connsiteX0" fmla="*/ 122617 w 258141"/>
                <a:gd name="connsiteY0" fmla="*/ 393665 h 387211"/>
                <a:gd name="connsiteX1" fmla="*/ 96803 w 258141"/>
                <a:gd name="connsiteY1" fmla="*/ 96803 h 387211"/>
                <a:gd name="connsiteX2" fmla="*/ 238781 w 258141"/>
                <a:gd name="connsiteY2" fmla="*/ 174245 h 387211"/>
                <a:gd name="connsiteX3" fmla="*/ 122617 w 258141"/>
                <a:gd name="connsiteY3" fmla="*/ 393665 h 387211"/>
                <a:gd name="connsiteX4" fmla="*/ 109710 w 258141"/>
                <a:gd name="connsiteY4" fmla="*/ 109710 h 387211"/>
                <a:gd name="connsiteX5" fmla="*/ 135524 w 258141"/>
                <a:gd name="connsiteY5" fmla="*/ 367851 h 387211"/>
                <a:gd name="connsiteX6" fmla="*/ 238781 w 258141"/>
                <a:gd name="connsiteY6" fmla="*/ 187152 h 387211"/>
                <a:gd name="connsiteX7" fmla="*/ 109710 w 25814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22617" y="393665"/>
                  </a:moveTo>
                  <a:lnTo>
                    <a:pt x="96803" y="96803"/>
                  </a:lnTo>
                  <a:lnTo>
                    <a:pt x="238781" y="174245"/>
                  </a:lnTo>
                  <a:lnTo>
                    <a:pt x="122617" y="393665"/>
                  </a:lnTo>
                  <a:close/>
                  <a:moveTo>
                    <a:pt x="109710" y="109710"/>
                  </a:moveTo>
                  <a:lnTo>
                    <a:pt x="135524" y="367851"/>
                  </a:lnTo>
                  <a:lnTo>
                    <a:pt x="238781" y="187152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4" name="Freeform: Shape 3123">
              <a:extLst>
                <a:ext uri="{FF2B5EF4-FFF2-40B4-BE49-F238E27FC236}">
                  <a16:creationId xmlns:a16="http://schemas.microsoft.com/office/drawing/2014/main" id="{6F2ADFB9-2AE2-48BB-B5B6-6FCD1C725BE9}"/>
                </a:ext>
              </a:extLst>
            </p:cNvPr>
            <p:cNvSpPr/>
            <p:nvPr/>
          </p:nvSpPr>
          <p:spPr>
            <a:xfrm>
              <a:off x="11386731" y="1730726"/>
              <a:ext cx="387212" cy="387212"/>
            </a:xfrm>
            <a:custGeom>
              <a:avLst/>
              <a:gdLst>
                <a:gd name="connsiteX0" fmla="*/ 174245 w 387211"/>
                <a:gd name="connsiteY0" fmla="*/ 354944 h 387211"/>
                <a:gd name="connsiteX1" fmla="*/ 96803 w 387211"/>
                <a:gd name="connsiteY1" fmla="*/ 135524 h 387211"/>
                <a:gd name="connsiteX2" fmla="*/ 354944 w 387211"/>
                <a:gd name="connsiteY2" fmla="*/ 96803 h 387211"/>
                <a:gd name="connsiteX3" fmla="*/ 174245 w 387211"/>
                <a:gd name="connsiteY3" fmla="*/ 354944 h 387211"/>
                <a:gd name="connsiteX4" fmla="*/ 109710 w 387211"/>
                <a:gd name="connsiteY4" fmla="*/ 135524 h 387211"/>
                <a:gd name="connsiteX5" fmla="*/ 174245 w 387211"/>
                <a:gd name="connsiteY5" fmla="*/ 342037 h 387211"/>
                <a:gd name="connsiteX6" fmla="*/ 342037 w 387211"/>
                <a:gd name="connsiteY6" fmla="*/ 109710 h 387211"/>
                <a:gd name="connsiteX7" fmla="*/ 109710 w 38721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74245" y="354944"/>
                  </a:moveTo>
                  <a:lnTo>
                    <a:pt x="96803" y="135524"/>
                  </a:lnTo>
                  <a:lnTo>
                    <a:pt x="354944" y="96803"/>
                  </a:lnTo>
                  <a:lnTo>
                    <a:pt x="174245" y="354944"/>
                  </a:lnTo>
                  <a:close/>
                  <a:moveTo>
                    <a:pt x="109710" y="135524"/>
                  </a:moveTo>
                  <a:lnTo>
                    <a:pt x="174245" y="342037"/>
                  </a:lnTo>
                  <a:lnTo>
                    <a:pt x="342037" y="109710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5" name="Freeform: Shape 3124">
              <a:extLst>
                <a:ext uri="{FF2B5EF4-FFF2-40B4-BE49-F238E27FC236}">
                  <a16:creationId xmlns:a16="http://schemas.microsoft.com/office/drawing/2014/main" id="{0FD98EDE-5CDE-40E9-9EB2-583028C094A3}"/>
                </a:ext>
              </a:extLst>
            </p:cNvPr>
            <p:cNvSpPr/>
            <p:nvPr/>
          </p:nvSpPr>
          <p:spPr>
            <a:xfrm>
              <a:off x="11451266" y="1717819"/>
              <a:ext cx="387212" cy="387212"/>
            </a:xfrm>
            <a:custGeom>
              <a:avLst/>
              <a:gdLst>
                <a:gd name="connsiteX0" fmla="*/ 316223 w 387211"/>
                <a:gd name="connsiteY0" fmla="*/ 393665 h 387211"/>
                <a:gd name="connsiteX1" fmla="*/ 96803 w 387211"/>
                <a:gd name="connsiteY1" fmla="*/ 354944 h 387211"/>
                <a:gd name="connsiteX2" fmla="*/ 290409 w 387211"/>
                <a:gd name="connsiteY2" fmla="*/ 96803 h 387211"/>
                <a:gd name="connsiteX3" fmla="*/ 316223 w 387211"/>
                <a:gd name="connsiteY3" fmla="*/ 393665 h 387211"/>
                <a:gd name="connsiteX4" fmla="*/ 109710 w 387211"/>
                <a:gd name="connsiteY4" fmla="*/ 354944 h 387211"/>
                <a:gd name="connsiteX5" fmla="*/ 303316 w 387211"/>
                <a:gd name="connsiteY5" fmla="*/ 380758 h 387211"/>
                <a:gd name="connsiteX6" fmla="*/ 290409 w 387211"/>
                <a:gd name="connsiteY6" fmla="*/ 122617 h 387211"/>
                <a:gd name="connsiteX7" fmla="*/ 109710 w 387211"/>
                <a:gd name="connsiteY7" fmla="*/ 35494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16223" y="393665"/>
                  </a:moveTo>
                  <a:lnTo>
                    <a:pt x="96803" y="354944"/>
                  </a:lnTo>
                  <a:lnTo>
                    <a:pt x="290409" y="96803"/>
                  </a:lnTo>
                  <a:lnTo>
                    <a:pt x="316223" y="393665"/>
                  </a:lnTo>
                  <a:close/>
                  <a:moveTo>
                    <a:pt x="109710" y="354944"/>
                  </a:moveTo>
                  <a:lnTo>
                    <a:pt x="303316" y="380758"/>
                  </a:lnTo>
                  <a:lnTo>
                    <a:pt x="290409" y="122617"/>
                  </a:lnTo>
                  <a:lnTo>
                    <a:pt x="109710" y="3549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6" name="Freeform: Shape 3125">
              <a:extLst>
                <a:ext uri="{FF2B5EF4-FFF2-40B4-BE49-F238E27FC236}">
                  <a16:creationId xmlns:a16="http://schemas.microsoft.com/office/drawing/2014/main" id="{9AE76483-CDB5-42CA-8B18-F5B8F406C43F}"/>
                </a:ext>
              </a:extLst>
            </p:cNvPr>
            <p:cNvSpPr/>
            <p:nvPr/>
          </p:nvSpPr>
          <p:spPr>
            <a:xfrm>
              <a:off x="9502300" y="1872704"/>
              <a:ext cx="1032565" cy="387212"/>
            </a:xfrm>
            <a:custGeom>
              <a:avLst/>
              <a:gdLst>
                <a:gd name="connsiteX0" fmla="*/ 935762 w 1032565"/>
                <a:gd name="connsiteY0" fmla="*/ 329130 h 387211"/>
                <a:gd name="connsiteX1" fmla="*/ 729249 w 1032565"/>
                <a:gd name="connsiteY1" fmla="*/ 329130 h 387211"/>
                <a:gd name="connsiteX2" fmla="*/ 96803 w 1032565"/>
                <a:gd name="connsiteY2" fmla="*/ 96803 h 387211"/>
                <a:gd name="connsiteX3" fmla="*/ 96803 w 1032565"/>
                <a:gd name="connsiteY3" fmla="*/ 96803 h 387211"/>
                <a:gd name="connsiteX4" fmla="*/ 935762 w 1032565"/>
                <a:gd name="connsiteY4" fmla="*/ 329130 h 387211"/>
                <a:gd name="connsiteX5" fmla="*/ 729249 w 1032565"/>
                <a:gd name="connsiteY5" fmla="*/ 316223 h 387211"/>
                <a:gd name="connsiteX6" fmla="*/ 884134 w 1032565"/>
                <a:gd name="connsiteY6" fmla="*/ 329130 h 387211"/>
                <a:gd name="connsiteX7" fmla="*/ 187152 w 1032565"/>
                <a:gd name="connsiteY7" fmla="*/ 122617 h 387211"/>
                <a:gd name="connsiteX8" fmla="*/ 729249 w 1032565"/>
                <a:gd name="connsiteY8" fmla="*/ 31622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387211">
                  <a:moveTo>
                    <a:pt x="935762" y="329130"/>
                  </a:moveTo>
                  <a:lnTo>
                    <a:pt x="729249" y="329130"/>
                  </a:lnTo>
                  <a:lnTo>
                    <a:pt x="96803" y="96803"/>
                  </a:lnTo>
                  <a:lnTo>
                    <a:pt x="96803" y="96803"/>
                  </a:lnTo>
                  <a:lnTo>
                    <a:pt x="935762" y="329130"/>
                  </a:lnTo>
                  <a:close/>
                  <a:moveTo>
                    <a:pt x="729249" y="316223"/>
                  </a:moveTo>
                  <a:lnTo>
                    <a:pt x="884134" y="329130"/>
                  </a:lnTo>
                  <a:lnTo>
                    <a:pt x="187152" y="122617"/>
                  </a:lnTo>
                  <a:lnTo>
                    <a:pt x="729249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7" name="Freeform: Shape 3126">
              <a:extLst>
                <a:ext uri="{FF2B5EF4-FFF2-40B4-BE49-F238E27FC236}">
                  <a16:creationId xmlns:a16="http://schemas.microsoft.com/office/drawing/2014/main" id="{DE3663AE-7EF5-48DE-AF6D-58F7607D650E}"/>
                </a:ext>
              </a:extLst>
            </p:cNvPr>
            <p:cNvSpPr/>
            <p:nvPr/>
          </p:nvSpPr>
          <p:spPr>
            <a:xfrm>
              <a:off x="8456827" y="2376080"/>
              <a:ext cx="387212" cy="387212"/>
            </a:xfrm>
            <a:custGeom>
              <a:avLst/>
              <a:gdLst>
                <a:gd name="connsiteX0" fmla="*/ 238781 w 387211"/>
                <a:gd name="connsiteY0" fmla="*/ 342037 h 387211"/>
                <a:gd name="connsiteX1" fmla="*/ 96803 w 387211"/>
                <a:gd name="connsiteY1" fmla="*/ 96803 h 387211"/>
                <a:gd name="connsiteX2" fmla="*/ 367852 w 387211"/>
                <a:gd name="connsiteY2" fmla="*/ 212967 h 387211"/>
                <a:gd name="connsiteX3" fmla="*/ 238781 w 387211"/>
                <a:gd name="connsiteY3" fmla="*/ 342037 h 387211"/>
                <a:gd name="connsiteX4" fmla="*/ 109710 w 387211"/>
                <a:gd name="connsiteY4" fmla="*/ 109710 h 387211"/>
                <a:gd name="connsiteX5" fmla="*/ 238781 w 387211"/>
                <a:gd name="connsiteY5" fmla="*/ 329130 h 387211"/>
                <a:gd name="connsiteX6" fmla="*/ 354945 w 387211"/>
                <a:gd name="connsiteY6" fmla="*/ 212967 h 387211"/>
                <a:gd name="connsiteX7" fmla="*/ 109710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38781" y="342037"/>
                  </a:moveTo>
                  <a:lnTo>
                    <a:pt x="96803" y="96803"/>
                  </a:lnTo>
                  <a:lnTo>
                    <a:pt x="367852" y="212967"/>
                  </a:lnTo>
                  <a:lnTo>
                    <a:pt x="238781" y="342037"/>
                  </a:lnTo>
                  <a:close/>
                  <a:moveTo>
                    <a:pt x="109710" y="109710"/>
                  </a:moveTo>
                  <a:lnTo>
                    <a:pt x="238781" y="329130"/>
                  </a:lnTo>
                  <a:lnTo>
                    <a:pt x="354945" y="212967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8" name="Freeform: Shape 3127">
              <a:extLst>
                <a:ext uri="{FF2B5EF4-FFF2-40B4-BE49-F238E27FC236}">
                  <a16:creationId xmlns:a16="http://schemas.microsoft.com/office/drawing/2014/main" id="{C7D68989-5386-4930-B3BD-193B9447CDAB}"/>
                </a:ext>
              </a:extLst>
            </p:cNvPr>
            <p:cNvSpPr/>
            <p:nvPr/>
          </p:nvSpPr>
          <p:spPr>
            <a:xfrm>
              <a:off x="8456827" y="2079217"/>
              <a:ext cx="516283" cy="516283"/>
            </a:xfrm>
            <a:custGeom>
              <a:avLst/>
              <a:gdLst>
                <a:gd name="connsiteX0" fmla="*/ 367852 w 516282"/>
                <a:gd name="connsiteY0" fmla="*/ 509829 h 516282"/>
                <a:gd name="connsiteX1" fmla="*/ 96803 w 516282"/>
                <a:gd name="connsiteY1" fmla="*/ 393665 h 516282"/>
                <a:gd name="connsiteX2" fmla="*/ 445294 w 516282"/>
                <a:gd name="connsiteY2" fmla="*/ 96803 h 516282"/>
                <a:gd name="connsiteX3" fmla="*/ 367852 w 516282"/>
                <a:gd name="connsiteY3" fmla="*/ 509829 h 516282"/>
                <a:gd name="connsiteX4" fmla="*/ 109710 w 516282"/>
                <a:gd name="connsiteY4" fmla="*/ 393665 h 516282"/>
                <a:gd name="connsiteX5" fmla="*/ 354945 w 516282"/>
                <a:gd name="connsiteY5" fmla="*/ 496922 h 516282"/>
                <a:gd name="connsiteX6" fmla="*/ 432387 w 516282"/>
                <a:gd name="connsiteY6" fmla="*/ 109710 h 516282"/>
                <a:gd name="connsiteX7" fmla="*/ 109710 w 516282"/>
                <a:gd name="connsiteY7" fmla="*/ 39366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367852" y="509829"/>
                  </a:moveTo>
                  <a:lnTo>
                    <a:pt x="96803" y="393665"/>
                  </a:lnTo>
                  <a:lnTo>
                    <a:pt x="445294" y="96803"/>
                  </a:lnTo>
                  <a:lnTo>
                    <a:pt x="367852" y="509829"/>
                  </a:lnTo>
                  <a:close/>
                  <a:moveTo>
                    <a:pt x="109710" y="393665"/>
                  </a:moveTo>
                  <a:lnTo>
                    <a:pt x="354945" y="496922"/>
                  </a:lnTo>
                  <a:lnTo>
                    <a:pt x="432387" y="109710"/>
                  </a:lnTo>
                  <a:lnTo>
                    <a:pt x="109710" y="3936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29" name="Freeform: Shape 3128">
              <a:extLst>
                <a:ext uri="{FF2B5EF4-FFF2-40B4-BE49-F238E27FC236}">
                  <a16:creationId xmlns:a16="http://schemas.microsoft.com/office/drawing/2014/main" id="{E9669A7D-D8C7-4E07-84B4-74DA8A8EA440}"/>
                </a:ext>
              </a:extLst>
            </p:cNvPr>
            <p:cNvSpPr/>
            <p:nvPr/>
          </p:nvSpPr>
          <p:spPr>
            <a:xfrm>
              <a:off x="8714969" y="2079217"/>
              <a:ext cx="516283" cy="516283"/>
            </a:xfrm>
            <a:custGeom>
              <a:avLst/>
              <a:gdLst>
                <a:gd name="connsiteX0" fmla="*/ 96803 w 516282"/>
                <a:gd name="connsiteY0" fmla="*/ 509829 h 516282"/>
                <a:gd name="connsiteX1" fmla="*/ 187152 w 516282"/>
                <a:gd name="connsiteY1" fmla="*/ 96803 h 516282"/>
                <a:gd name="connsiteX2" fmla="*/ 535642 w 516282"/>
                <a:gd name="connsiteY2" fmla="*/ 303316 h 516282"/>
                <a:gd name="connsiteX3" fmla="*/ 96803 w 516282"/>
                <a:gd name="connsiteY3" fmla="*/ 509829 h 516282"/>
                <a:gd name="connsiteX4" fmla="*/ 187152 w 516282"/>
                <a:gd name="connsiteY4" fmla="*/ 109710 h 516282"/>
                <a:gd name="connsiteX5" fmla="*/ 109710 w 516282"/>
                <a:gd name="connsiteY5" fmla="*/ 496922 h 516282"/>
                <a:gd name="connsiteX6" fmla="*/ 522736 w 516282"/>
                <a:gd name="connsiteY6" fmla="*/ 303316 h 516282"/>
                <a:gd name="connsiteX7" fmla="*/ 187152 w 516282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96803" y="509829"/>
                  </a:moveTo>
                  <a:lnTo>
                    <a:pt x="187152" y="96803"/>
                  </a:lnTo>
                  <a:lnTo>
                    <a:pt x="535642" y="303316"/>
                  </a:lnTo>
                  <a:lnTo>
                    <a:pt x="96803" y="509829"/>
                  </a:lnTo>
                  <a:close/>
                  <a:moveTo>
                    <a:pt x="187152" y="109710"/>
                  </a:moveTo>
                  <a:lnTo>
                    <a:pt x="109710" y="496922"/>
                  </a:lnTo>
                  <a:lnTo>
                    <a:pt x="522736" y="303316"/>
                  </a:lnTo>
                  <a:lnTo>
                    <a:pt x="187152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0" name="Freeform: Shape 3129">
              <a:extLst>
                <a:ext uri="{FF2B5EF4-FFF2-40B4-BE49-F238E27FC236}">
                  <a16:creationId xmlns:a16="http://schemas.microsoft.com/office/drawing/2014/main" id="{87F169A2-E3F8-44FB-AEC2-3A8EFE451F7C}"/>
                </a:ext>
              </a:extLst>
            </p:cNvPr>
            <p:cNvSpPr/>
            <p:nvPr/>
          </p:nvSpPr>
          <p:spPr>
            <a:xfrm>
              <a:off x="8714969" y="2285730"/>
              <a:ext cx="516283" cy="516283"/>
            </a:xfrm>
            <a:custGeom>
              <a:avLst/>
              <a:gdLst>
                <a:gd name="connsiteX0" fmla="*/ 342036 w 516282"/>
                <a:gd name="connsiteY0" fmla="*/ 522736 h 516282"/>
                <a:gd name="connsiteX1" fmla="*/ 96803 w 516282"/>
                <a:gd name="connsiteY1" fmla="*/ 303316 h 516282"/>
                <a:gd name="connsiteX2" fmla="*/ 96803 w 516282"/>
                <a:gd name="connsiteY2" fmla="*/ 303316 h 516282"/>
                <a:gd name="connsiteX3" fmla="*/ 522736 w 516282"/>
                <a:gd name="connsiteY3" fmla="*/ 96803 h 516282"/>
                <a:gd name="connsiteX4" fmla="*/ 342036 w 516282"/>
                <a:gd name="connsiteY4" fmla="*/ 522736 h 516282"/>
                <a:gd name="connsiteX5" fmla="*/ 109710 w 516282"/>
                <a:gd name="connsiteY5" fmla="*/ 303316 h 516282"/>
                <a:gd name="connsiteX6" fmla="*/ 342036 w 516282"/>
                <a:gd name="connsiteY6" fmla="*/ 509829 h 516282"/>
                <a:gd name="connsiteX7" fmla="*/ 522736 w 516282"/>
                <a:gd name="connsiteY7" fmla="*/ 109710 h 516282"/>
                <a:gd name="connsiteX8" fmla="*/ 109710 w 516282"/>
                <a:gd name="connsiteY8" fmla="*/ 303316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342036" y="522736"/>
                  </a:moveTo>
                  <a:lnTo>
                    <a:pt x="96803" y="303316"/>
                  </a:lnTo>
                  <a:lnTo>
                    <a:pt x="96803" y="303316"/>
                  </a:lnTo>
                  <a:lnTo>
                    <a:pt x="522736" y="96803"/>
                  </a:lnTo>
                  <a:lnTo>
                    <a:pt x="342036" y="522736"/>
                  </a:lnTo>
                  <a:close/>
                  <a:moveTo>
                    <a:pt x="109710" y="303316"/>
                  </a:moveTo>
                  <a:lnTo>
                    <a:pt x="342036" y="509829"/>
                  </a:lnTo>
                  <a:lnTo>
                    <a:pt x="522736" y="109710"/>
                  </a:lnTo>
                  <a:lnTo>
                    <a:pt x="109710" y="3033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1" name="Freeform: Shape 3130">
              <a:extLst>
                <a:ext uri="{FF2B5EF4-FFF2-40B4-BE49-F238E27FC236}">
                  <a16:creationId xmlns:a16="http://schemas.microsoft.com/office/drawing/2014/main" id="{12FDD503-B859-4CCD-8750-27CF49B73C69}"/>
                </a:ext>
              </a:extLst>
            </p:cNvPr>
            <p:cNvSpPr/>
            <p:nvPr/>
          </p:nvSpPr>
          <p:spPr>
            <a:xfrm>
              <a:off x="8792411" y="1846890"/>
              <a:ext cx="903495" cy="516283"/>
            </a:xfrm>
            <a:custGeom>
              <a:avLst/>
              <a:gdLst>
                <a:gd name="connsiteX0" fmla="*/ 445293 w 903494"/>
                <a:gd name="connsiteY0" fmla="*/ 535643 h 516282"/>
                <a:gd name="connsiteX1" fmla="*/ 96803 w 903494"/>
                <a:gd name="connsiteY1" fmla="*/ 329130 h 516282"/>
                <a:gd name="connsiteX2" fmla="*/ 806692 w 903494"/>
                <a:gd name="connsiteY2" fmla="*/ 96803 h 516282"/>
                <a:gd name="connsiteX3" fmla="*/ 445293 w 903494"/>
                <a:gd name="connsiteY3" fmla="*/ 535643 h 516282"/>
                <a:gd name="connsiteX4" fmla="*/ 109710 w 903494"/>
                <a:gd name="connsiteY4" fmla="*/ 342037 h 516282"/>
                <a:gd name="connsiteX5" fmla="*/ 432386 w 903494"/>
                <a:gd name="connsiteY5" fmla="*/ 535643 h 516282"/>
                <a:gd name="connsiteX6" fmla="*/ 780877 w 903494"/>
                <a:gd name="connsiteY6" fmla="*/ 122617 h 516282"/>
                <a:gd name="connsiteX7" fmla="*/ 109710 w 903494"/>
                <a:gd name="connsiteY7" fmla="*/ 34203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3494" h="516282">
                  <a:moveTo>
                    <a:pt x="445293" y="535643"/>
                  </a:moveTo>
                  <a:lnTo>
                    <a:pt x="96803" y="329130"/>
                  </a:lnTo>
                  <a:lnTo>
                    <a:pt x="806692" y="96803"/>
                  </a:lnTo>
                  <a:lnTo>
                    <a:pt x="445293" y="535643"/>
                  </a:lnTo>
                  <a:close/>
                  <a:moveTo>
                    <a:pt x="109710" y="342037"/>
                  </a:moveTo>
                  <a:lnTo>
                    <a:pt x="432386" y="535643"/>
                  </a:lnTo>
                  <a:lnTo>
                    <a:pt x="780877" y="122617"/>
                  </a:lnTo>
                  <a:lnTo>
                    <a:pt x="109710" y="3420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2" name="Freeform: Shape 3131">
              <a:extLst>
                <a:ext uri="{FF2B5EF4-FFF2-40B4-BE49-F238E27FC236}">
                  <a16:creationId xmlns:a16="http://schemas.microsoft.com/office/drawing/2014/main" id="{4219E3ED-CC5C-4EC4-95E5-57A774DED255}"/>
                </a:ext>
              </a:extLst>
            </p:cNvPr>
            <p:cNvSpPr/>
            <p:nvPr/>
          </p:nvSpPr>
          <p:spPr>
            <a:xfrm>
              <a:off x="9140901" y="1846890"/>
              <a:ext cx="516283" cy="774424"/>
            </a:xfrm>
            <a:custGeom>
              <a:avLst/>
              <a:gdLst>
                <a:gd name="connsiteX0" fmla="*/ 200060 w 516282"/>
                <a:gd name="connsiteY0" fmla="*/ 690528 h 774423"/>
                <a:gd name="connsiteX1" fmla="*/ 96803 w 516282"/>
                <a:gd name="connsiteY1" fmla="*/ 535643 h 774423"/>
                <a:gd name="connsiteX2" fmla="*/ 96803 w 516282"/>
                <a:gd name="connsiteY2" fmla="*/ 535643 h 774423"/>
                <a:gd name="connsiteX3" fmla="*/ 471108 w 516282"/>
                <a:gd name="connsiteY3" fmla="*/ 96803 h 774423"/>
                <a:gd name="connsiteX4" fmla="*/ 200060 w 516282"/>
                <a:gd name="connsiteY4" fmla="*/ 690528 h 774423"/>
                <a:gd name="connsiteX5" fmla="*/ 96803 w 516282"/>
                <a:gd name="connsiteY5" fmla="*/ 535643 h 774423"/>
                <a:gd name="connsiteX6" fmla="*/ 200060 w 516282"/>
                <a:gd name="connsiteY6" fmla="*/ 677621 h 774423"/>
                <a:gd name="connsiteX7" fmla="*/ 445294 w 516282"/>
                <a:gd name="connsiteY7" fmla="*/ 135524 h 774423"/>
                <a:gd name="connsiteX8" fmla="*/ 96803 w 516282"/>
                <a:gd name="connsiteY8" fmla="*/ 535643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774423">
                  <a:moveTo>
                    <a:pt x="200060" y="690528"/>
                  </a:moveTo>
                  <a:lnTo>
                    <a:pt x="96803" y="535643"/>
                  </a:lnTo>
                  <a:lnTo>
                    <a:pt x="96803" y="535643"/>
                  </a:lnTo>
                  <a:lnTo>
                    <a:pt x="471108" y="96803"/>
                  </a:lnTo>
                  <a:lnTo>
                    <a:pt x="200060" y="690528"/>
                  </a:lnTo>
                  <a:close/>
                  <a:moveTo>
                    <a:pt x="96803" y="535643"/>
                  </a:moveTo>
                  <a:lnTo>
                    <a:pt x="200060" y="677621"/>
                  </a:lnTo>
                  <a:lnTo>
                    <a:pt x="445294" y="135524"/>
                  </a:lnTo>
                  <a:lnTo>
                    <a:pt x="96803" y="53564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3" name="Freeform: Shape 3132">
              <a:extLst>
                <a:ext uri="{FF2B5EF4-FFF2-40B4-BE49-F238E27FC236}">
                  <a16:creationId xmlns:a16="http://schemas.microsoft.com/office/drawing/2014/main" id="{AB21F3AF-2084-4EA5-9893-7C13B3188EC3}"/>
                </a:ext>
              </a:extLst>
            </p:cNvPr>
            <p:cNvSpPr/>
            <p:nvPr/>
          </p:nvSpPr>
          <p:spPr>
            <a:xfrm>
              <a:off x="9231251" y="1859797"/>
              <a:ext cx="516283" cy="774424"/>
            </a:xfrm>
            <a:custGeom>
              <a:avLst/>
              <a:gdLst>
                <a:gd name="connsiteX0" fmla="*/ 522736 w 516282"/>
                <a:gd name="connsiteY0" fmla="*/ 729249 h 774423"/>
                <a:gd name="connsiteX1" fmla="*/ 96803 w 516282"/>
                <a:gd name="connsiteY1" fmla="*/ 677621 h 774423"/>
                <a:gd name="connsiteX2" fmla="*/ 96803 w 516282"/>
                <a:gd name="connsiteY2" fmla="*/ 677621 h 774423"/>
                <a:gd name="connsiteX3" fmla="*/ 354944 w 516282"/>
                <a:gd name="connsiteY3" fmla="*/ 96803 h 774423"/>
                <a:gd name="connsiteX4" fmla="*/ 522736 w 516282"/>
                <a:gd name="connsiteY4" fmla="*/ 729249 h 774423"/>
                <a:gd name="connsiteX5" fmla="*/ 109710 w 516282"/>
                <a:gd name="connsiteY5" fmla="*/ 664714 h 774423"/>
                <a:gd name="connsiteX6" fmla="*/ 509829 w 516282"/>
                <a:gd name="connsiteY6" fmla="*/ 716342 h 774423"/>
                <a:gd name="connsiteX7" fmla="*/ 354944 w 516282"/>
                <a:gd name="connsiteY7" fmla="*/ 96803 h 774423"/>
                <a:gd name="connsiteX8" fmla="*/ 109710 w 516282"/>
                <a:gd name="connsiteY8" fmla="*/ 664714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774423">
                  <a:moveTo>
                    <a:pt x="522736" y="729249"/>
                  </a:moveTo>
                  <a:lnTo>
                    <a:pt x="96803" y="677621"/>
                  </a:lnTo>
                  <a:lnTo>
                    <a:pt x="96803" y="677621"/>
                  </a:lnTo>
                  <a:lnTo>
                    <a:pt x="354944" y="96803"/>
                  </a:lnTo>
                  <a:lnTo>
                    <a:pt x="522736" y="729249"/>
                  </a:lnTo>
                  <a:close/>
                  <a:moveTo>
                    <a:pt x="109710" y="664714"/>
                  </a:moveTo>
                  <a:lnTo>
                    <a:pt x="509829" y="716342"/>
                  </a:lnTo>
                  <a:lnTo>
                    <a:pt x="354944" y="96803"/>
                  </a:lnTo>
                  <a:lnTo>
                    <a:pt x="109710" y="6647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4" name="Freeform: Shape 3133">
              <a:extLst>
                <a:ext uri="{FF2B5EF4-FFF2-40B4-BE49-F238E27FC236}">
                  <a16:creationId xmlns:a16="http://schemas.microsoft.com/office/drawing/2014/main" id="{B5979BED-859B-46CB-960B-9DB38B5646F5}"/>
                </a:ext>
              </a:extLst>
            </p:cNvPr>
            <p:cNvSpPr/>
            <p:nvPr/>
          </p:nvSpPr>
          <p:spPr>
            <a:xfrm>
              <a:off x="9502300" y="1859797"/>
              <a:ext cx="774424" cy="774424"/>
            </a:xfrm>
            <a:custGeom>
              <a:avLst/>
              <a:gdLst>
                <a:gd name="connsiteX0" fmla="*/ 251687 w 774423"/>
                <a:gd name="connsiteY0" fmla="*/ 729249 h 774423"/>
                <a:gd name="connsiteX1" fmla="*/ 96803 w 774423"/>
                <a:gd name="connsiteY1" fmla="*/ 96803 h 774423"/>
                <a:gd name="connsiteX2" fmla="*/ 742156 w 774423"/>
                <a:gd name="connsiteY2" fmla="*/ 342037 h 774423"/>
                <a:gd name="connsiteX3" fmla="*/ 251687 w 774423"/>
                <a:gd name="connsiteY3" fmla="*/ 729249 h 774423"/>
                <a:gd name="connsiteX4" fmla="*/ 96803 w 774423"/>
                <a:gd name="connsiteY4" fmla="*/ 109710 h 774423"/>
                <a:gd name="connsiteX5" fmla="*/ 251687 w 774423"/>
                <a:gd name="connsiteY5" fmla="*/ 729249 h 774423"/>
                <a:gd name="connsiteX6" fmla="*/ 716342 w 774423"/>
                <a:gd name="connsiteY6" fmla="*/ 342037 h 774423"/>
                <a:gd name="connsiteX7" fmla="*/ 96803 w 774423"/>
                <a:gd name="connsiteY7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774423">
                  <a:moveTo>
                    <a:pt x="251687" y="729249"/>
                  </a:moveTo>
                  <a:lnTo>
                    <a:pt x="96803" y="96803"/>
                  </a:lnTo>
                  <a:lnTo>
                    <a:pt x="742156" y="342037"/>
                  </a:lnTo>
                  <a:lnTo>
                    <a:pt x="251687" y="729249"/>
                  </a:lnTo>
                  <a:close/>
                  <a:moveTo>
                    <a:pt x="96803" y="109710"/>
                  </a:moveTo>
                  <a:lnTo>
                    <a:pt x="251687" y="729249"/>
                  </a:lnTo>
                  <a:lnTo>
                    <a:pt x="716342" y="342037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5" name="Freeform: Shape 3134">
              <a:extLst>
                <a:ext uri="{FF2B5EF4-FFF2-40B4-BE49-F238E27FC236}">
                  <a16:creationId xmlns:a16="http://schemas.microsoft.com/office/drawing/2014/main" id="{54A4D1A8-EDE8-4E11-88C0-0E0A571D9F32}"/>
                </a:ext>
              </a:extLst>
            </p:cNvPr>
            <p:cNvSpPr/>
            <p:nvPr/>
          </p:nvSpPr>
          <p:spPr>
            <a:xfrm>
              <a:off x="8714969" y="2479336"/>
              <a:ext cx="387212" cy="387212"/>
            </a:xfrm>
            <a:custGeom>
              <a:avLst/>
              <a:gdLst>
                <a:gd name="connsiteX0" fmla="*/ 200059 w 387211"/>
                <a:gd name="connsiteY0" fmla="*/ 393665 h 387211"/>
                <a:gd name="connsiteX1" fmla="*/ 96803 w 387211"/>
                <a:gd name="connsiteY1" fmla="*/ 96803 h 387211"/>
                <a:gd name="connsiteX2" fmla="*/ 342036 w 387211"/>
                <a:gd name="connsiteY2" fmla="*/ 316223 h 387211"/>
                <a:gd name="connsiteX3" fmla="*/ 200059 w 387211"/>
                <a:gd name="connsiteY3" fmla="*/ 393665 h 387211"/>
                <a:gd name="connsiteX4" fmla="*/ 109710 w 387211"/>
                <a:gd name="connsiteY4" fmla="*/ 122617 h 387211"/>
                <a:gd name="connsiteX5" fmla="*/ 212966 w 387211"/>
                <a:gd name="connsiteY5" fmla="*/ 393665 h 387211"/>
                <a:gd name="connsiteX6" fmla="*/ 342036 w 387211"/>
                <a:gd name="connsiteY6" fmla="*/ 329130 h 387211"/>
                <a:gd name="connsiteX7" fmla="*/ 109710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00059" y="393665"/>
                  </a:moveTo>
                  <a:lnTo>
                    <a:pt x="96803" y="96803"/>
                  </a:lnTo>
                  <a:lnTo>
                    <a:pt x="342036" y="316223"/>
                  </a:lnTo>
                  <a:lnTo>
                    <a:pt x="200059" y="393665"/>
                  </a:lnTo>
                  <a:close/>
                  <a:moveTo>
                    <a:pt x="109710" y="122617"/>
                  </a:moveTo>
                  <a:lnTo>
                    <a:pt x="212966" y="393665"/>
                  </a:lnTo>
                  <a:lnTo>
                    <a:pt x="342036" y="329130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6" name="Freeform: Shape 3135">
              <a:extLst>
                <a:ext uri="{FF2B5EF4-FFF2-40B4-BE49-F238E27FC236}">
                  <a16:creationId xmlns:a16="http://schemas.microsoft.com/office/drawing/2014/main" id="{82631F95-DC8C-46A6-ADEA-16E8836E8BB4}"/>
                </a:ext>
              </a:extLst>
            </p:cNvPr>
            <p:cNvSpPr/>
            <p:nvPr/>
          </p:nvSpPr>
          <p:spPr>
            <a:xfrm>
              <a:off x="8766596" y="2814920"/>
              <a:ext cx="516283" cy="645353"/>
            </a:xfrm>
            <a:custGeom>
              <a:avLst/>
              <a:gdLst>
                <a:gd name="connsiteX0" fmla="*/ 187153 w 516282"/>
                <a:gd name="connsiteY0" fmla="*/ 587271 h 645353"/>
                <a:gd name="connsiteX1" fmla="*/ 96803 w 516282"/>
                <a:gd name="connsiteY1" fmla="*/ 122617 h 645353"/>
                <a:gd name="connsiteX2" fmla="*/ 509830 w 516282"/>
                <a:gd name="connsiteY2" fmla="*/ 96803 h 645353"/>
                <a:gd name="connsiteX3" fmla="*/ 509830 w 516282"/>
                <a:gd name="connsiteY3" fmla="*/ 96803 h 645353"/>
                <a:gd name="connsiteX4" fmla="*/ 187153 w 516282"/>
                <a:gd name="connsiteY4" fmla="*/ 587271 h 645353"/>
                <a:gd name="connsiteX5" fmla="*/ 96803 w 516282"/>
                <a:gd name="connsiteY5" fmla="*/ 122617 h 645353"/>
                <a:gd name="connsiteX6" fmla="*/ 187153 w 516282"/>
                <a:gd name="connsiteY6" fmla="*/ 574364 h 645353"/>
                <a:gd name="connsiteX7" fmla="*/ 484015 w 516282"/>
                <a:gd name="connsiteY7" fmla="*/ 96803 h 645353"/>
                <a:gd name="connsiteX8" fmla="*/ 96803 w 516282"/>
                <a:gd name="connsiteY8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187153" y="587271"/>
                  </a:moveTo>
                  <a:lnTo>
                    <a:pt x="96803" y="122617"/>
                  </a:lnTo>
                  <a:lnTo>
                    <a:pt x="509830" y="96803"/>
                  </a:lnTo>
                  <a:lnTo>
                    <a:pt x="509830" y="96803"/>
                  </a:lnTo>
                  <a:lnTo>
                    <a:pt x="187153" y="587271"/>
                  </a:lnTo>
                  <a:close/>
                  <a:moveTo>
                    <a:pt x="96803" y="122617"/>
                  </a:moveTo>
                  <a:lnTo>
                    <a:pt x="187153" y="574364"/>
                  </a:lnTo>
                  <a:lnTo>
                    <a:pt x="484015" y="96803"/>
                  </a:lnTo>
                  <a:lnTo>
                    <a:pt x="96803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7" name="Freeform: Shape 3136">
              <a:extLst>
                <a:ext uri="{FF2B5EF4-FFF2-40B4-BE49-F238E27FC236}">
                  <a16:creationId xmlns:a16="http://schemas.microsoft.com/office/drawing/2014/main" id="{929C1F46-D5BC-4ADF-ABFE-E286032FF5C8}"/>
                </a:ext>
              </a:extLst>
            </p:cNvPr>
            <p:cNvSpPr/>
            <p:nvPr/>
          </p:nvSpPr>
          <p:spPr>
            <a:xfrm>
              <a:off x="8418106" y="2956897"/>
              <a:ext cx="387212" cy="645353"/>
            </a:xfrm>
            <a:custGeom>
              <a:avLst/>
              <a:gdLst>
                <a:gd name="connsiteX0" fmla="*/ 96803 w 387211"/>
                <a:gd name="connsiteY0" fmla="*/ 587271 h 645353"/>
                <a:gd name="connsiteX1" fmla="*/ 148431 w 387211"/>
                <a:gd name="connsiteY1" fmla="*/ 96803 h 645353"/>
                <a:gd name="connsiteX2" fmla="*/ 303316 w 387211"/>
                <a:gd name="connsiteY2" fmla="*/ 548550 h 645353"/>
                <a:gd name="connsiteX3" fmla="*/ 96803 w 387211"/>
                <a:gd name="connsiteY3" fmla="*/ 587271 h 645353"/>
                <a:gd name="connsiteX4" fmla="*/ 148431 w 387211"/>
                <a:gd name="connsiteY4" fmla="*/ 109710 h 645353"/>
                <a:gd name="connsiteX5" fmla="*/ 96803 w 387211"/>
                <a:gd name="connsiteY5" fmla="*/ 574364 h 645353"/>
                <a:gd name="connsiteX6" fmla="*/ 290409 w 387211"/>
                <a:gd name="connsiteY6" fmla="*/ 535643 h 645353"/>
                <a:gd name="connsiteX7" fmla="*/ 148431 w 387211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96803" y="587271"/>
                  </a:moveTo>
                  <a:lnTo>
                    <a:pt x="148431" y="96803"/>
                  </a:lnTo>
                  <a:lnTo>
                    <a:pt x="303316" y="548550"/>
                  </a:lnTo>
                  <a:lnTo>
                    <a:pt x="96803" y="587271"/>
                  </a:lnTo>
                  <a:close/>
                  <a:moveTo>
                    <a:pt x="148431" y="109710"/>
                  </a:moveTo>
                  <a:lnTo>
                    <a:pt x="96803" y="574364"/>
                  </a:lnTo>
                  <a:lnTo>
                    <a:pt x="290409" y="535643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8" name="Freeform: Shape 3137">
              <a:extLst>
                <a:ext uri="{FF2B5EF4-FFF2-40B4-BE49-F238E27FC236}">
                  <a16:creationId xmlns:a16="http://schemas.microsoft.com/office/drawing/2014/main" id="{868E4D2B-C2E9-4E6E-95E8-F38CB5522318}"/>
                </a:ext>
              </a:extLst>
            </p:cNvPr>
            <p:cNvSpPr/>
            <p:nvPr/>
          </p:nvSpPr>
          <p:spPr>
            <a:xfrm>
              <a:off x="8456827" y="2943990"/>
              <a:ext cx="387212" cy="645353"/>
            </a:xfrm>
            <a:custGeom>
              <a:avLst/>
              <a:gdLst>
                <a:gd name="connsiteX0" fmla="*/ 251688 w 387211"/>
                <a:gd name="connsiteY0" fmla="*/ 561457 h 645353"/>
                <a:gd name="connsiteX1" fmla="*/ 251688 w 387211"/>
                <a:gd name="connsiteY1" fmla="*/ 561457 h 645353"/>
                <a:gd name="connsiteX2" fmla="*/ 96803 w 387211"/>
                <a:gd name="connsiteY2" fmla="*/ 96803 h 645353"/>
                <a:gd name="connsiteX3" fmla="*/ 406572 w 387211"/>
                <a:gd name="connsiteY3" fmla="*/ 522736 h 645353"/>
                <a:gd name="connsiteX4" fmla="*/ 251688 w 387211"/>
                <a:gd name="connsiteY4" fmla="*/ 561457 h 645353"/>
                <a:gd name="connsiteX5" fmla="*/ 109710 w 387211"/>
                <a:gd name="connsiteY5" fmla="*/ 135524 h 645353"/>
                <a:gd name="connsiteX6" fmla="*/ 251688 w 387211"/>
                <a:gd name="connsiteY6" fmla="*/ 548550 h 645353"/>
                <a:gd name="connsiteX7" fmla="*/ 393665 w 387211"/>
                <a:gd name="connsiteY7" fmla="*/ 522736 h 645353"/>
                <a:gd name="connsiteX8" fmla="*/ 109710 w 387211"/>
                <a:gd name="connsiteY8" fmla="*/ 135524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645353">
                  <a:moveTo>
                    <a:pt x="251688" y="561457"/>
                  </a:moveTo>
                  <a:lnTo>
                    <a:pt x="251688" y="561457"/>
                  </a:lnTo>
                  <a:lnTo>
                    <a:pt x="96803" y="96803"/>
                  </a:lnTo>
                  <a:lnTo>
                    <a:pt x="406572" y="522736"/>
                  </a:lnTo>
                  <a:lnTo>
                    <a:pt x="251688" y="561457"/>
                  </a:lnTo>
                  <a:close/>
                  <a:moveTo>
                    <a:pt x="109710" y="135524"/>
                  </a:moveTo>
                  <a:lnTo>
                    <a:pt x="251688" y="548550"/>
                  </a:lnTo>
                  <a:lnTo>
                    <a:pt x="393665" y="522736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39" name="Freeform: Shape 3138">
              <a:extLst>
                <a:ext uri="{FF2B5EF4-FFF2-40B4-BE49-F238E27FC236}">
                  <a16:creationId xmlns:a16="http://schemas.microsoft.com/office/drawing/2014/main" id="{035A8027-1142-443B-A9F4-8CD971349188}"/>
                </a:ext>
              </a:extLst>
            </p:cNvPr>
            <p:cNvSpPr/>
            <p:nvPr/>
          </p:nvSpPr>
          <p:spPr>
            <a:xfrm>
              <a:off x="8443920" y="2943990"/>
              <a:ext cx="516283" cy="516283"/>
            </a:xfrm>
            <a:custGeom>
              <a:avLst/>
              <a:gdLst>
                <a:gd name="connsiteX0" fmla="*/ 406572 w 516282"/>
                <a:gd name="connsiteY0" fmla="*/ 522736 h 516282"/>
                <a:gd name="connsiteX1" fmla="*/ 96803 w 516282"/>
                <a:gd name="connsiteY1" fmla="*/ 96803 h 516282"/>
                <a:gd name="connsiteX2" fmla="*/ 509829 w 516282"/>
                <a:gd name="connsiteY2" fmla="*/ 458201 h 516282"/>
                <a:gd name="connsiteX3" fmla="*/ 406572 w 516282"/>
                <a:gd name="connsiteY3" fmla="*/ 522736 h 516282"/>
                <a:gd name="connsiteX4" fmla="*/ 135524 w 516282"/>
                <a:gd name="connsiteY4" fmla="*/ 135524 h 516282"/>
                <a:gd name="connsiteX5" fmla="*/ 419479 w 516282"/>
                <a:gd name="connsiteY5" fmla="*/ 522736 h 516282"/>
                <a:gd name="connsiteX6" fmla="*/ 509829 w 516282"/>
                <a:gd name="connsiteY6" fmla="*/ 458201 h 516282"/>
                <a:gd name="connsiteX7" fmla="*/ 135524 w 516282"/>
                <a:gd name="connsiteY7" fmla="*/ 13552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406572" y="522736"/>
                  </a:moveTo>
                  <a:lnTo>
                    <a:pt x="96803" y="96803"/>
                  </a:lnTo>
                  <a:lnTo>
                    <a:pt x="509829" y="458201"/>
                  </a:lnTo>
                  <a:lnTo>
                    <a:pt x="406572" y="522736"/>
                  </a:lnTo>
                  <a:close/>
                  <a:moveTo>
                    <a:pt x="135524" y="135524"/>
                  </a:moveTo>
                  <a:lnTo>
                    <a:pt x="419479" y="522736"/>
                  </a:lnTo>
                  <a:lnTo>
                    <a:pt x="509829" y="458201"/>
                  </a:lnTo>
                  <a:lnTo>
                    <a:pt x="135524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0" name="Freeform: Shape 3139">
              <a:extLst>
                <a:ext uri="{FF2B5EF4-FFF2-40B4-BE49-F238E27FC236}">
                  <a16:creationId xmlns:a16="http://schemas.microsoft.com/office/drawing/2014/main" id="{5C489FB6-4F54-44AB-8AFD-C8880F9EE410}"/>
                </a:ext>
              </a:extLst>
            </p:cNvPr>
            <p:cNvSpPr/>
            <p:nvPr/>
          </p:nvSpPr>
          <p:spPr>
            <a:xfrm>
              <a:off x="8456827" y="2840734"/>
              <a:ext cx="516283" cy="645353"/>
            </a:xfrm>
            <a:custGeom>
              <a:avLst/>
              <a:gdLst>
                <a:gd name="connsiteX0" fmla="*/ 496922 w 516282"/>
                <a:gd name="connsiteY0" fmla="*/ 561457 h 645353"/>
                <a:gd name="connsiteX1" fmla="*/ 96803 w 516282"/>
                <a:gd name="connsiteY1" fmla="*/ 212967 h 645353"/>
                <a:gd name="connsiteX2" fmla="*/ 406572 w 516282"/>
                <a:gd name="connsiteY2" fmla="*/ 96803 h 645353"/>
                <a:gd name="connsiteX3" fmla="*/ 496922 w 516282"/>
                <a:gd name="connsiteY3" fmla="*/ 561457 h 645353"/>
                <a:gd name="connsiteX4" fmla="*/ 109710 w 516282"/>
                <a:gd name="connsiteY4" fmla="*/ 212967 h 645353"/>
                <a:gd name="connsiteX5" fmla="*/ 496922 w 516282"/>
                <a:gd name="connsiteY5" fmla="*/ 548550 h 645353"/>
                <a:gd name="connsiteX6" fmla="*/ 406572 w 516282"/>
                <a:gd name="connsiteY6" fmla="*/ 109710 h 645353"/>
                <a:gd name="connsiteX7" fmla="*/ 109710 w 516282"/>
                <a:gd name="connsiteY7" fmla="*/ 21296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496922" y="561457"/>
                  </a:moveTo>
                  <a:lnTo>
                    <a:pt x="96803" y="212967"/>
                  </a:lnTo>
                  <a:lnTo>
                    <a:pt x="406572" y="96803"/>
                  </a:lnTo>
                  <a:lnTo>
                    <a:pt x="496922" y="561457"/>
                  </a:lnTo>
                  <a:close/>
                  <a:moveTo>
                    <a:pt x="109710" y="212967"/>
                  </a:moveTo>
                  <a:lnTo>
                    <a:pt x="496922" y="548550"/>
                  </a:lnTo>
                  <a:lnTo>
                    <a:pt x="406572" y="109710"/>
                  </a:lnTo>
                  <a:lnTo>
                    <a:pt x="109710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1" name="Freeform: Shape 3140">
              <a:extLst>
                <a:ext uri="{FF2B5EF4-FFF2-40B4-BE49-F238E27FC236}">
                  <a16:creationId xmlns:a16="http://schemas.microsoft.com/office/drawing/2014/main" id="{A35133F4-4EC0-4133-872B-FD19FAE9B73C}"/>
                </a:ext>
              </a:extLst>
            </p:cNvPr>
            <p:cNvSpPr/>
            <p:nvPr/>
          </p:nvSpPr>
          <p:spPr>
            <a:xfrm>
              <a:off x="8030894" y="3150503"/>
              <a:ext cx="516283" cy="516283"/>
            </a:xfrm>
            <a:custGeom>
              <a:avLst/>
              <a:gdLst>
                <a:gd name="connsiteX0" fmla="*/ 419480 w 516282"/>
                <a:gd name="connsiteY0" fmla="*/ 522736 h 516282"/>
                <a:gd name="connsiteX1" fmla="*/ 96803 w 516282"/>
                <a:gd name="connsiteY1" fmla="*/ 96803 h 516282"/>
                <a:gd name="connsiteX2" fmla="*/ 484015 w 516282"/>
                <a:gd name="connsiteY2" fmla="*/ 393665 h 516282"/>
                <a:gd name="connsiteX3" fmla="*/ 419480 w 516282"/>
                <a:gd name="connsiteY3" fmla="*/ 522736 h 516282"/>
                <a:gd name="connsiteX4" fmla="*/ 135524 w 516282"/>
                <a:gd name="connsiteY4" fmla="*/ 122617 h 516282"/>
                <a:gd name="connsiteX5" fmla="*/ 432386 w 516282"/>
                <a:gd name="connsiteY5" fmla="*/ 509829 h 516282"/>
                <a:gd name="connsiteX6" fmla="*/ 496922 w 516282"/>
                <a:gd name="connsiteY6" fmla="*/ 380758 h 516282"/>
                <a:gd name="connsiteX7" fmla="*/ 135524 w 516282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419480" y="522736"/>
                  </a:moveTo>
                  <a:lnTo>
                    <a:pt x="96803" y="96803"/>
                  </a:lnTo>
                  <a:lnTo>
                    <a:pt x="484015" y="393665"/>
                  </a:lnTo>
                  <a:lnTo>
                    <a:pt x="419480" y="522736"/>
                  </a:lnTo>
                  <a:close/>
                  <a:moveTo>
                    <a:pt x="135524" y="122617"/>
                  </a:moveTo>
                  <a:lnTo>
                    <a:pt x="432386" y="509829"/>
                  </a:lnTo>
                  <a:lnTo>
                    <a:pt x="496922" y="380758"/>
                  </a:lnTo>
                  <a:lnTo>
                    <a:pt x="135524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2" name="Freeform: Shape 3141">
              <a:extLst>
                <a:ext uri="{FF2B5EF4-FFF2-40B4-BE49-F238E27FC236}">
                  <a16:creationId xmlns:a16="http://schemas.microsoft.com/office/drawing/2014/main" id="{65A2E8C0-3221-4279-913A-E69FB587D60C}"/>
                </a:ext>
              </a:extLst>
            </p:cNvPr>
            <p:cNvSpPr/>
            <p:nvPr/>
          </p:nvSpPr>
          <p:spPr>
            <a:xfrm>
              <a:off x="7746938" y="3434459"/>
              <a:ext cx="774424" cy="258141"/>
            </a:xfrm>
            <a:custGeom>
              <a:avLst/>
              <a:gdLst>
                <a:gd name="connsiteX0" fmla="*/ 716342 w 774423"/>
                <a:gd name="connsiteY0" fmla="*/ 238781 h 258141"/>
                <a:gd name="connsiteX1" fmla="*/ 96803 w 774423"/>
                <a:gd name="connsiteY1" fmla="*/ 96803 h 258141"/>
                <a:gd name="connsiteX2" fmla="*/ 496922 w 774423"/>
                <a:gd name="connsiteY2" fmla="*/ 96803 h 258141"/>
                <a:gd name="connsiteX3" fmla="*/ 716342 w 774423"/>
                <a:gd name="connsiteY3" fmla="*/ 238781 h 258141"/>
                <a:gd name="connsiteX4" fmla="*/ 161338 w 774423"/>
                <a:gd name="connsiteY4" fmla="*/ 96803 h 258141"/>
                <a:gd name="connsiteX5" fmla="*/ 690528 w 774423"/>
                <a:gd name="connsiteY5" fmla="*/ 225874 h 258141"/>
                <a:gd name="connsiteX6" fmla="*/ 496922 w 774423"/>
                <a:gd name="connsiteY6" fmla="*/ 96803 h 258141"/>
                <a:gd name="connsiteX7" fmla="*/ 161338 w 774423"/>
                <a:gd name="connsiteY7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258141">
                  <a:moveTo>
                    <a:pt x="716342" y="238781"/>
                  </a:moveTo>
                  <a:lnTo>
                    <a:pt x="96803" y="96803"/>
                  </a:lnTo>
                  <a:lnTo>
                    <a:pt x="496922" y="96803"/>
                  </a:lnTo>
                  <a:lnTo>
                    <a:pt x="716342" y="238781"/>
                  </a:lnTo>
                  <a:close/>
                  <a:moveTo>
                    <a:pt x="161338" y="96803"/>
                  </a:moveTo>
                  <a:lnTo>
                    <a:pt x="690528" y="225874"/>
                  </a:lnTo>
                  <a:lnTo>
                    <a:pt x="496922" y="96803"/>
                  </a:lnTo>
                  <a:lnTo>
                    <a:pt x="161338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3" name="Freeform: Shape 3142">
              <a:extLst>
                <a:ext uri="{FF2B5EF4-FFF2-40B4-BE49-F238E27FC236}">
                  <a16:creationId xmlns:a16="http://schemas.microsoft.com/office/drawing/2014/main" id="{F897CD55-164D-4F4C-8DA3-B9CDB6C59FE1}"/>
                </a:ext>
              </a:extLst>
            </p:cNvPr>
            <p:cNvSpPr/>
            <p:nvPr/>
          </p:nvSpPr>
          <p:spPr>
            <a:xfrm>
              <a:off x="7772753" y="3434459"/>
              <a:ext cx="774424" cy="516283"/>
            </a:xfrm>
            <a:custGeom>
              <a:avLst/>
              <a:gdLst>
                <a:gd name="connsiteX0" fmla="*/ 484015 w 774423"/>
                <a:gd name="connsiteY0" fmla="*/ 458201 h 516282"/>
                <a:gd name="connsiteX1" fmla="*/ 484015 w 774423"/>
                <a:gd name="connsiteY1" fmla="*/ 458201 h 516282"/>
                <a:gd name="connsiteX2" fmla="*/ 96803 w 774423"/>
                <a:gd name="connsiteY2" fmla="*/ 96803 h 516282"/>
                <a:gd name="connsiteX3" fmla="*/ 690528 w 774423"/>
                <a:gd name="connsiteY3" fmla="*/ 238781 h 516282"/>
                <a:gd name="connsiteX4" fmla="*/ 484015 w 774423"/>
                <a:gd name="connsiteY4" fmla="*/ 458201 h 516282"/>
                <a:gd name="connsiteX5" fmla="*/ 109710 w 774423"/>
                <a:gd name="connsiteY5" fmla="*/ 109710 h 516282"/>
                <a:gd name="connsiteX6" fmla="*/ 484015 w 774423"/>
                <a:gd name="connsiteY6" fmla="*/ 458201 h 516282"/>
                <a:gd name="connsiteX7" fmla="*/ 664714 w 774423"/>
                <a:gd name="connsiteY7" fmla="*/ 238781 h 516282"/>
                <a:gd name="connsiteX8" fmla="*/ 109710 w 774423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516282">
                  <a:moveTo>
                    <a:pt x="484015" y="458201"/>
                  </a:moveTo>
                  <a:lnTo>
                    <a:pt x="484015" y="458201"/>
                  </a:lnTo>
                  <a:lnTo>
                    <a:pt x="96803" y="96803"/>
                  </a:lnTo>
                  <a:lnTo>
                    <a:pt x="690528" y="238781"/>
                  </a:lnTo>
                  <a:lnTo>
                    <a:pt x="484015" y="458201"/>
                  </a:lnTo>
                  <a:close/>
                  <a:moveTo>
                    <a:pt x="109710" y="109710"/>
                  </a:moveTo>
                  <a:lnTo>
                    <a:pt x="484015" y="458201"/>
                  </a:lnTo>
                  <a:lnTo>
                    <a:pt x="664714" y="238781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4" name="Freeform: Shape 3143">
              <a:extLst>
                <a:ext uri="{FF2B5EF4-FFF2-40B4-BE49-F238E27FC236}">
                  <a16:creationId xmlns:a16="http://schemas.microsoft.com/office/drawing/2014/main" id="{4DDC28BE-103E-4C8B-B468-0CE8054153B6}"/>
                </a:ext>
              </a:extLst>
            </p:cNvPr>
            <p:cNvSpPr/>
            <p:nvPr/>
          </p:nvSpPr>
          <p:spPr>
            <a:xfrm>
              <a:off x="7772753" y="3421552"/>
              <a:ext cx="516283" cy="645353"/>
            </a:xfrm>
            <a:custGeom>
              <a:avLst/>
              <a:gdLst>
                <a:gd name="connsiteX0" fmla="*/ 238781 w 516282"/>
                <a:gd name="connsiteY0" fmla="*/ 561457 h 645353"/>
                <a:gd name="connsiteX1" fmla="*/ 238781 w 516282"/>
                <a:gd name="connsiteY1" fmla="*/ 561457 h 645353"/>
                <a:gd name="connsiteX2" fmla="*/ 96803 w 516282"/>
                <a:gd name="connsiteY2" fmla="*/ 96803 h 645353"/>
                <a:gd name="connsiteX3" fmla="*/ 496922 w 516282"/>
                <a:gd name="connsiteY3" fmla="*/ 471108 h 645353"/>
                <a:gd name="connsiteX4" fmla="*/ 238781 w 516282"/>
                <a:gd name="connsiteY4" fmla="*/ 561457 h 645353"/>
                <a:gd name="connsiteX5" fmla="*/ 109710 w 516282"/>
                <a:gd name="connsiteY5" fmla="*/ 122617 h 645353"/>
                <a:gd name="connsiteX6" fmla="*/ 238781 w 516282"/>
                <a:gd name="connsiteY6" fmla="*/ 548550 h 645353"/>
                <a:gd name="connsiteX7" fmla="*/ 484015 w 516282"/>
                <a:gd name="connsiteY7" fmla="*/ 471108 h 645353"/>
                <a:gd name="connsiteX8" fmla="*/ 109710 w 516282"/>
                <a:gd name="connsiteY8" fmla="*/ 12261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238781" y="561457"/>
                  </a:moveTo>
                  <a:lnTo>
                    <a:pt x="238781" y="561457"/>
                  </a:lnTo>
                  <a:lnTo>
                    <a:pt x="96803" y="96803"/>
                  </a:lnTo>
                  <a:lnTo>
                    <a:pt x="496922" y="471108"/>
                  </a:lnTo>
                  <a:lnTo>
                    <a:pt x="238781" y="561457"/>
                  </a:lnTo>
                  <a:close/>
                  <a:moveTo>
                    <a:pt x="109710" y="122617"/>
                  </a:moveTo>
                  <a:lnTo>
                    <a:pt x="238781" y="548550"/>
                  </a:lnTo>
                  <a:lnTo>
                    <a:pt x="484015" y="471108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5" name="Freeform: Shape 3144">
              <a:extLst>
                <a:ext uri="{FF2B5EF4-FFF2-40B4-BE49-F238E27FC236}">
                  <a16:creationId xmlns:a16="http://schemas.microsoft.com/office/drawing/2014/main" id="{0BB65A24-63B8-4DF5-8260-AE5D4099783B}"/>
                </a:ext>
              </a:extLst>
            </p:cNvPr>
            <p:cNvSpPr/>
            <p:nvPr/>
          </p:nvSpPr>
          <p:spPr>
            <a:xfrm>
              <a:off x="8043801" y="2943990"/>
              <a:ext cx="516283" cy="645353"/>
            </a:xfrm>
            <a:custGeom>
              <a:avLst/>
              <a:gdLst>
                <a:gd name="connsiteX0" fmla="*/ 471108 w 516282"/>
                <a:gd name="connsiteY0" fmla="*/ 600178 h 645353"/>
                <a:gd name="connsiteX1" fmla="*/ 96803 w 516282"/>
                <a:gd name="connsiteY1" fmla="*/ 316223 h 645353"/>
                <a:gd name="connsiteX2" fmla="*/ 342037 w 516282"/>
                <a:gd name="connsiteY2" fmla="*/ 96803 h 645353"/>
                <a:gd name="connsiteX3" fmla="*/ 471108 w 516282"/>
                <a:gd name="connsiteY3" fmla="*/ 600178 h 645353"/>
                <a:gd name="connsiteX4" fmla="*/ 109710 w 516282"/>
                <a:gd name="connsiteY4" fmla="*/ 316223 h 645353"/>
                <a:gd name="connsiteX5" fmla="*/ 471108 w 516282"/>
                <a:gd name="connsiteY5" fmla="*/ 587271 h 645353"/>
                <a:gd name="connsiteX6" fmla="*/ 342037 w 516282"/>
                <a:gd name="connsiteY6" fmla="*/ 109710 h 645353"/>
                <a:gd name="connsiteX7" fmla="*/ 109710 w 516282"/>
                <a:gd name="connsiteY7" fmla="*/ 31622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471108" y="600178"/>
                  </a:moveTo>
                  <a:lnTo>
                    <a:pt x="96803" y="316223"/>
                  </a:lnTo>
                  <a:lnTo>
                    <a:pt x="342037" y="96803"/>
                  </a:lnTo>
                  <a:lnTo>
                    <a:pt x="471108" y="600178"/>
                  </a:lnTo>
                  <a:close/>
                  <a:moveTo>
                    <a:pt x="109710" y="316223"/>
                  </a:moveTo>
                  <a:lnTo>
                    <a:pt x="471108" y="587271"/>
                  </a:lnTo>
                  <a:lnTo>
                    <a:pt x="342037" y="109710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6" name="Freeform: Shape 3145">
              <a:extLst>
                <a:ext uri="{FF2B5EF4-FFF2-40B4-BE49-F238E27FC236}">
                  <a16:creationId xmlns:a16="http://schemas.microsoft.com/office/drawing/2014/main" id="{4C0302A9-82CE-4ACD-B7F8-73221A399B2F}"/>
                </a:ext>
              </a:extLst>
            </p:cNvPr>
            <p:cNvSpPr/>
            <p:nvPr/>
          </p:nvSpPr>
          <p:spPr>
            <a:xfrm>
              <a:off x="8289035" y="2956897"/>
              <a:ext cx="258141" cy="645353"/>
            </a:xfrm>
            <a:custGeom>
              <a:avLst/>
              <a:gdLst>
                <a:gd name="connsiteX0" fmla="*/ 225874 w 258141"/>
                <a:gd name="connsiteY0" fmla="*/ 600178 h 645353"/>
                <a:gd name="connsiteX1" fmla="*/ 96803 w 258141"/>
                <a:gd name="connsiteY1" fmla="*/ 96803 h 645353"/>
                <a:gd name="connsiteX2" fmla="*/ 277502 w 258141"/>
                <a:gd name="connsiteY2" fmla="*/ 109710 h 645353"/>
                <a:gd name="connsiteX3" fmla="*/ 225874 w 258141"/>
                <a:gd name="connsiteY3" fmla="*/ 600178 h 645353"/>
                <a:gd name="connsiteX4" fmla="*/ 109710 w 258141"/>
                <a:gd name="connsiteY4" fmla="*/ 96803 h 645353"/>
                <a:gd name="connsiteX5" fmla="*/ 225874 w 258141"/>
                <a:gd name="connsiteY5" fmla="*/ 561457 h 645353"/>
                <a:gd name="connsiteX6" fmla="*/ 264595 w 258141"/>
                <a:gd name="connsiteY6" fmla="*/ 109710 h 645353"/>
                <a:gd name="connsiteX7" fmla="*/ 109710 w 258141"/>
                <a:gd name="connsiteY7" fmla="*/ 9680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645353">
                  <a:moveTo>
                    <a:pt x="225874" y="600178"/>
                  </a:moveTo>
                  <a:lnTo>
                    <a:pt x="96803" y="96803"/>
                  </a:lnTo>
                  <a:lnTo>
                    <a:pt x="277502" y="109710"/>
                  </a:lnTo>
                  <a:lnTo>
                    <a:pt x="225874" y="600178"/>
                  </a:lnTo>
                  <a:close/>
                  <a:moveTo>
                    <a:pt x="109710" y="96803"/>
                  </a:moveTo>
                  <a:lnTo>
                    <a:pt x="225874" y="561457"/>
                  </a:lnTo>
                  <a:lnTo>
                    <a:pt x="264595" y="109710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7" name="Freeform: Shape 3146">
              <a:extLst>
                <a:ext uri="{FF2B5EF4-FFF2-40B4-BE49-F238E27FC236}">
                  <a16:creationId xmlns:a16="http://schemas.microsoft.com/office/drawing/2014/main" id="{B3711C39-B0BE-4E0C-9C7E-DE4E7A2B0CF7}"/>
                </a:ext>
              </a:extLst>
            </p:cNvPr>
            <p:cNvSpPr/>
            <p:nvPr/>
          </p:nvSpPr>
          <p:spPr>
            <a:xfrm>
              <a:off x="8017987" y="2750384"/>
              <a:ext cx="387212" cy="387212"/>
            </a:xfrm>
            <a:custGeom>
              <a:avLst/>
              <a:gdLst>
                <a:gd name="connsiteX0" fmla="*/ 380758 w 387211"/>
                <a:gd name="connsiteY0" fmla="*/ 303316 h 387211"/>
                <a:gd name="connsiteX1" fmla="*/ 96803 w 387211"/>
                <a:gd name="connsiteY1" fmla="*/ 148431 h 387211"/>
                <a:gd name="connsiteX2" fmla="*/ 238781 w 387211"/>
                <a:gd name="connsiteY2" fmla="*/ 96803 h 387211"/>
                <a:gd name="connsiteX3" fmla="*/ 380758 w 387211"/>
                <a:gd name="connsiteY3" fmla="*/ 303316 h 387211"/>
                <a:gd name="connsiteX4" fmla="*/ 122617 w 387211"/>
                <a:gd name="connsiteY4" fmla="*/ 161338 h 387211"/>
                <a:gd name="connsiteX5" fmla="*/ 367851 w 387211"/>
                <a:gd name="connsiteY5" fmla="*/ 290409 h 387211"/>
                <a:gd name="connsiteX6" fmla="*/ 238781 w 387211"/>
                <a:gd name="connsiteY6" fmla="*/ 109710 h 387211"/>
                <a:gd name="connsiteX7" fmla="*/ 122617 w 387211"/>
                <a:gd name="connsiteY7" fmla="*/ 16133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80758" y="303316"/>
                  </a:moveTo>
                  <a:lnTo>
                    <a:pt x="96803" y="148431"/>
                  </a:lnTo>
                  <a:lnTo>
                    <a:pt x="238781" y="96803"/>
                  </a:lnTo>
                  <a:lnTo>
                    <a:pt x="380758" y="303316"/>
                  </a:lnTo>
                  <a:close/>
                  <a:moveTo>
                    <a:pt x="122617" y="161338"/>
                  </a:moveTo>
                  <a:lnTo>
                    <a:pt x="367851" y="290409"/>
                  </a:lnTo>
                  <a:lnTo>
                    <a:pt x="238781" y="109710"/>
                  </a:lnTo>
                  <a:lnTo>
                    <a:pt x="122617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8" name="Freeform: Shape 3147">
              <a:extLst>
                <a:ext uri="{FF2B5EF4-FFF2-40B4-BE49-F238E27FC236}">
                  <a16:creationId xmlns:a16="http://schemas.microsoft.com/office/drawing/2014/main" id="{7778D903-0671-4AAB-9D2F-5CEBF80911F1}"/>
                </a:ext>
              </a:extLst>
            </p:cNvPr>
            <p:cNvSpPr/>
            <p:nvPr/>
          </p:nvSpPr>
          <p:spPr>
            <a:xfrm>
              <a:off x="7953452" y="2543871"/>
              <a:ext cx="387212" cy="387212"/>
            </a:xfrm>
            <a:custGeom>
              <a:avLst/>
              <a:gdLst>
                <a:gd name="connsiteX0" fmla="*/ 174245 w 387211"/>
                <a:gd name="connsiteY0" fmla="*/ 367851 h 387211"/>
                <a:gd name="connsiteX1" fmla="*/ 96803 w 387211"/>
                <a:gd name="connsiteY1" fmla="*/ 96803 h 387211"/>
                <a:gd name="connsiteX2" fmla="*/ 316223 w 387211"/>
                <a:gd name="connsiteY2" fmla="*/ 303316 h 387211"/>
                <a:gd name="connsiteX3" fmla="*/ 174245 w 387211"/>
                <a:gd name="connsiteY3" fmla="*/ 367851 h 387211"/>
                <a:gd name="connsiteX4" fmla="*/ 109710 w 387211"/>
                <a:gd name="connsiteY4" fmla="*/ 122617 h 387211"/>
                <a:gd name="connsiteX5" fmla="*/ 174245 w 387211"/>
                <a:gd name="connsiteY5" fmla="*/ 367851 h 387211"/>
                <a:gd name="connsiteX6" fmla="*/ 303316 w 387211"/>
                <a:gd name="connsiteY6" fmla="*/ 316223 h 387211"/>
                <a:gd name="connsiteX7" fmla="*/ 109710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74245" y="367851"/>
                  </a:moveTo>
                  <a:lnTo>
                    <a:pt x="96803" y="96803"/>
                  </a:lnTo>
                  <a:lnTo>
                    <a:pt x="316223" y="303316"/>
                  </a:lnTo>
                  <a:lnTo>
                    <a:pt x="174245" y="367851"/>
                  </a:lnTo>
                  <a:close/>
                  <a:moveTo>
                    <a:pt x="109710" y="122617"/>
                  </a:moveTo>
                  <a:lnTo>
                    <a:pt x="174245" y="367851"/>
                  </a:lnTo>
                  <a:lnTo>
                    <a:pt x="303316" y="316223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49" name="Freeform: Shape 3148">
              <a:extLst>
                <a:ext uri="{FF2B5EF4-FFF2-40B4-BE49-F238E27FC236}">
                  <a16:creationId xmlns:a16="http://schemas.microsoft.com/office/drawing/2014/main" id="{5E2B1A72-56A3-44FA-B31C-7893EABE99E0}"/>
                </a:ext>
              </a:extLst>
            </p:cNvPr>
            <p:cNvSpPr/>
            <p:nvPr/>
          </p:nvSpPr>
          <p:spPr>
            <a:xfrm>
              <a:off x="7979265" y="2814920"/>
              <a:ext cx="387212" cy="387212"/>
            </a:xfrm>
            <a:custGeom>
              <a:avLst/>
              <a:gdLst>
                <a:gd name="connsiteX0" fmla="*/ 96803 w 387211"/>
                <a:gd name="connsiteY0" fmla="*/ 367851 h 387211"/>
                <a:gd name="connsiteX1" fmla="*/ 135525 w 387211"/>
                <a:gd name="connsiteY1" fmla="*/ 96803 h 387211"/>
                <a:gd name="connsiteX2" fmla="*/ 406573 w 387211"/>
                <a:gd name="connsiteY2" fmla="*/ 238781 h 387211"/>
                <a:gd name="connsiteX3" fmla="*/ 96803 w 387211"/>
                <a:gd name="connsiteY3" fmla="*/ 367851 h 387211"/>
                <a:gd name="connsiteX4" fmla="*/ 148431 w 387211"/>
                <a:gd name="connsiteY4" fmla="*/ 96803 h 387211"/>
                <a:gd name="connsiteX5" fmla="*/ 109710 w 387211"/>
                <a:gd name="connsiteY5" fmla="*/ 354944 h 387211"/>
                <a:gd name="connsiteX6" fmla="*/ 406573 w 387211"/>
                <a:gd name="connsiteY6" fmla="*/ 238781 h 387211"/>
                <a:gd name="connsiteX7" fmla="*/ 148431 w 38721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67851"/>
                  </a:moveTo>
                  <a:lnTo>
                    <a:pt x="135525" y="96803"/>
                  </a:lnTo>
                  <a:lnTo>
                    <a:pt x="406573" y="238781"/>
                  </a:lnTo>
                  <a:lnTo>
                    <a:pt x="96803" y="367851"/>
                  </a:lnTo>
                  <a:close/>
                  <a:moveTo>
                    <a:pt x="148431" y="96803"/>
                  </a:moveTo>
                  <a:lnTo>
                    <a:pt x="109710" y="354944"/>
                  </a:lnTo>
                  <a:lnTo>
                    <a:pt x="406573" y="238781"/>
                  </a:lnTo>
                  <a:lnTo>
                    <a:pt x="148431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0" name="Freeform: Shape 3149">
              <a:extLst>
                <a:ext uri="{FF2B5EF4-FFF2-40B4-BE49-F238E27FC236}">
                  <a16:creationId xmlns:a16="http://schemas.microsoft.com/office/drawing/2014/main" id="{2B8F681C-BF9D-4A62-83F6-6CD82653F136}"/>
                </a:ext>
              </a:extLst>
            </p:cNvPr>
            <p:cNvSpPr/>
            <p:nvPr/>
          </p:nvSpPr>
          <p:spPr>
            <a:xfrm>
              <a:off x="7734032" y="2802013"/>
              <a:ext cx="258141" cy="258141"/>
            </a:xfrm>
            <a:custGeom>
              <a:avLst/>
              <a:gdLst>
                <a:gd name="connsiteX0" fmla="*/ 96803 w 258141"/>
                <a:gd name="connsiteY0" fmla="*/ 277502 h 258141"/>
                <a:gd name="connsiteX1" fmla="*/ 174245 w 258141"/>
                <a:gd name="connsiteY1" fmla="*/ 96803 h 258141"/>
                <a:gd name="connsiteX2" fmla="*/ 277502 w 258141"/>
                <a:gd name="connsiteY2" fmla="*/ 251688 h 258141"/>
                <a:gd name="connsiteX3" fmla="*/ 96803 w 258141"/>
                <a:gd name="connsiteY3" fmla="*/ 277502 h 258141"/>
                <a:gd name="connsiteX4" fmla="*/ 174245 w 258141"/>
                <a:gd name="connsiteY4" fmla="*/ 109710 h 258141"/>
                <a:gd name="connsiteX5" fmla="*/ 109710 w 258141"/>
                <a:gd name="connsiteY5" fmla="*/ 264595 h 258141"/>
                <a:gd name="connsiteX6" fmla="*/ 264595 w 258141"/>
                <a:gd name="connsiteY6" fmla="*/ 238781 h 258141"/>
                <a:gd name="connsiteX7" fmla="*/ 174245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96803" y="277502"/>
                  </a:moveTo>
                  <a:lnTo>
                    <a:pt x="174245" y="96803"/>
                  </a:lnTo>
                  <a:lnTo>
                    <a:pt x="277502" y="251688"/>
                  </a:lnTo>
                  <a:lnTo>
                    <a:pt x="96803" y="277502"/>
                  </a:lnTo>
                  <a:close/>
                  <a:moveTo>
                    <a:pt x="174245" y="109710"/>
                  </a:moveTo>
                  <a:lnTo>
                    <a:pt x="109710" y="264595"/>
                  </a:lnTo>
                  <a:lnTo>
                    <a:pt x="264595" y="238781"/>
                  </a:lnTo>
                  <a:lnTo>
                    <a:pt x="17424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1" name="Freeform: Shape 3150">
              <a:extLst>
                <a:ext uri="{FF2B5EF4-FFF2-40B4-BE49-F238E27FC236}">
                  <a16:creationId xmlns:a16="http://schemas.microsoft.com/office/drawing/2014/main" id="{B4ACBE8C-C788-4174-9C44-198F5DC79354}"/>
                </a:ext>
              </a:extLst>
            </p:cNvPr>
            <p:cNvSpPr/>
            <p:nvPr/>
          </p:nvSpPr>
          <p:spPr>
            <a:xfrm>
              <a:off x="7953452" y="2530964"/>
              <a:ext cx="258141" cy="387212"/>
            </a:xfrm>
            <a:custGeom>
              <a:avLst/>
              <a:gdLst>
                <a:gd name="connsiteX0" fmla="*/ 174245 w 258141"/>
                <a:gd name="connsiteY0" fmla="*/ 380758 h 387211"/>
                <a:gd name="connsiteX1" fmla="*/ 96803 w 258141"/>
                <a:gd name="connsiteY1" fmla="*/ 367851 h 387211"/>
                <a:gd name="connsiteX2" fmla="*/ 96803 w 258141"/>
                <a:gd name="connsiteY2" fmla="*/ 96803 h 387211"/>
                <a:gd name="connsiteX3" fmla="*/ 174245 w 258141"/>
                <a:gd name="connsiteY3" fmla="*/ 380758 h 387211"/>
                <a:gd name="connsiteX4" fmla="*/ 109710 w 258141"/>
                <a:gd name="connsiteY4" fmla="*/ 367851 h 387211"/>
                <a:gd name="connsiteX5" fmla="*/ 174245 w 258141"/>
                <a:gd name="connsiteY5" fmla="*/ 380758 h 387211"/>
                <a:gd name="connsiteX6" fmla="*/ 109710 w 258141"/>
                <a:gd name="connsiteY6" fmla="*/ 148431 h 387211"/>
                <a:gd name="connsiteX7" fmla="*/ 109710 w 258141"/>
                <a:gd name="connsiteY7" fmla="*/ 367851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74245" y="380758"/>
                  </a:moveTo>
                  <a:lnTo>
                    <a:pt x="96803" y="367851"/>
                  </a:lnTo>
                  <a:lnTo>
                    <a:pt x="96803" y="96803"/>
                  </a:lnTo>
                  <a:lnTo>
                    <a:pt x="174245" y="380758"/>
                  </a:lnTo>
                  <a:close/>
                  <a:moveTo>
                    <a:pt x="109710" y="367851"/>
                  </a:moveTo>
                  <a:lnTo>
                    <a:pt x="174245" y="380758"/>
                  </a:lnTo>
                  <a:lnTo>
                    <a:pt x="109710" y="148431"/>
                  </a:lnTo>
                  <a:lnTo>
                    <a:pt x="109710" y="367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2" name="Freeform: Shape 3151">
              <a:extLst>
                <a:ext uri="{FF2B5EF4-FFF2-40B4-BE49-F238E27FC236}">
                  <a16:creationId xmlns:a16="http://schemas.microsoft.com/office/drawing/2014/main" id="{72E21516-5161-4378-B51F-98BD544120BB}"/>
                </a:ext>
              </a:extLst>
            </p:cNvPr>
            <p:cNvSpPr/>
            <p:nvPr/>
          </p:nvSpPr>
          <p:spPr>
            <a:xfrm>
              <a:off x="7798567" y="2776198"/>
              <a:ext cx="258141" cy="387212"/>
            </a:xfrm>
            <a:custGeom>
              <a:avLst/>
              <a:gdLst>
                <a:gd name="connsiteX0" fmla="*/ 212966 w 258141"/>
                <a:gd name="connsiteY0" fmla="*/ 290409 h 387211"/>
                <a:gd name="connsiteX1" fmla="*/ 96803 w 258141"/>
                <a:gd name="connsiteY1" fmla="*/ 135524 h 387211"/>
                <a:gd name="connsiteX2" fmla="*/ 161338 w 258141"/>
                <a:gd name="connsiteY2" fmla="*/ 96803 h 387211"/>
                <a:gd name="connsiteX3" fmla="*/ 212966 w 258141"/>
                <a:gd name="connsiteY3" fmla="*/ 290409 h 387211"/>
                <a:gd name="connsiteX4" fmla="*/ 109710 w 258141"/>
                <a:gd name="connsiteY4" fmla="*/ 135524 h 387211"/>
                <a:gd name="connsiteX5" fmla="*/ 200059 w 258141"/>
                <a:gd name="connsiteY5" fmla="*/ 264595 h 387211"/>
                <a:gd name="connsiteX6" fmla="*/ 161338 w 258141"/>
                <a:gd name="connsiteY6" fmla="*/ 96803 h 387211"/>
                <a:gd name="connsiteX7" fmla="*/ 109710 w 25814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12966" y="290409"/>
                  </a:moveTo>
                  <a:lnTo>
                    <a:pt x="96803" y="135524"/>
                  </a:lnTo>
                  <a:lnTo>
                    <a:pt x="161338" y="96803"/>
                  </a:lnTo>
                  <a:lnTo>
                    <a:pt x="212966" y="290409"/>
                  </a:lnTo>
                  <a:close/>
                  <a:moveTo>
                    <a:pt x="109710" y="135524"/>
                  </a:moveTo>
                  <a:lnTo>
                    <a:pt x="200059" y="264595"/>
                  </a:lnTo>
                  <a:lnTo>
                    <a:pt x="161338" y="96803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3" name="Freeform: Shape 3152">
              <a:extLst>
                <a:ext uri="{FF2B5EF4-FFF2-40B4-BE49-F238E27FC236}">
                  <a16:creationId xmlns:a16="http://schemas.microsoft.com/office/drawing/2014/main" id="{0885F3BD-A546-434D-B0C4-1B2C1C1285F1}"/>
                </a:ext>
              </a:extLst>
            </p:cNvPr>
            <p:cNvSpPr/>
            <p:nvPr/>
          </p:nvSpPr>
          <p:spPr>
            <a:xfrm>
              <a:off x="7863102" y="2776198"/>
              <a:ext cx="258141" cy="387212"/>
            </a:xfrm>
            <a:custGeom>
              <a:avLst/>
              <a:gdLst>
                <a:gd name="connsiteX0" fmla="*/ 135524 w 258141"/>
                <a:gd name="connsiteY0" fmla="*/ 290409 h 387211"/>
                <a:gd name="connsiteX1" fmla="*/ 96803 w 258141"/>
                <a:gd name="connsiteY1" fmla="*/ 96803 h 387211"/>
                <a:gd name="connsiteX2" fmla="*/ 200059 w 258141"/>
                <a:gd name="connsiteY2" fmla="*/ 122617 h 387211"/>
                <a:gd name="connsiteX3" fmla="*/ 135524 w 258141"/>
                <a:gd name="connsiteY3" fmla="*/ 290409 h 387211"/>
                <a:gd name="connsiteX4" fmla="*/ 109710 w 258141"/>
                <a:gd name="connsiteY4" fmla="*/ 96803 h 387211"/>
                <a:gd name="connsiteX5" fmla="*/ 148431 w 258141"/>
                <a:gd name="connsiteY5" fmla="*/ 264595 h 387211"/>
                <a:gd name="connsiteX6" fmla="*/ 200059 w 258141"/>
                <a:gd name="connsiteY6" fmla="*/ 122617 h 387211"/>
                <a:gd name="connsiteX7" fmla="*/ 109710 w 25814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135524" y="290409"/>
                  </a:moveTo>
                  <a:lnTo>
                    <a:pt x="96803" y="96803"/>
                  </a:lnTo>
                  <a:lnTo>
                    <a:pt x="200059" y="122617"/>
                  </a:lnTo>
                  <a:lnTo>
                    <a:pt x="135524" y="290409"/>
                  </a:lnTo>
                  <a:close/>
                  <a:moveTo>
                    <a:pt x="109710" y="96803"/>
                  </a:moveTo>
                  <a:lnTo>
                    <a:pt x="148431" y="264595"/>
                  </a:lnTo>
                  <a:lnTo>
                    <a:pt x="200059" y="122617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4" name="Freeform: Shape 3153">
              <a:extLst>
                <a:ext uri="{FF2B5EF4-FFF2-40B4-BE49-F238E27FC236}">
                  <a16:creationId xmlns:a16="http://schemas.microsoft.com/office/drawing/2014/main" id="{C391F92A-800D-4BC7-B358-31B7E02B3B05}"/>
                </a:ext>
              </a:extLst>
            </p:cNvPr>
            <p:cNvSpPr/>
            <p:nvPr/>
          </p:nvSpPr>
          <p:spPr>
            <a:xfrm>
              <a:off x="9657184" y="2092124"/>
              <a:ext cx="645353" cy="774424"/>
            </a:xfrm>
            <a:custGeom>
              <a:avLst/>
              <a:gdLst>
                <a:gd name="connsiteX0" fmla="*/ 329131 w 645353"/>
                <a:gd name="connsiteY0" fmla="*/ 755063 h 774423"/>
                <a:gd name="connsiteX1" fmla="*/ 329131 w 645353"/>
                <a:gd name="connsiteY1" fmla="*/ 755063 h 774423"/>
                <a:gd name="connsiteX2" fmla="*/ 96803 w 645353"/>
                <a:gd name="connsiteY2" fmla="*/ 496922 h 774423"/>
                <a:gd name="connsiteX3" fmla="*/ 587272 w 645353"/>
                <a:gd name="connsiteY3" fmla="*/ 96803 h 774423"/>
                <a:gd name="connsiteX4" fmla="*/ 329131 w 645353"/>
                <a:gd name="connsiteY4" fmla="*/ 755063 h 774423"/>
                <a:gd name="connsiteX5" fmla="*/ 96803 w 645353"/>
                <a:gd name="connsiteY5" fmla="*/ 496922 h 774423"/>
                <a:gd name="connsiteX6" fmla="*/ 329131 w 645353"/>
                <a:gd name="connsiteY6" fmla="*/ 755063 h 774423"/>
                <a:gd name="connsiteX7" fmla="*/ 561457 w 645353"/>
                <a:gd name="connsiteY7" fmla="*/ 109710 h 774423"/>
                <a:gd name="connsiteX8" fmla="*/ 96803 w 645353"/>
                <a:gd name="connsiteY8" fmla="*/ 496922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774423">
                  <a:moveTo>
                    <a:pt x="329131" y="755063"/>
                  </a:moveTo>
                  <a:lnTo>
                    <a:pt x="329131" y="755063"/>
                  </a:lnTo>
                  <a:lnTo>
                    <a:pt x="96803" y="496922"/>
                  </a:lnTo>
                  <a:lnTo>
                    <a:pt x="587272" y="96803"/>
                  </a:lnTo>
                  <a:lnTo>
                    <a:pt x="329131" y="755063"/>
                  </a:lnTo>
                  <a:close/>
                  <a:moveTo>
                    <a:pt x="96803" y="496922"/>
                  </a:moveTo>
                  <a:lnTo>
                    <a:pt x="329131" y="755063"/>
                  </a:lnTo>
                  <a:lnTo>
                    <a:pt x="561457" y="109710"/>
                  </a:lnTo>
                  <a:lnTo>
                    <a:pt x="96803" y="496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5" name="Freeform: Shape 3154">
              <a:extLst>
                <a:ext uri="{FF2B5EF4-FFF2-40B4-BE49-F238E27FC236}">
                  <a16:creationId xmlns:a16="http://schemas.microsoft.com/office/drawing/2014/main" id="{60BE21C5-1262-4729-96D3-3D7B3ACF605C}"/>
                </a:ext>
              </a:extLst>
            </p:cNvPr>
            <p:cNvSpPr/>
            <p:nvPr/>
          </p:nvSpPr>
          <p:spPr>
            <a:xfrm>
              <a:off x="10934984" y="1885611"/>
              <a:ext cx="645353" cy="774424"/>
            </a:xfrm>
            <a:custGeom>
              <a:avLst/>
              <a:gdLst>
                <a:gd name="connsiteX0" fmla="*/ 96803 w 645353"/>
                <a:gd name="connsiteY0" fmla="*/ 793784 h 774423"/>
                <a:gd name="connsiteX1" fmla="*/ 225874 w 645353"/>
                <a:gd name="connsiteY1" fmla="*/ 96803 h 774423"/>
                <a:gd name="connsiteX2" fmla="*/ 225874 w 645353"/>
                <a:gd name="connsiteY2" fmla="*/ 96803 h 774423"/>
                <a:gd name="connsiteX3" fmla="*/ 625992 w 645353"/>
                <a:gd name="connsiteY3" fmla="*/ 187152 h 774423"/>
                <a:gd name="connsiteX4" fmla="*/ 625992 w 645353"/>
                <a:gd name="connsiteY4" fmla="*/ 187152 h 774423"/>
                <a:gd name="connsiteX5" fmla="*/ 96803 w 645353"/>
                <a:gd name="connsiteY5" fmla="*/ 793784 h 774423"/>
                <a:gd name="connsiteX6" fmla="*/ 225874 w 645353"/>
                <a:gd name="connsiteY6" fmla="*/ 109710 h 774423"/>
                <a:gd name="connsiteX7" fmla="*/ 96803 w 645353"/>
                <a:gd name="connsiteY7" fmla="*/ 767970 h 774423"/>
                <a:gd name="connsiteX8" fmla="*/ 613086 w 645353"/>
                <a:gd name="connsiteY8" fmla="*/ 187152 h 774423"/>
                <a:gd name="connsiteX9" fmla="*/ 225874 w 645353"/>
                <a:gd name="connsiteY9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774423">
                  <a:moveTo>
                    <a:pt x="96803" y="793784"/>
                  </a:moveTo>
                  <a:lnTo>
                    <a:pt x="225874" y="96803"/>
                  </a:lnTo>
                  <a:lnTo>
                    <a:pt x="225874" y="96803"/>
                  </a:lnTo>
                  <a:lnTo>
                    <a:pt x="625992" y="187152"/>
                  </a:lnTo>
                  <a:lnTo>
                    <a:pt x="625992" y="187152"/>
                  </a:lnTo>
                  <a:lnTo>
                    <a:pt x="96803" y="793784"/>
                  </a:lnTo>
                  <a:close/>
                  <a:moveTo>
                    <a:pt x="225874" y="109710"/>
                  </a:moveTo>
                  <a:lnTo>
                    <a:pt x="96803" y="767970"/>
                  </a:lnTo>
                  <a:lnTo>
                    <a:pt x="613086" y="187152"/>
                  </a:lnTo>
                  <a:lnTo>
                    <a:pt x="22587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6" name="Freeform: Shape 3155">
              <a:extLst>
                <a:ext uri="{FF2B5EF4-FFF2-40B4-BE49-F238E27FC236}">
                  <a16:creationId xmlns:a16="http://schemas.microsoft.com/office/drawing/2014/main" id="{AD89F0BB-B051-4290-B2B7-F919819CFA1C}"/>
                </a:ext>
              </a:extLst>
            </p:cNvPr>
            <p:cNvSpPr/>
            <p:nvPr/>
          </p:nvSpPr>
          <p:spPr>
            <a:xfrm>
              <a:off x="10934984" y="1975961"/>
              <a:ext cx="903495" cy="774424"/>
            </a:xfrm>
            <a:custGeom>
              <a:avLst/>
              <a:gdLst>
                <a:gd name="connsiteX0" fmla="*/ 96803 w 903494"/>
                <a:gd name="connsiteY0" fmla="*/ 690528 h 774423"/>
                <a:gd name="connsiteX1" fmla="*/ 96803 w 903494"/>
                <a:gd name="connsiteY1" fmla="*/ 690528 h 774423"/>
                <a:gd name="connsiteX2" fmla="*/ 625992 w 903494"/>
                <a:gd name="connsiteY2" fmla="*/ 96803 h 774423"/>
                <a:gd name="connsiteX3" fmla="*/ 832505 w 903494"/>
                <a:gd name="connsiteY3" fmla="*/ 122617 h 774423"/>
                <a:gd name="connsiteX4" fmla="*/ 96803 w 903494"/>
                <a:gd name="connsiteY4" fmla="*/ 690528 h 774423"/>
                <a:gd name="connsiteX5" fmla="*/ 625992 w 903494"/>
                <a:gd name="connsiteY5" fmla="*/ 96803 h 774423"/>
                <a:gd name="connsiteX6" fmla="*/ 122617 w 903494"/>
                <a:gd name="connsiteY6" fmla="*/ 664714 h 774423"/>
                <a:gd name="connsiteX7" fmla="*/ 819598 w 903494"/>
                <a:gd name="connsiteY7" fmla="*/ 122617 h 774423"/>
                <a:gd name="connsiteX8" fmla="*/ 625992 w 903494"/>
                <a:gd name="connsiteY8" fmla="*/ 96803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774423">
                  <a:moveTo>
                    <a:pt x="96803" y="690528"/>
                  </a:moveTo>
                  <a:lnTo>
                    <a:pt x="96803" y="690528"/>
                  </a:lnTo>
                  <a:lnTo>
                    <a:pt x="625992" y="96803"/>
                  </a:lnTo>
                  <a:lnTo>
                    <a:pt x="832505" y="122617"/>
                  </a:lnTo>
                  <a:lnTo>
                    <a:pt x="96803" y="690528"/>
                  </a:lnTo>
                  <a:close/>
                  <a:moveTo>
                    <a:pt x="625992" y="96803"/>
                  </a:moveTo>
                  <a:lnTo>
                    <a:pt x="122617" y="664714"/>
                  </a:lnTo>
                  <a:lnTo>
                    <a:pt x="819598" y="122617"/>
                  </a:lnTo>
                  <a:lnTo>
                    <a:pt x="625992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7" name="Freeform: Shape 3156">
              <a:extLst>
                <a:ext uri="{FF2B5EF4-FFF2-40B4-BE49-F238E27FC236}">
                  <a16:creationId xmlns:a16="http://schemas.microsoft.com/office/drawing/2014/main" id="{F161ABD6-D7A4-425A-B1AF-D7C240694BDA}"/>
                </a:ext>
              </a:extLst>
            </p:cNvPr>
            <p:cNvSpPr/>
            <p:nvPr/>
          </p:nvSpPr>
          <p:spPr>
            <a:xfrm>
              <a:off x="10715564" y="1498399"/>
              <a:ext cx="903495" cy="387212"/>
            </a:xfrm>
            <a:custGeom>
              <a:avLst/>
              <a:gdLst>
                <a:gd name="connsiteX0" fmla="*/ 342036 w 903494"/>
                <a:gd name="connsiteY0" fmla="*/ 290409 h 387211"/>
                <a:gd name="connsiteX1" fmla="*/ 342036 w 903494"/>
                <a:gd name="connsiteY1" fmla="*/ 290409 h 387211"/>
                <a:gd name="connsiteX2" fmla="*/ 96803 w 903494"/>
                <a:gd name="connsiteY2" fmla="*/ 277502 h 387211"/>
                <a:gd name="connsiteX3" fmla="*/ 819598 w 903494"/>
                <a:gd name="connsiteY3" fmla="*/ 96803 h 387211"/>
                <a:gd name="connsiteX4" fmla="*/ 819598 w 903494"/>
                <a:gd name="connsiteY4" fmla="*/ 96803 h 387211"/>
                <a:gd name="connsiteX5" fmla="*/ 342036 w 903494"/>
                <a:gd name="connsiteY5" fmla="*/ 290409 h 387211"/>
                <a:gd name="connsiteX6" fmla="*/ 135524 w 903494"/>
                <a:gd name="connsiteY6" fmla="*/ 277502 h 387211"/>
                <a:gd name="connsiteX7" fmla="*/ 329130 w 903494"/>
                <a:gd name="connsiteY7" fmla="*/ 290409 h 387211"/>
                <a:gd name="connsiteX8" fmla="*/ 767970 w 903494"/>
                <a:gd name="connsiteY8" fmla="*/ 122617 h 387211"/>
                <a:gd name="connsiteX9" fmla="*/ 135524 w 903494"/>
                <a:gd name="connsiteY9" fmla="*/ 277502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3494" h="387211">
                  <a:moveTo>
                    <a:pt x="342036" y="290409"/>
                  </a:moveTo>
                  <a:lnTo>
                    <a:pt x="342036" y="290409"/>
                  </a:lnTo>
                  <a:lnTo>
                    <a:pt x="96803" y="277502"/>
                  </a:lnTo>
                  <a:lnTo>
                    <a:pt x="819598" y="96803"/>
                  </a:lnTo>
                  <a:lnTo>
                    <a:pt x="819598" y="96803"/>
                  </a:lnTo>
                  <a:lnTo>
                    <a:pt x="342036" y="290409"/>
                  </a:lnTo>
                  <a:close/>
                  <a:moveTo>
                    <a:pt x="135524" y="277502"/>
                  </a:moveTo>
                  <a:lnTo>
                    <a:pt x="329130" y="290409"/>
                  </a:lnTo>
                  <a:lnTo>
                    <a:pt x="767970" y="122617"/>
                  </a:lnTo>
                  <a:lnTo>
                    <a:pt x="135524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8" name="Freeform: Shape 3157">
              <a:extLst>
                <a:ext uri="{FF2B5EF4-FFF2-40B4-BE49-F238E27FC236}">
                  <a16:creationId xmlns:a16="http://schemas.microsoft.com/office/drawing/2014/main" id="{4F74F146-C18F-419D-8C19-552D14F2AA92}"/>
                </a:ext>
              </a:extLst>
            </p:cNvPr>
            <p:cNvSpPr/>
            <p:nvPr/>
          </p:nvSpPr>
          <p:spPr>
            <a:xfrm>
              <a:off x="10702656" y="1679098"/>
              <a:ext cx="387212" cy="387212"/>
            </a:xfrm>
            <a:custGeom>
              <a:avLst/>
              <a:gdLst>
                <a:gd name="connsiteX0" fmla="*/ 96803 w 387211"/>
                <a:gd name="connsiteY0" fmla="*/ 316223 h 387211"/>
                <a:gd name="connsiteX1" fmla="*/ 135525 w 387211"/>
                <a:gd name="connsiteY1" fmla="*/ 96803 h 387211"/>
                <a:gd name="connsiteX2" fmla="*/ 367852 w 387211"/>
                <a:gd name="connsiteY2" fmla="*/ 109710 h 387211"/>
                <a:gd name="connsiteX3" fmla="*/ 96803 w 387211"/>
                <a:gd name="connsiteY3" fmla="*/ 316223 h 387211"/>
                <a:gd name="connsiteX4" fmla="*/ 135525 w 387211"/>
                <a:gd name="connsiteY4" fmla="*/ 96803 h 387211"/>
                <a:gd name="connsiteX5" fmla="*/ 96803 w 387211"/>
                <a:gd name="connsiteY5" fmla="*/ 303316 h 387211"/>
                <a:gd name="connsiteX6" fmla="*/ 342037 w 387211"/>
                <a:gd name="connsiteY6" fmla="*/ 109710 h 387211"/>
                <a:gd name="connsiteX7" fmla="*/ 135525 w 38721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316223"/>
                  </a:moveTo>
                  <a:lnTo>
                    <a:pt x="135525" y="96803"/>
                  </a:lnTo>
                  <a:lnTo>
                    <a:pt x="367852" y="109710"/>
                  </a:lnTo>
                  <a:lnTo>
                    <a:pt x="96803" y="316223"/>
                  </a:lnTo>
                  <a:close/>
                  <a:moveTo>
                    <a:pt x="135525" y="96803"/>
                  </a:moveTo>
                  <a:lnTo>
                    <a:pt x="96803" y="303316"/>
                  </a:lnTo>
                  <a:lnTo>
                    <a:pt x="342037" y="109710"/>
                  </a:lnTo>
                  <a:lnTo>
                    <a:pt x="135525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59" name="Freeform: Shape 3158">
              <a:extLst>
                <a:ext uri="{FF2B5EF4-FFF2-40B4-BE49-F238E27FC236}">
                  <a16:creationId xmlns:a16="http://schemas.microsoft.com/office/drawing/2014/main" id="{F9AEEF7D-D96B-4415-A3B8-4724BA7DB603}"/>
                </a:ext>
              </a:extLst>
            </p:cNvPr>
            <p:cNvSpPr/>
            <p:nvPr/>
          </p:nvSpPr>
          <p:spPr>
            <a:xfrm>
              <a:off x="10302537" y="1885611"/>
              <a:ext cx="903495" cy="774424"/>
            </a:xfrm>
            <a:custGeom>
              <a:avLst/>
              <a:gdLst>
                <a:gd name="connsiteX0" fmla="*/ 729249 w 903494"/>
                <a:gd name="connsiteY0" fmla="*/ 780877 h 774423"/>
                <a:gd name="connsiteX1" fmla="*/ 729249 w 903494"/>
                <a:gd name="connsiteY1" fmla="*/ 780877 h 774423"/>
                <a:gd name="connsiteX2" fmla="*/ 96803 w 903494"/>
                <a:gd name="connsiteY2" fmla="*/ 316223 h 774423"/>
                <a:gd name="connsiteX3" fmla="*/ 858320 w 903494"/>
                <a:gd name="connsiteY3" fmla="*/ 96803 h 774423"/>
                <a:gd name="connsiteX4" fmla="*/ 858320 w 903494"/>
                <a:gd name="connsiteY4" fmla="*/ 96803 h 774423"/>
                <a:gd name="connsiteX5" fmla="*/ 729249 w 903494"/>
                <a:gd name="connsiteY5" fmla="*/ 780877 h 774423"/>
                <a:gd name="connsiteX6" fmla="*/ 109710 w 903494"/>
                <a:gd name="connsiteY6" fmla="*/ 316223 h 774423"/>
                <a:gd name="connsiteX7" fmla="*/ 716343 w 903494"/>
                <a:gd name="connsiteY7" fmla="*/ 767970 h 774423"/>
                <a:gd name="connsiteX8" fmla="*/ 845413 w 903494"/>
                <a:gd name="connsiteY8" fmla="*/ 96803 h 774423"/>
                <a:gd name="connsiteX9" fmla="*/ 109710 w 903494"/>
                <a:gd name="connsiteY9" fmla="*/ 316223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3494" h="774423">
                  <a:moveTo>
                    <a:pt x="729249" y="780877"/>
                  </a:moveTo>
                  <a:lnTo>
                    <a:pt x="729249" y="780877"/>
                  </a:lnTo>
                  <a:lnTo>
                    <a:pt x="96803" y="316223"/>
                  </a:lnTo>
                  <a:lnTo>
                    <a:pt x="858320" y="96803"/>
                  </a:lnTo>
                  <a:lnTo>
                    <a:pt x="858320" y="96803"/>
                  </a:lnTo>
                  <a:lnTo>
                    <a:pt x="729249" y="780877"/>
                  </a:lnTo>
                  <a:close/>
                  <a:moveTo>
                    <a:pt x="109710" y="316223"/>
                  </a:moveTo>
                  <a:lnTo>
                    <a:pt x="716343" y="767970"/>
                  </a:lnTo>
                  <a:lnTo>
                    <a:pt x="845413" y="96803"/>
                  </a:lnTo>
                  <a:lnTo>
                    <a:pt x="109710" y="3162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0" name="Freeform: Shape 3159">
              <a:extLst>
                <a:ext uri="{FF2B5EF4-FFF2-40B4-BE49-F238E27FC236}">
                  <a16:creationId xmlns:a16="http://schemas.microsoft.com/office/drawing/2014/main" id="{06F4CDCD-FA6D-40F1-AC06-278F104A2267}"/>
                </a:ext>
              </a:extLst>
            </p:cNvPr>
            <p:cNvSpPr/>
            <p:nvPr/>
          </p:nvSpPr>
          <p:spPr>
            <a:xfrm>
              <a:off x="10922077" y="2001775"/>
              <a:ext cx="1419777" cy="645353"/>
            </a:xfrm>
            <a:custGeom>
              <a:avLst/>
              <a:gdLst>
                <a:gd name="connsiteX0" fmla="*/ 96803 w 1419777"/>
                <a:gd name="connsiteY0" fmla="*/ 664714 h 645353"/>
                <a:gd name="connsiteX1" fmla="*/ 832505 w 1419777"/>
                <a:gd name="connsiteY1" fmla="*/ 96803 h 645353"/>
                <a:gd name="connsiteX2" fmla="*/ 1374603 w 1419777"/>
                <a:gd name="connsiteY2" fmla="*/ 587271 h 645353"/>
                <a:gd name="connsiteX3" fmla="*/ 96803 w 1419777"/>
                <a:gd name="connsiteY3" fmla="*/ 664714 h 645353"/>
                <a:gd name="connsiteX4" fmla="*/ 832505 w 1419777"/>
                <a:gd name="connsiteY4" fmla="*/ 109710 h 645353"/>
                <a:gd name="connsiteX5" fmla="*/ 109710 w 1419777"/>
                <a:gd name="connsiteY5" fmla="*/ 664714 h 645353"/>
                <a:gd name="connsiteX6" fmla="*/ 1348788 w 1419777"/>
                <a:gd name="connsiteY6" fmla="*/ 587271 h 645353"/>
                <a:gd name="connsiteX7" fmla="*/ 832505 w 1419777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19777" h="645353">
                  <a:moveTo>
                    <a:pt x="96803" y="664714"/>
                  </a:moveTo>
                  <a:lnTo>
                    <a:pt x="832505" y="96803"/>
                  </a:lnTo>
                  <a:lnTo>
                    <a:pt x="1374603" y="587271"/>
                  </a:lnTo>
                  <a:lnTo>
                    <a:pt x="96803" y="664714"/>
                  </a:lnTo>
                  <a:close/>
                  <a:moveTo>
                    <a:pt x="832505" y="109710"/>
                  </a:moveTo>
                  <a:lnTo>
                    <a:pt x="109710" y="664714"/>
                  </a:lnTo>
                  <a:lnTo>
                    <a:pt x="1348788" y="587271"/>
                  </a:lnTo>
                  <a:lnTo>
                    <a:pt x="83250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1" name="Freeform: Shape 3160">
              <a:extLst>
                <a:ext uri="{FF2B5EF4-FFF2-40B4-BE49-F238E27FC236}">
                  <a16:creationId xmlns:a16="http://schemas.microsoft.com/office/drawing/2014/main" id="{79D4AC74-E04B-4513-88FF-4A01CBB07803}"/>
                </a:ext>
              </a:extLst>
            </p:cNvPr>
            <p:cNvSpPr/>
            <p:nvPr/>
          </p:nvSpPr>
          <p:spPr>
            <a:xfrm>
              <a:off x="11657779" y="1937239"/>
              <a:ext cx="645353" cy="645353"/>
            </a:xfrm>
            <a:custGeom>
              <a:avLst/>
              <a:gdLst>
                <a:gd name="connsiteX0" fmla="*/ 638900 w 645353"/>
                <a:gd name="connsiteY0" fmla="*/ 664714 h 645353"/>
                <a:gd name="connsiteX1" fmla="*/ 638900 w 645353"/>
                <a:gd name="connsiteY1" fmla="*/ 664714 h 645353"/>
                <a:gd name="connsiteX2" fmla="*/ 96803 w 645353"/>
                <a:gd name="connsiteY2" fmla="*/ 174245 h 645353"/>
                <a:gd name="connsiteX3" fmla="*/ 613086 w 645353"/>
                <a:gd name="connsiteY3" fmla="*/ 96803 h 645353"/>
                <a:gd name="connsiteX4" fmla="*/ 613086 w 645353"/>
                <a:gd name="connsiteY4" fmla="*/ 96803 h 645353"/>
                <a:gd name="connsiteX5" fmla="*/ 638900 w 645353"/>
                <a:gd name="connsiteY5" fmla="*/ 664714 h 645353"/>
                <a:gd name="connsiteX6" fmla="*/ 109710 w 645353"/>
                <a:gd name="connsiteY6" fmla="*/ 174245 h 645353"/>
                <a:gd name="connsiteX7" fmla="*/ 638900 w 645353"/>
                <a:gd name="connsiteY7" fmla="*/ 651807 h 645353"/>
                <a:gd name="connsiteX8" fmla="*/ 600179 w 645353"/>
                <a:gd name="connsiteY8" fmla="*/ 96803 h 645353"/>
                <a:gd name="connsiteX9" fmla="*/ 109710 w 645353"/>
                <a:gd name="connsiteY9" fmla="*/ 174245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645353">
                  <a:moveTo>
                    <a:pt x="638900" y="664714"/>
                  </a:moveTo>
                  <a:lnTo>
                    <a:pt x="638900" y="664714"/>
                  </a:lnTo>
                  <a:lnTo>
                    <a:pt x="96803" y="174245"/>
                  </a:lnTo>
                  <a:lnTo>
                    <a:pt x="613086" y="96803"/>
                  </a:lnTo>
                  <a:lnTo>
                    <a:pt x="613086" y="96803"/>
                  </a:lnTo>
                  <a:lnTo>
                    <a:pt x="638900" y="664714"/>
                  </a:lnTo>
                  <a:close/>
                  <a:moveTo>
                    <a:pt x="109710" y="174245"/>
                  </a:moveTo>
                  <a:lnTo>
                    <a:pt x="638900" y="651807"/>
                  </a:lnTo>
                  <a:lnTo>
                    <a:pt x="600179" y="96803"/>
                  </a:lnTo>
                  <a:lnTo>
                    <a:pt x="109710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2" name="Freeform: Shape 3161">
              <a:extLst>
                <a:ext uri="{FF2B5EF4-FFF2-40B4-BE49-F238E27FC236}">
                  <a16:creationId xmlns:a16="http://schemas.microsoft.com/office/drawing/2014/main" id="{2171F145-D5A3-4D61-883F-EE1488385904}"/>
                </a:ext>
              </a:extLst>
            </p:cNvPr>
            <p:cNvSpPr/>
            <p:nvPr/>
          </p:nvSpPr>
          <p:spPr>
            <a:xfrm>
              <a:off x="12161155" y="1704912"/>
              <a:ext cx="1161636" cy="903494"/>
            </a:xfrm>
            <a:custGeom>
              <a:avLst/>
              <a:gdLst>
                <a:gd name="connsiteX0" fmla="*/ 122617 w 1161635"/>
                <a:gd name="connsiteY0" fmla="*/ 897041 h 903494"/>
                <a:gd name="connsiteX1" fmla="*/ 122617 w 1161635"/>
                <a:gd name="connsiteY1" fmla="*/ 897041 h 903494"/>
                <a:gd name="connsiteX2" fmla="*/ 96803 w 1161635"/>
                <a:gd name="connsiteY2" fmla="*/ 329130 h 903494"/>
                <a:gd name="connsiteX3" fmla="*/ 96803 w 1161635"/>
                <a:gd name="connsiteY3" fmla="*/ 329130 h 903494"/>
                <a:gd name="connsiteX4" fmla="*/ 1103555 w 1161635"/>
                <a:gd name="connsiteY4" fmla="*/ 96803 h 903494"/>
                <a:gd name="connsiteX5" fmla="*/ 122617 w 1161635"/>
                <a:gd name="connsiteY5" fmla="*/ 897041 h 903494"/>
                <a:gd name="connsiteX6" fmla="*/ 96803 w 1161635"/>
                <a:gd name="connsiteY6" fmla="*/ 329130 h 903494"/>
                <a:gd name="connsiteX7" fmla="*/ 135525 w 1161635"/>
                <a:gd name="connsiteY7" fmla="*/ 884134 h 903494"/>
                <a:gd name="connsiteX8" fmla="*/ 1077740 w 1161635"/>
                <a:gd name="connsiteY8" fmla="*/ 109710 h 903494"/>
                <a:gd name="connsiteX9" fmla="*/ 96803 w 1161635"/>
                <a:gd name="connsiteY9" fmla="*/ 32913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635" h="903494">
                  <a:moveTo>
                    <a:pt x="122617" y="897041"/>
                  </a:moveTo>
                  <a:lnTo>
                    <a:pt x="122617" y="897041"/>
                  </a:lnTo>
                  <a:lnTo>
                    <a:pt x="96803" y="329130"/>
                  </a:lnTo>
                  <a:lnTo>
                    <a:pt x="96803" y="329130"/>
                  </a:lnTo>
                  <a:lnTo>
                    <a:pt x="1103555" y="96803"/>
                  </a:lnTo>
                  <a:lnTo>
                    <a:pt x="122617" y="897041"/>
                  </a:lnTo>
                  <a:close/>
                  <a:moveTo>
                    <a:pt x="96803" y="329130"/>
                  </a:moveTo>
                  <a:lnTo>
                    <a:pt x="135525" y="884134"/>
                  </a:lnTo>
                  <a:lnTo>
                    <a:pt x="1077740" y="109710"/>
                  </a:lnTo>
                  <a:lnTo>
                    <a:pt x="96803" y="3291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3" name="Freeform: Shape 3162">
              <a:extLst>
                <a:ext uri="{FF2B5EF4-FFF2-40B4-BE49-F238E27FC236}">
                  <a16:creationId xmlns:a16="http://schemas.microsoft.com/office/drawing/2014/main" id="{153E2A50-2267-4AAA-88BB-10B672C0784F}"/>
                </a:ext>
              </a:extLst>
            </p:cNvPr>
            <p:cNvSpPr/>
            <p:nvPr/>
          </p:nvSpPr>
          <p:spPr>
            <a:xfrm>
              <a:off x="9889511" y="4350860"/>
              <a:ext cx="516283" cy="516283"/>
            </a:xfrm>
            <a:custGeom>
              <a:avLst/>
              <a:gdLst>
                <a:gd name="connsiteX0" fmla="*/ 316223 w 516282"/>
                <a:gd name="connsiteY0" fmla="*/ 496922 h 516282"/>
                <a:gd name="connsiteX1" fmla="*/ 316223 w 516282"/>
                <a:gd name="connsiteY1" fmla="*/ 496922 h 516282"/>
                <a:gd name="connsiteX2" fmla="*/ 96803 w 516282"/>
                <a:gd name="connsiteY2" fmla="*/ 96803 h 516282"/>
                <a:gd name="connsiteX3" fmla="*/ 509829 w 516282"/>
                <a:gd name="connsiteY3" fmla="*/ 380759 h 516282"/>
                <a:gd name="connsiteX4" fmla="*/ 316223 w 516282"/>
                <a:gd name="connsiteY4" fmla="*/ 496922 h 516282"/>
                <a:gd name="connsiteX5" fmla="*/ 122617 w 516282"/>
                <a:gd name="connsiteY5" fmla="*/ 109710 h 516282"/>
                <a:gd name="connsiteX6" fmla="*/ 316223 w 516282"/>
                <a:gd name="connsiteY6" fmla="*/ 484015 h 516282"/>
                <a:gd name="connsiteX7" fmla="*/ 496922 w 516282"/>
                <a:gd name="connsiteY7" fmla="*/ 367851 h 516282"/>
                <a:gd name="connsiteX8" fmla="*/ 122617 w 516282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316223" y="496922"/>
                  </a:moveTo>
                  <a:lnTo>
                    <a:pt x="316223" y="496922"/>
                  </a:lnTo>
                  <a:lnTo>
                    <a:pt x="96803" y="96803"/>
                  </a:lnTo>
                  <a:lnTo>
                    <a:pt x="509829" y="380759"/>
                  </a:lnTo>
                  <a:lnTo>
                    <a:pt x="316223" y="496922"/>
                  </a:lnTo>
                  <a:close/>
                  <a:moveTo>
                    <a:pt x="122617" y="109710"/>
                  </a:moveTo>
                  <a:lnTo>
                    <a:pt x="316223" y="484015"/>
                  </a:lnTo>
                  <a:lnTo>
                    <a:pt x="496922" y="367851"/>
                  </a:lnTo>
                  <a:lnTo>
                    <a:pt x="12261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4" name="Freeform: Shape 3163">
              <a:extLst>
                <a:ext uri="{FF2B5EF4-FFF2-40B4-BE49-F238E27FC236}">
                  <a16:creationId xmlns:a16="http://schemas.microsoft.com/office/drawing/2014/main" id="{7BC944DE-AB11-4A9D-A95D-EA798F5E3D28}"/>
                </a:ext>
              </a:extLst>
            </p:cNvPr>
            <p:cNvSpPr/>
            <p:nvPr/>
          </p:nvSpPr>
          <p:spPr>
            <a:xfrm>
              <a:off x="9889511" y="4363767"/>
              <a:ext cx="774424" cy="387212"/>
            </a:xfrm>
            <a:custGeom>
              <a:avLst/>
              <a:gdLst>
                <a:gd name="connsiteX0" fmla="*/ 496922 w 774423"/>
                <a:gd name="connsiteY0" fmla="*/ 367851 h 387211"/>
                <a:gd name="connsiteX1" fmla="*/ 96803 w 774423"/>
                <a:gd name="connsiteY1" fmla="*/ 96803 h 387211"/>
                <a:gd name="connsiteX2" fmla="*/ 690528 w 774423"/>
                <a:gd name="connsiteY2" fmla="*/ 135524 h 387211"/>
                <a:gd name="connsiteX3" fmla="*/ 496922 w 774423"/>
                <a:gd name="connsiteY3" fmla="*/ 367851 h 387211"/>
                <a:gd name="connsiteX4" fmla="*/ 122617 w 774423"/>
                <a:gd name="connsiteY4" fmla="*/ 96803 h 387211"/>
                <a:gd name="connsiteX5" fmla="*/ 509829 w 774423"/>
                <a:gd name="connsiteY5" fmla="*/ 354944 h 387211"/>
                <a:gd name="connsiteX6" fmla="*/ 677621 w 774423"/>
                <a:gd name="connsiteY6" fmla="*/ 135524 h 387211"/>
                <a:gd name="connsiteX7" fmla="*/ 122617 w 774423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387211">
                  <a:moveTo>
                    <a:pt x="496922" y="367851"/>
                  </a:moveTo>
                  <a:lnTo>
                    <a:pt x="96803" y="96803"/>
                  </a:lnTo>
                  <a:lnTo>
                    <a:pt x="690528" y="135524"/>
                  </a:lnTo>
                  <a:lnTo>
                    <a:pt x="496922" y="367851"/>
                  </a:lnTo>
                  <a:close/>
                  <a:moveTo>
                    <a:pt x="122617" y="96803"/>
                  </a:moveTo>
                  <a:lnTo>
                    <a:pt x="509829" y="354944"/>
                  </a:lnTo>
                  <a:lnTo>
                    <a:pt x="677621" y="135524"/>
                  </a:lnTo>
                  <a:lnTo>
                    <a:pt x="122617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5" name="Freeform: Shape 3164">
              <a:extLst>
                <a:ext uri="{FF2B5EF4-FFF2-40B4-BE49-F238E27FC236}">
                  <a16:creationId xmlns:a16="http://schemas.microsoft.com/office/drawing/2014/main" id="{40D6E89C-65C3-41C8-81B3-5C30C2C01BBB}"/>
                </a:ext>
              </a:extLst>
            </p:cNvPr>
            <p:cNvSpPr/>
            <p:nvPr/>
          </p:nvSpPr>
          <p:spPr>
            <a:xfrm>
              <a:off x="10096024" y="4621909"/>
              <a:ext cx="774424" cy="516283"/>
            </a:xfrm>
            <a:custGeom>
              <a:avLst/>
              <a:gdLst>
                <a:gd name="connsiteX0" fmla="*/ 716343 w 774423"/>
                <a:gd name="connsiteY0" fmla="*/ 535643 h 516282"/>
                <a:gd name="connsiteX1" fmla="*/ 96803 w 774423"/>
                <a:gd name="connsiteY1" fmla="*/ 225874 h 516282"/>
                <a:gd name="connsiteX2" fmla="*/ 290409 w 774423"/>
                <a:gd name="connsiteY2" fmla="*/ 96803 h 516282"/>
                <a:gd name="connsiteX3" fmla="*/ 290409 w 774423"/>
                <a:gd name="connsiteY3" fmla="*/ 96803 h 516282"/>
                <a:gd name="connsiteX4" fmla="*/ 716343 w 774423"/>
                <a:gd name="connsiteY4" fmla="*/ 535643 h 516282"/>
                <a:gd name="connsiteX5" fmla="*/ 109710 w 774423"/>
                <a:gd name="connsiteY5" fmla="*/ 225874 h 516282"/>
                <a:gd name="connsiteX6" fmla="*/ 677621 w 774423"/>
                <a:gd name="connsiteY6" fmla="*/ 509829 h 516282"/>
                <a:gd name="connsiteX7" fmla="*/ 290409 w 774423"/>
                <a:gd name="connsiteY7" fmla="*/ 109710 h 516282"/>
                <a:gd name="connsiteX8" fmla="*/ 109710 w 774423"/>
                <a:gd name="connsiteY8" fmla="*/ 225874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516282">
                  <a:moveTo>
                    <a:pt x="716343" y="535643"/>
                  </a:moveTo>
                  <a:lnTo>
                    <a:pt x="96803" y="225874"/>
                  </a:lnTo>
                  <a:lnTo>
                    <a:pt x="290409" y="96803"/>
                  </a:lnTo>
                  <a:lnTo>
                    <a:pt x="290409" y="96803"/>
                  </a:lnTo>
                  <a:lnTo>
                    <a:pt x="716343" y="535643"/>
                  </a:lnTo>
                  <a:close/>
                  <a:moveTo>
                    <a:pt x="109710" y="225874"/>
                  </a:moveTo>
                  <a:lnTo>
                    <a:pt x="677621" y="509829"/>
                  </a:lnTo>
                  <a:lnTo>
                    <a:pt x="290409" y="109710"/>
                  </a:lnTo>
                  <a:lnTo>
                    <a:pt x="109710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6" name="Freeform: Shape 3165">
              <a:extLst>
                <a:ext uri="{FF2B5EF4-FFF2-40B4-BE49-F238E27FC236}">
                  <a16:creationId xmlns:a16="http://schemas.microsoft.com/office/drawing/2014/main" id="{830E4064-5914-4417-93F6-48380EA6106C}"/>
                </a:ext>
              </a:extLst>
            </p:cNvPr>
            <p:cNvSpPr/>
            <p:nvPr/>
          </p:nvSpPr>
          <p:spPr>
            <a:xfrm>
              <a:off x="10289630" y="4402488"/>
              <a:ext cx="774424" cy="387212"/>
            </a:xfrm>
            <a:custGeom>
              <a:avLst/>
              <a:gdLst>
                <a:gd name="connsiteX0" fmla="*/ 96803 w 774423"/>
                <a:gd name="connsiteY0" fmla="*/ 329130 h 387211"/>
                <a:gd name="connsiteX1" fmla="*/ 277502 w 774423"/>
                <a:gd name="connsiteY1" fmla="*/ 96803 h 387211"/>
                <a:gd name="connsiteX2" fmla="*/ 690528 w 774423"/>
                <a:gd name="connsiteY2" fmla="*/ 200060 h 387211"/>
                <a:gd name="connsiteX3" fmla="*/ 96803 w 774423"/>
                <a:gd name="connsiteY3" fmla="*/ 329130 h 387211"/>
                <a:gd name="connsiteX4" fmla="*/ 277502 w 774423"/>
                <a:gd name="connsiteY4" fmla="*/ 96803 h 387211"/>
                <a:gd name="connsiteX5" fmla="*/ 109710 w 774423"/>
                <a:gd name="connsiteY5" fmla="*/ 316223 h 387211"/>
                <a:gd name="connsiteX6" fmla="*/ 664714 w 774423"/>
                <a:gd name="connsiteY6" fmla="*/ 187153 h 387211"/>
                <a:gd name="connsiteX7" fmla="*/ 277502 w 774423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387211">
                  <a:moveTo>
                    <a:pt x="96803" y="329130"/>
                  </a:moveTo>
                  <a:lnTo>
                    <a:pt x="277502" y="96803"/>
                  </a:lnTo>
                  <a:lnTo>
                    <a:pt x="690528" y="200060"/>
                  </a:lnTo>
                  <a:lnTo>
                    <a:pt x="96803" y="329130"/>
                  </a:lnTo>
                  <a:close/>
                  <a:moveTo>
                    <a:pt x="277502" y="96803"/>
                  </a:moveTo>
                  <a:lnTo>
                    <a:pt x="109710" y="316223"/>
                  </a:lnTo>
                  <a:lnTo>
                    <a:pt x="664714" y="187153"/>
                  </a:lnTo>
                  <a:lnTo>
                    <a:pt x="277502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7" name="Freeform: Shape 3166">
              <a:extLst>
                <a:ext uri="{FF2B5EF4-FFF2-40B4-BE49-F238E27FC236}">
                  <a16:creationId xmlns:a16="http://schemas.microsoft.com/office/drawing/2014/main" id="{4ED39FC1-11D2-4DC7-8E12-1994F0248AC8}"/>
                </a:ext>
              </a:extLst>
            </p:cNvPr>
            <p:cNvSpPr/>
            <p:nvPr/>
          </p:nvSpPr>
          <p:spPr>
            <a:xfrm>
              <a:off x="10289630" y="4492838"/>
              <a:ext cx="774424" cy="645353"/>
            </a:xfrm>
            <a:custGeom>
              <a:avLst/>
              <a:gdLst>
                <a:gd name="connsiteX0" fmla="*/ 509829 w 774423"/>
                <a:gd name="connsiteY0" fmla="*/ 651807 h 645353"/>
                <a:gd name="connsiteX1" fmla="*/ 96803 w 774423"/>
                <a:gd name="connsiteY1" fmla="*/ 225874 h 645353"/>
                <a:gd name="connsiteX2" fmla="*/ 690528 w 774423"/>
                <a:gd name="connsiteY2" fmla="*/ 96803 h 645353"/>
                <a:gd name="connsiteX3" fmla="*/ 690528 w 774423"/>
                <a:gd name="connsiteY3" fmla="*/ 96803 h 645353"/>
                <a:gd name="connsiteX4" fmla="*/ 509829 w 774423"/>
                <a:gd name="connsiteY4" fmla="*/ 651807 h 645353"/>
                <a:gd name="connsiteX5" fmla="*/ 109710 w 774423"/>
                <a:gd name="connsiteY5" fmla="*/ 225874 h 645353"/>
                <a:gd name="connsiteX6" fmla="*/ 509829 w 774423"/>
                <a:gd name="connsiteY6" fmla="*/ 638900 h 645353"/>
                <a:gd name="connsiteX7" fmla="*/ 677621 w 774423"/>
                <a:gd name="connsiteY7" fmla="*/ 96803 h 645353"/>
                <a:gd name="connsiteX8" fmla="*/ 109710 w 774423"/>
                <a:gd name="connsiteY8" fmla="*/ 225874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645353">
                  <a:moveTo>
                    <a:pt x="509829" y="651807"/>
                  </a:moveTo>
                  <a:lnTo>
                    <a:pt x="96803" y="225874"/>
                  </a:lnTo>
                  <a:lnTo>
                    <a:pt x="690528" y="96803"/>
                  </a:lnTo>
                  <a:lnTo>
                    <a:pt x="690528" y="96803"/>
                  </a:lnTo>
                  <a:lnTo>
                    <a:pt x="509829" y="651807"/>
                  </a:lnTo>
                  <a:close/>
                  <a:moveTo>
                    <a:pt x="109710" y="225874"/>
                  </a:moveTo>
                  <a:lnTo>
                    <a:pt x="509829" y="638900"/>
                  </a:lnTo>
                  <a:lnTo>
                    <a:pt x="677621" y="96803"/>
                  </a:lnTo>
                  <a:lnTo>
                    <a:pt x="109710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8" name="Freeform: Shape 3167">
              <a:extLst>
                <a:ext uri="{FF2B5EF4-FFF2-40B4-BE49-F238E27FC236}">
                  <a16:creationId xmlns:a16="http://schemas.microsoft.com/office/drawing/2014/main" id="{15A8190B-41C0-4445-B51D-DD23668792A7}"/>
                </a:ext>
              </a:extLst>
            </p:cNvPr>
            <p:cNvSpPr/>
            <p:nvPr/>
          </p:nvSpPr>
          <p:spPr>
            <a:xfrm>
              <a:off x="9837883" y="3873299"/>
              <a:ext cx="516283" cy="645353"/>
            </a:xfrm>
            <a:custGeom>
              <a:avLst/>
              <a:gdLst>
                <a:gd name="connsiteX0" fmla="*/ 161338 w 516282"/>
                <a:gd name="connsiteY0" fmla="*/ 587271 h 645353"/>
                <a:gd name="connsiteX1" fmla="*/ 96803 w 516282"/>
                <a:gd name="connsiteY1" fmla="*/ 393665 h 645353"/>
                <a:gd name="connsiteX2" fmla="*/ 96803 w 516282"/>
                <a:gd name="connsiteY2" fmla="*/ 393665 h 645353"/>
                <a:gd name="connsiteX3" fmla="*/ 535643 w 516282"/>
                <a:gd name="connsiteY3" fmla="*/ 96803 h 645353"/>
                <a:gd name="connsiteX4" fmla="*/ 161338 w 516282"/>
                <a:gd name="connsiteY4" fmla="*/ 587271 h 645353"/>
                <a:gd name="connsiteX5" fmla="*/ 109710 w 516282"/>
                <a:gd name="connsiteY5" fmla="*/ 406572 h 645353"/>
                <a:gd name="connsiteX6" fmla="*/ 161338 w 516282"/>
                <a:gd name="connsiteY6" fmla="*/ 574364 h 645353"/>
                <a:gd name="connsiteX7" fmla="*/ 522737 w 516282"/>
                <a:gd name="connsiteY7" fmla="*/ 135524 h 645353"/>
                <a:gd name="connsiteX8" fmla="*/ 109710 w 516282"/>
                <a:gd name="connsiteY8" fmla="*/ 406572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161338" y="587271"/>
                  </a:moveTo>
                  <a:lnTo>
                    <a:pt x="96803" y="393665"/>
                  </a:lnTo>
                  <a:lnTo>
                    <a:pt x="96803" y="393665"/>
                  </a:lnTo>
                  <a:lnTo>
                    <a:pt x="535643" y="96803"/>
                  </a:lnTo>
                  <a:lnTo>
                    <a:pt x="161338" y="587271"/>
                  </a:lnTo>
                  <a:close/>
                  <a:moveTo>
                    <a:pt x="109710" y="406572"/>
                  </a:moveTo>
                  <a:lnTo>
                    <a:pt x="161338" y="574364"/>
                  </a:lnTo>
                  <a:lnTo>
                    <a:pt x="522737" y="135524"/>
                  </a:lnTo>
                  <a:lnTo>
                    <a:pt x="109710" y="406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69" name="Freeform: Shape 3168">
              <a:extLst>
                <a:ext uri="{FF2B5EF4-FFF2-40B4-BE49-F238E27FC236}">
                  <a16:creationId xmlns:a16="http://schemas.microsoft.com/office/drawing/2014/main" id="{5B6DBDEF-CD23-43BF-8224-7E807DF327D4}"/>
                </a:ext>
              </a:extLst>
            </p:cNvPr>
            <p:cNvSpPr/>
            <p:nvPr/>
          </p:nvSpPr>
          <p:spPr>
            <a:xfrm>
              <a:off x="9837883" y="3847485"/>
              <a:ext cx="516283" cy="516283"/>
            </a:xfrm>
            <a:custGeom>
              <a:avLst/>
              <a:gdLst>
                <a:gd name="connsiteX0" fmla="*/ 96803 w 516282"/>
                <a:gd name="connsiteY0" fmla="*/ 432387 h 516282"/>
                <a:gd name="connsiteX1" fmla="*/ 161338 w 516282"/>
                <a:gd name="connsiteY1" fmla="*/ 96803 h 516282"/>
                <a:gd name="connsiteX2" fmla="*/ 535643 w 516282"/>
                <a:gd name="connsiteY2" fmla="*/ 135524 h 516282"/>
                <a:gd name="connsiteX3" fmla="*/ 522737 w 516282"/>
                <a:gd name="connsiteY3" fmla="*/ 135524 h 516282"/>
                <a:gd name="connsiteX4" fmla="*/ 96803 w 516282"/>
                <a:gd name="connsiteY4" fmla="*/ 432387 h 516282"/>
                <a:gd name="connsiteX5" fmla="*/ 174245 w 516282"/>
                <a:gd name="connsiteY5" fmla="*/ 109710 h 516282"/>
                <a:gd name="connsiteX6" fmla="*/ 109710 w 516282"/>
                <a:gd name="connsiteY6" fmla="*/ 419480 h 516282"/>
                <a:gd name="connsiteX7" fmla="*/ 522737 w 516282"/>
                <a:gd name="connsiteY7" fmla="*/ 148431 h 516282"/>
                <a:gd name="connsiteX8" fmla="*/ 174245 w 516282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96803" y="432387"/>
                  </a:moveTo>
                  <a:lnTo>
                    <a:pt x="161338" y="96803"/>
                  </a:lnTo>
                  <a:lnTo>
                    <a:pt x="535643" y="135524"/>
                  </a:lnTo>
                  <a:lnTo>
                    <a:pt x="522737" y="135524"/>
                  </a:lnTo>
                  <a:lnTo>
                    <a:pt x="96803" y="432387"/>
                  </a:lnTo>
                  <a:close/>
                  <a:moveTo>
                    <a:pt x="174245" y="109710"/>
                  </a:moveTo>
                  <a:lnTo>
                    <a:pt x="109710" y="419480"/>
                  </a:lnTo>
                  <a:lnTo>
                    <a:pt x="522737" y="148431"/>
                  </a:lnTo>
                  <a:lnTo>
                    <a:pt x="17424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0" name="Freeform: Shape 3169">
              <a:extLst>
                <a:ext uri="{FF2B5EF4-FFF2-40B4-BE49-F238E27FC236}">
                  <a16:creationId xmlns:a16="http://schemas.microsoft.com/office/drawing/2014/main" id="{B9AEC521-AED0-4D0F-9B67-07D7748E7669}"/>
                </a:ext>
              </a:extLst>
            </p:cNvPr>
            <p:cNvSpPr/>
            <p:nvPr/>
          </p:nvSpPr>
          <p:spPr>
            <a:xfrm>
              <a:off x="9889511" y="2724570"/>
              <a:ext cx="516283" cy="1290706"/>
            </a:xfrm>
            <a:custGeom>
              <a:avLst/>
              <a:gdLst>
                <a:gd name="connsiteX0" fmla="*/ 484015 w 516282"/>
                <a:gd name="connsiteY0" fmla="*/ 1271346 h 1290706"/>
                <a:gd name="connsiteX1" fmla="*/ 109710 w 516282"/>
                <a:gd name="connsiteY1" fmla="*/ 1232625 h 1290706"/>
                <a:gd name="connsiteX2" fmla="*/ 96803 w 516282"/>
                <a:gd name="connsiteY2" fmla="*/ 96803 h 1290706"/>
                <a:gd name="connsiteX3" fmla="*/ 484015 w 516282"/>
                <a:gd name="connsiteY3" fmla="*/ 1271346 h 1290706"/>
                <a:gd name="connsiteX4" fmla="*/ 122617 w 516282"/>
                <a:gd name="connsiteY4" fmla="*/ 1219718 h 1290706"/>
                <a:gd name="connsiteX5" fmla="*/ 484015 w 516282"/>
                <a:gd name="connsiteY5" fmla="*/ 1258439 h 1290706"/>
                <a:gd name="connsiteX6" fmla="*/ 109710 w 516282"/>
                <a:gd name="connsiteY6" fmla="*/ 135524 h 1290706"/>
                <a:gd name="connsiteX7" fmla="*/ 122617 w 516282"/>
                <a:gd name="connsiteY7" fmla="*/ 1219718 h 1290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1290706">
                  <a:moveTo>
                    <a:pt x="484015" y="1271346"/>
                  </a:moveTo>
                  <a:lnTo>
                    <a:pt x="109710" y="1232625"/>
                  </a:lnTo>
                  <a:lnTo>
                    <a:pt x="96803" y="96803"/>
                  </a:lnTo>
                  <a:lnTo>
                    <a:pt x="484015" y="1271346"/>
                  </a:lnTo>
                  <a:close/>
                  <a:moveTo>
                    <a:pt x="122617" y="1219718"/>
                  </a:moveTo>
                  <a:lnTo>
                    <a:pt x="484015" y="1258439"/>
                  </a:lnTo>
                  <a:lnTo>
                    <a:pt x="109710" y="135524"/>
                  </a:lnTo>
                  <a:lnTo>
                    <a:pt x="122617" y="12197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1" name="Freeform: Shape 3170">
              <a:extLst>
                <a:ext uri="{FF2B5EF4-FFF2-40B4-BE49-F238E27FC236}">
                  <a16:creationId xmlns:a16="http://schemas.microsoft.com/office/drawing/2014/main" id="{6544691E-B0A9-4363-96A9-C3878F7FB9FE}"/>
                </a:ext>
              </a:extLst>
            </p:cNvPr>
            <p:cNvSpPr/>
            <p:nvPr/>
          </p:nvSpPr>
          <p:spPr>
            <a:xfrm>
              <a:off x="9889511" y="3899113"/>
              <a:ext cx="774424" cy="645353"/>
            </a:xfrm>
            <a:custGeom>
              <a:avLst/>
              <a:gdLst>
                <a:gd name="connsiteX0" fmla="*/ 96803 w 774423"/>
                <a:gd name="connsiteY0" fmla="*/ 561457 h 645353"/>
                <a:gd name="connsiteX1" fmla="*/ 96803 w 774423"/>
                <a:gd name="connsiteY1" fmla="*/ 561457 h 645353"/>
                <a:gd name="connsiteX2" fmla="*/ 484015 w 774423"/>
                <a:gd name="connsiteY2" fmla="*/ 96803 h 645353"/>
                <a:gd name="connsiteX3" fmla="*/ 484015 w 774423"/>
                <a:gd name="connsiteY3" fmla="*/ 96803 h 645353"/>
                <a:gd name="connsiteX4" fmla="*/ 742156 w 774423"/>
                <a:gd name="connsiteY4" fmla="*/ 419480 h 645353"/>
                <a:gd name="connsiteX5" fmla="*/ 96803 w 774423"/>
                <a:gd name="connsiteY5" fmla="*/ 561457 h 645353"/>
                <a:gd name="connsiteX6" fmla="*/ 484015 w 774423"/>
                <a:gd name="connsiteY6" fmla="*/ 96803 h 645353"/>
                <a:gd name="connsiteX7" fmla="*/ 122617 w 774423"/>
                <a:gd name="connsiteY7" fmla="*/ 548550 h 645353"/>
                <a:gd name="connsiteX8" fmla="*/ 729249 w 774423"/>
                <a:gd name="connsiteY8" fmla="*/ 406572 h 645353"/>
                <a:gd name="connsiteX9" fmla="*/ 484015 w 774423"/>
                <a:gd name="connsiteY9" fmla="*/ 9680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4423" h="645353">
                  <a:moveTo>
                    <a:pt x="96803" y="561457"/>
                  </a:moveTo>
                  <a:lnTo>
                    <a:pt x="96803" y="561457"/>
                  </a:lnTo>
                  <a:lnTo>
                    <a:pt x="484015" y="96803"/>
                  </a:lnTo>
                  <a:lnTo>
                    <a:pt x="484015" y="96803"/>
                  </a:lnTo>
                  <a:lnTo>
                    <a:pt x="742156" y="419480"/>
                  </a:lnTo>
                  <a:lnTo>
                    <a:pt x="96803" y="561457"/>
                  </a:lnTo>
                  <a:close/>
                  <a:moveTo>
                    <a:pt x="484015" y="96803"/>
                  </a:moveTo>
                  <a:lnTo>
                    <a:pt x="122617" y="548550"/>
                  </a:lnTo>
                  <a:lnTo>
                    <a:pt x="729249" y="406572"/>
                  </a:lnTo>
                  <a:lnTo>
                    <a:pt x="484015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2" name="Freeform: Shape 3171">
              <a:extLst>
                <a:ext uri="{FF2B5EF4-FFF2-40B4-BE49-F238E27FC236}">
                  <a16:creationId xmlns:a16="http://schemas.microsoft.com/office/drawing/2014/main" id="{3B9C81B7-5822-44A1-BA97-790AE517799E}"/>
                </a:ext>
              </a:extLst>
            </p:cNvPr>
            <p:cNvSpPr/>
            <p:nvPr/>
          </p:nvSpPr>
          <p:spPr>
            <a:xfrm>
              <a:off x="10870448" y="3976555"/>
              <a:ext cx="645353" cy="645353"/>
            </a:xfrm>
            <a:custGeom>
              <a:avLst/>
              <a:gdLst>
                <a:gd name="connsiteX0" fmla="*/ 574364 w 645353"/>
                <a:gd name="connsiteY0" fmla="*/ 638900 h 645353"/>
                <a:gd name="connsiteX1" fmla="*/ 96803 w 645353"/>
                <a:gd name="connsiteY1" fmla="*/ 509829 h 645353"/>
                <a:gd name="connsiteX2" fmla="*/ 96803 w 645353"/>
                <a:gd name="connsiteY2" fmla="*/ 509829 h 645353"/>
                <a:gd name="connsiteX3" fmla="*/ 574364 w 645353"/>
                <a:gd name="connsiteY3" fmla="*/ 96803 h 645353"/>
                <a:gd name="connsiteX4" fmla="*/ 574364 w 645353"/>
                <a:gd name="connsiteY4" fmla="*/ 638900 h 645353"/>
                <a:gd name="connsiteX5" fmla="*/ 109710 w 645353"/>
                <a:gd name="connsiteY5" fmla="*/ 496922 h 645353"/>
                <a:gd name="connsiteX6" fmla="*/ 561457 w 645353"/>
                <a:gd name="connsiteY6" fmla="*/ 625993 h 645353"/>
                <a:gd name="connsiteX7" fmla="*/ 574364 w 645353"/>
                <a:gd name="connsiteY7" fmla="*/ 96803 h 645353"/>
                <a:gd name="connsiteX8" fmla="*/ 109710 w 645353"/>
                <a:gd name="connsiteY8" fmla="*/ 496922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645353">
                  <a:moveTo>
                    <a:pt x="574364" y="638900"/>
                  </a:moveTo>
                  <a:lnTo>
                    <a:pt x="96803" y="509829"/>
                  </a:lnTo>
                  <a:lnTo>
                    <a:pt x="96803" y="509829"/>
                  </a:lnTo>
                  <a:lnTo>
                    <a:pt x="574364" y="96803"/>
                  </a:lnTo>
                  <a:lnTo>
                    <a:pt x="574364" y="638900"/>
                  </a:lnTo>
                  <a:close/>
                  <a:moveTo>
                    <a:pt x="109710" y="496922"/>
                  </a:moveTo>
                  <a:lnTo>
                    <a:pt x="561457" y="625993"/>
                  </a:lnTo>
                  <a:lnTo>
                    <a:pt x="574364" y="96803"/>
                  </a:lnTo>
                  <a:lnTo>
                    <a:pt x="109710" y="496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3" name="Freeform: Shape 3172">
              <a:extLst>
                <a:ext uri="{FF2B5EF4-FFF2-40B4-BE49-F238E27FC236}">
                  <a16:creationId xmlns:a16="http://schemas.microsoft.com/office/drawing/2014/main" id="{37DAC47B-66C5-4E4A-9CB7-78EB5C77960C}"/>
                </a:ext>
              </a:extLst>
            </p:cNvPr>
            <p:cNvSpPr/>
            <p:nvPr/>
          </p:nvSpPr>
          <p:spPr>
            <a:xfrm>
              <a:off x="10521958" y="3963648"/>
              <a:ext cx="1032565" cy="516283"/>
            </a:xfrm>
            <a:custGeom>
              <a:avLst/>
              <a:gdLst>
                <a:gd name="connsiteX0" fmla="*/ 458200 w 1032565"/>
                <a:gd name="connsiteY0" fmla="*/ 522736 h 516282"/>
                <a:gd name="connsiteX1" fmla="*/ 458200 w 1032565"/>
                <a:gd name="connsiteY1" fmla="*/ 522736 h 516282"/>
                <a:gd name="connsiteX2" fmla="*/ 96803 w 1032565"/>
                <a:gd name="connsiteY2" fmla="*/ 342037 h 516282"/>
                <a:gd name="connsiteX3" fmla="*/ 948669 w 1032565"/>
                <a:gd name="connsiteY3" fmla="*/ 96803 h 516282"/>
                <a:gd name="connsiteX4" fmla="*/ 458200 w 1032565"/>
                <a:gd name="connsiteY4" fmla="*/ 522736 h 516282"/>
                <a:gd name="connsiteX5" fmla="*/ 109710 w 1032565"/>
                <a:gd name="connsiteY5" fmla="*/ 342037 h 516282"/>
                <a:gd name="connsiteX6" fmla="*/ 458200 w 1032565"/>
                <a:gd name="connsiteY6" fmla="*/ 509829 h 516282"/>
                <a:gd name="connsiteX7" fmla="*/ 922854 w 1032565"/>
                <a:gd name="connsiteY7" fmla="*/ 109710 h 516282"/>
                <a:gd name="connsiteX8" fmla="*/ 109710 w 1032565"/>
                <a:gd name="connsiteY8" fmla="*/ 34203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516282">
                  <a:moveTo>
                    <a:pt x="458200" y="522736"/>
                  </a:moveTo>
                  <a:lnTo>
                    <a:pt x="458200" y="522736"/>
                  </a:lnTo>
                  <a:lnTo>
                    <a:pt x="96803" y="342037"/>
                  </a:lnTo>
                  <a:lnTo>
                    <a:pt x="948669" y="96803"/>
                  </a:lnTo>
                  <a:lnTo>
                    <a:pt x="458200" y="522736"/>
                  </a:lnTo>
                  <a:close/>
                  <a:moveTo>
                    <a:pt x="109710" y="342037"/>
                  </a:moveTo>
                  <a:lnTo>
                    <a:pt x="458200" y="509829"/>
                  </a:lnTo>
                  <a:lnTo>
                    <a:pt x="922854" y="109710"/>
                  </a:lnTo>
                  <a:lnTo>
                    <a:pt x="109710" y="3420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4" name="Freeform: Shape 3173">
              <a:extLst>
                <a:ext uri="{FF2B5EF4-FFF2-40B4-BE49-F238E27FC236}">
                  <a16:creationId xmlns:a16="http://schemas.microsoft.com/office/drawing/2014/main" id="{A92552DB-6C7C-4558-9AF0-B0901B2CA4AC}"/>
                </a:ext>
              </a:extLst>
            </p:cNvPr>
            <p:cNvSpPr/>
            <p:nvPr/>
          </p:nvSpPr>
          <p:spPr>
            <a:xfrm>
              <a:off x="11335102" y="3963648"/>
              <a:ext cx="774424" cy="645353"/>
            </a:xfrm>
            <a:custGeom>
              <a:avLst/>
              <a:gdLst>
                <a:gd name="connsiteX0" fmla="*/ 96803 w 774423"/>
                <a:gd name="connsiteY0" fmla="*/ 651807 h 645353"/>
                <a:gd name="connsiteX1" fmla="*/ 96803 w 774423"/>
                <a:gd name="connsiteY1" fmla="*/ 651807 h 645353"/>
                <a:gd name="connsiteX2" fmla="*/ 109710 w 774423"/>
                <a:gd name="connsiteY2" fmla="*/ 96803 h 645353"/>
                <a:gd name="connsiteX3" fmla="*/ 729249 w 774423"/>
                <a:gd name="connsiteY3" fmla="*/ 548550 h 645353"/>
                <a:gd name="connsiteX4" fmla="*/ 96803 w 774423"/>
                <a:gd name="connsiteY4" fmla="*/ 651807 h 645353"/>
                <a:gd name="connsiteX5" fmla="*/ 122618 w 774423"/>
                <a:gd name="connsiteY5" fmla="*/ 109710 h 645353"/>
                <a:gd name="connsiteX6" fmla="*/ 109710 w 774423"/>
                <a:gd name="connsiteY6" fmla="*/ 651807 h 645353"/>
                <a:gd name="connsiteX7" fmla="*/ 729249 w 774423"/>
                <a:gd name="connsiteY7" fmla="*/ 548550 h 645353"/>
                <a:gd name="connsiteX8" fmla="*/ 122618 w 774423"/>
                <a:gd name="connsiteY8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645353">
                  <a:moveTo>
                    <a:pt x="96803" y="651807"/>
                  </a:moveTo>
                  <a:lnTo>
                    <a:pt x="96803" y="651807"/>
                  </a:lnTo>
                  <a:lnTo>
                    <a:pt x="109710" y="96803"/>
                  </a:lnTo>
                  <a:lnTo>
                    <a:pt x="729249" y="548550"/>
                  </a:lnTo>
                  <a:lnTo>
                    <a:pt x="96803" y="651807"/>
                  </a:lnTo>
                  <a:close/>
                  <a:moveTo>
                    <a:pt x="122618" y="109710"/>
                  </a:moveTo>
                  <a:lnTo>
                    <a:pt x="109710" y="651807"/>
                  </a:lnTo>
                  <a:lnTo>
                    <a:pt x="729249" y="548550"/>
                  </a:lnTo>
                  <a:lnTo>
                    <a:pt x="12261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5" name="Freeform: Shape 3174">
              <a:extLst>
                <a:ext uri="{FF2B5EF4-FFF2-40B4-BE49-F238E27FC236}">
                  <a16:creationId xmlns:a16="http://schemas.microsoft.com/office/drawing/2014/main" id="{D13C2A49-E808-42B0-8AB2-8C64F4FA1C58}"/>
                </a:ext>
              </a:extLst>
            </p:cNvPr>
            <p:cNvSpPr/>
            <p:nvPr/>
          </p:nvSpPr>
          <p:spPr>
            <a:xfrm>
              <a:off x="11322195" y="4402488"/>
              <a:ext cx="774424" cy="387212"/>
            </a:xfrm>
            <a:custGeom>
              <a:avLst/>
              <a:gdLst>
                <a:gd name="connsiteX0" fmla="*/ 393666 w 774423"/>
                <a:gd name="connsiteY0" fmla="*/ 393666 h 387211"/>
                <a:gd name="connsiteX1" fmla="*/ 96803 w 774423"/>
                <a:gd name="connsiteY1" fmla="*/ 212967 h 387211"/>
                <a:gd name="connsiteX2" fmla="*/ 742156 w 774423"/>
                <a:gd name="connsiteY2" fmla="*/ 96803 h 387211"/>
                <a:gd name="connsiteX3" fmla="*/ 393666 w 774423"/>
                <a:gd name="connsiteY3" fmla="*/ 393666 h 387211"/>
                <a:gd name="connsiteX4" fmla="*/ 122617 w 774423"/>
                <a:gd name="connsiteY4" fmla="*/ 212967 h 387211"/>
                <a:gd name="connsiteX5" fmla="*/ 393666 w 774423"/>
                <a:gd name="connsiteY5" fmla="*/ 380759 h 387211"/>
                <a:gd name="connsiteX6" fmla="*/ 729249 w 774423"/>
                <a:gd name="connsiteY6" fmla="*/ 109710 h 387211"/>
                <a:gd name="connsiteX7" fmla="*/ 122617 w 774423"/>
                <a:gd name="connsiteY7" fmla="*/ 21296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387211">
                  <a:moveTo>
                    <a:pt x="393666" y="393666"/>
                  </a:moveTo>
                  <a:lnTo>
                    <a:pt x="96803" y="212967"/>
                  </a:lnTo>
                  <a:lnTo>
                    <a:pt x="742156" y="96803"/>
                  </a:lnTo>
                  <a:lnTo>
                    <a:pt x="393666" y="393666"/>
                  </a:lnTo>
                  <a:close/>
                  <a:moveTo>
                    <a:pt x="122617" y="212967"/>
                  </a:moveTo>
                  <a:lnTo>
                    <a:pt x="393666" y="380759"/>
                  </a:lnTo>
                  <a:lnTo>
                    <a:pt x="729249" y="109710"/>
                  </a:lnTo>
                  <a:lnTo>
                    <a:pt x="122617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6" name="Freeform: Shape 3175">
              <a:extLst>
                <a:ext uri="{FF2B5EF4-FFF2-40B4-BE49-F238E27FC236}">
                  <a16:creationId xmlns:a16="http://schemas.microsoft.com/office/drawing/2014/main" id="{DFB14956-9E6F-4D81-A496-409BBE3E1310}"/>
                </a:ext>
              </a:extLst>
            </p:cNvPr>
            <p:cNvSpPr/>
            <p:nvPr/>
          </p:nvSpPr>
          <p:spPr>
            <a:xfrm>
              <a:off x="11619058" y="4415396"/>
              <a:ext cx="516283" cy="774424"/>
            </a:xfrm>
            <a:custGeom>
              <a:avLst/>
              <a:gdLst>
                <a:gd name="connsiteX0" fmla="*/ 471107 w 516282"/>
                <a:gd name="connsiteY0" fmla="*/ 767970 h 774423"/>
                <a:gd name="connsiteX1" fmla="*/ 96803 w 516282"/>
                <a:gd name="connsiteY1" fmla="*/ 380759 h 774423"/>
                <a:gd name="connsiteX2" fmla="*/ 445293 w 516282"/>
                <a:gd name="connsiteY2" fmla="*/ 96803 h 774423"/>
                <a:gd name="connsiteX3" fmla="*/ 471107 w 516282"/>
                <a:gd name="connsiteY3" fmla="*/ 767970 h 774423"/>
                <a:gd name="connsiteX4" fmla="*/ 109710 w 516282"/>
                <a:gd name="connsiteY4" fmla="*/ 380759 h 774423"/>
                <a:gd name="connsiteX5" fmla="*/ 471107 w 516282"/>
                <a:gd name="connsiteY5" fmla="*/ 755063 h 774423"/>
                <a:gd name="connsiteX6" fmla="*/ 445293 w 516282"/>
                <a:gd name="connsiteY6" fmla="*/ 109710 h 774423"/>
                <a:gd name="connsiteX7" fmla="*/ 109710 w 516282"/>
                <a:gd name="connsiteY7" fmla="*/ 380759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774423">
                  <a:moveTo>
                    <a:pt x="471107" y="767970"/>
                  </a:moveTo>
                  <a:lnTo>
                    <a:pt x="96803" y="380759"/>
                  </a:lnTo>
                  <a:lnTo>
                    <a:pt x="445293" y="96803"/>
                  </a:lnTo>
                  <a:lnTo>
                    <a:pt x="471107" y="767970"/>
                  </a:lnTo>
                  <a:close/>
                  <a:moveTo>
                    <a:pt x="109710" y="380759"/>
                  </a:moveTo>
                  <a:lnTo>
                    <a:pt x="471107" y="755063"/>
                  </a:lnTo>
                  <a:lnTo>
                    <a:pt x="445293" y="109710"/>
                  </a:lnTo>
                  <a:lnTo>
                    <a:pt x="109710" y="3807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7" name="Freeform: Shape 3176">
              <a:extLst>
                <a:ext uri="{FF2B5EF4-FFF2-40B4-BE49-F238E27FC236}">
                  <a16:creationId xmlns:a16="http://schemas.microsoft.com/office/drawing/2014/main" id="{5B4AD001-A80E-45F5-B8A9-C7322E8E9440}"/>
                </a:ext>
              </a:extLst>
            </p:cNvPr>
            <p:cNvSpPr/>
            <p:nvPr/>
          </p:nvSpPr>
          <p:spPr>
            <a:xfrm>
              <a:off x="11967549" y="4402488"/>
              <a:ext cx="516283" cy="774424"/>
            </a:xfrm>
            <a:custGeom>
              <a:avLst/>
              <a:gdLst>
                <a:gd name="connsiteX0" fmla="*/ 122617 w 516282"/>
                <a:gd name="connsiteY0" fmla="*/ 767970 h 774423"/>
                <a:gd name="connsiteX1" fmla="*/ 96803 w 516282"/>
                <a:gd name="connsiteY1" fmla="*/ 96803 h 774423"/>
                <a:gd name="connsiteX2" fmla="*/ 96803 w 516282"/>
                <a:gd name="connsiteY2" fmla="*/ 96803 h 774423"/>
                <a:gd name="connsiteX3" fmla="*/ 496922 w 516282"/>
                <a:gd name="connsiteY3" fmla="*/ 419480 h 774423"/>
                <a:gd name="connsiteX4" fmla="*/ 496922 w 516282"/>
                <a:gd name="connsiteY4" fmla="*/ 419480 h 774423"/>
                <a:gd name="connsiteX5" fmla="*/ 122617 w 516282"/>
                <a:gd name="connsiteY5" fmla="*/ 767970 h 774423"/>
                <a:gd name="connsiteX6" fmla="*/ 96803 w 516282"/>
                <a:gd name="connsiteY6" fmla="*/ 109710 h 774423"/>
                <a:gd name="connsiteX7" fmla="*/ 122617 w 516282"/>
                <a:gd name="connsiteY7" fmla="*/ 755063 h 774423"/>
                <a:gd name="connsiteX8" fmla="*/ 484015 w 516282"/>
                <a:gd name="connsiteY8" fmla="*/ 419480 h 774423"/>
                <a:gd name="connsiteX9" fmla="*/ 96803 w 516282"/>
                <a:gd name="connsiteY9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16282" h="774423">
                  <a:moveTo>
                    <a:pt x="122617" y="767970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496922" y="419480"/>
                  </a:lnTo>
                  <a:lnTo>
                    <a:pt x="496922" y="419480"/>
                  </a:lnTo>
                  <a:lnTo>
                    <a:pt x="122617" y="767970"/>
                  </a:lnTo>
                  <a:close/>
                  <a:moveTo>
                    <a:pt x="96803" y="109710"/>
                  </a:moveTo>
                  <a:lnTo>
                    <a:pt x="122617" y="755063"/>
                  </a:lnTo>
                  <a:lnTo>
                    <a:pt x="484015" y="419480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8" name="Freeform: Shape 3177">
              <a:extLst>
                <a:ext uri="{FF2B5EF4-FFF2-40B4-BE49-F238E27FC236}">
                  <a16:creationId xmlns:a16="http://schemas.microsoft.com/office/drawing/2014/main" id="{C52CDCFB-3E5C-4DC4-9006-BF02562D83F1}"/>
                </a:ext>
              </a:extLst>
            </p:cNvPr>
            <p:cNvSpPr/>
            <p:nvPr/>
          </p:nvSpPr>
          <p:spPr>
            <a:xfrm>
              <a:off x="11954642" y="4402488"/>
              <a:ext cx="774424" cy="516283"/>
            </a:xfrm>
            <a:custGeom>
              <a:avLst/>
              <a:gdLst>
                <a:gd name="connsiteX0" fmla="*/ 509829 w 774423"/>
                <a:gd name="connsiteY0" fmla="*/ 432387 h 516282"/>
                <a:gd name="connsiteX1" fmla="*/ 509829 w 774423"/>
                <a:gd name="connsiteY1" fmla="*/ 432387 h 516282"/>
                <a:gd name="connsiteX2" fmla="*/ 96803 w 774423"/>
                <a:gd name="connsiteY2" fmla="*/ 96803 h 516282"/>
                <a:gd name="connsiteX3" fmla="*/ 690528 w 774423"/>
                <a:gd name="connsiteY3" fmla="*/ 367851 h 516282"/>
                <a:gd name="connsiteX4" fmla="*/ 509829 w 774423"/>
                <a:gd name="connsiteY4" fmla="*/ 432387 h 516282"/>
                <a:gd name="connsiteX5" fmla="*/ 135524 w 774423"/>
                <a:gd name="connsiteY5" fmla="*/ 122617 h 516282"/>
                <a:gd name="connsiteX6" fmla="*/ 509829 w 774423"/>
                <a:gd name="connsiteY6" fmla="*/ 432387 h 516282"/>
                <a:gd name="connsiteX7" fmla="*/ 664714 w 774423"/>
                <a:gd name="connsiteY7" fmla="*/ 367851 h 516282"/>
                <a:gd name="connsiteX8" fmla="*/ 135524 w 774423"/>
                <a:gd name="connsiteY8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516282">
                  <a:moveTo>
                    <a:pt x="509829" y="432387"/>
                  </a:moveTo>
                  <a:lnTo>
                    <a:pt x="509829" y="432387"/>
                  </a:lnTo>
                  <a:lnTo>
                    <a:pt x="96803" y="96803"/>
                  </a:lnTo>
                  <a:lnTo>
                    <a:pt x="690528" y="367851"/>
                  </a:lnTo>
                  <a:lnTo>
                    <a:pt x="509829" y="432387"/>
                  </a:lnTo>
                  <a:close/>
                  <a:moveTo>
                    <a:pt x="135524" y="122617"/>
                  </a:moveTo>
                  <a:lnTo>
                    <a:pt x="509829" y="432387"/>
                  </a:lnTo>
                  <a:lnTo>
                    <a:pt x="664714" y="367851"/>
                  </a:lnTo>
                  <a:lnTo>
                    <a:pt x="135524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79" name="Freeform: Shape 3178">
              <a:extLst>
                <a:ext uri="{FF2B5EF4-FFF2-40B4-BE49-F238E27FC236}">
                  <a16:creationId xmlns:a16="http://schemas.microsoft.com/office/drawing/2014/main" id="{041E445F-98C1-4915-B317-67F16AC303F1}"/>
                </a:ext>
              </a:extLst>
            </p:cNvPr>
            <p:cNvSpPr/>
            <p:nvPr/>
          </p:nvSpPr>
          <p:spPr>
            <a:xfrm>
              <a:off x="12522553" y="4363767"/>
              <a:ext cx="645353" cy="774424"/>
            </a:xfrm>
            <a:custGeom>
              <a:avLst/>
              <a:gdLst>
                <a:gd name="connsiteX0" fmla="*/ 354944 w 645353"/>
                <a:gd name="connsiteY0" fmla="*/ 755063 h 774423"/>
                <a:gd name="connsiteX1" fmla="*/ 96803 w 645353"/>
                <a:gd name="connsiteY1" fmla="*/ 406572 h 774423"/>
                <a:gd name="connsiteX2" fmla="*/ 96803 w 645353"/>
                <a:gd name="connsiteY2" fmla="*/ 406572 h 774423"/>
                <a:gd name="connsiteX3" fmla="*/ 600178 w 645353"/>
                <a:gd name="connsiteY3" fmla="*/ 96803 h 774423"/>
                <a:gd name="connsiteX4" fmla="*/ 354944 w 645353"/>
                <a:gd name="connsiteY4" fmla="*/ 755063 h 774423"/>
                <a:gd name="connsiteX5" fmla="*/ 96803 w 645353"/>
                <a:gd name="connsiteY5" fmla="*/ 406572 h 774423"/>
                <a:gd name="connsiteX6" fmla="*/ 342036 w 645353"/>
                <a:gd name="connsiteY6" fmla="*/ 742156 h 774423"/>
                <a:gd name="connsiteX7" fmla="*/ 574364 w 645353"/>
                <a:gd name="connsiteY7" fmla="*/ 109710 h 774423"/>
                <a:gd name="connsiteX8" fmla="*/ 96803 w 645353"/>
                <a:gd name="connsiteY8" fmla="*/ 406572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774423">
                  <a:moveTo>
                    <a:pt x="354944" y="755063"/>
                  </a:moveTo>
                  <a:lnTo>
                    <a:pt x="96803" y="406572"/>
                  </a:lnTo>
                  <a:lnTo>
                    <a:pt x="96803" y="406572"/>
                  </a:lnTo>
                  <a:lnTo>
                    <a:pt x="600178" y="96803"/>
                  </a:lnTo>
                  <a:lnTo>
                    <a:pt x="354944" y="755063"/>
                  </a:lnTo>
                  <a:close/>
                  <a:moveTo>
                    <a:pt x="96803" y="406572"/>
                  </a:moveTo>
                  <a:lnTo>
                    <a:pt x="342036" y="742156"/>
                  </a:lnTo>
                  <a:lnTo>
                    <a:pt x="574364" y="109710"/>
                  </a:lnTo>
                  <a:lnTo>
                    <a:pt x="96803" y="406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0" name="Freeform: Shape 3179">
              <a:extLst>
                <a:ext uri="{FF2B5EF4-FFF2-40B4-BE49-F238E27FC236}">
                  <a16:creationId xmlns:a16="http://schemas.microsoft.com/office/drawing/2014/main" id="{131750DB-DE82-4444-A783-225673531124}"/>
                </a:ext>
              </a:extLst>
            </p:cNvPr>
            <p:cNvSpPr/>
            <p:nvPr/>
          </p:nvSpPr>
          <p:spPr>
            <a:xfrm>
              <a:off x="12767786" y="4350860"/>
              <a:ext cx="516283" cy="774424"/>
            </a:xfrm>
            <a:custGeom>
              <a:avLst/>
              <a:gdLst>
                <a:gd name="connsiteX0" fmla="*/ 96803 w 516282"/>
                <a:gd name="connsiteY0" fmla="*/ 755063 h 774423"/>
                <a:gd name="connsiteX1" fmla="*/ 342037 w 516282"/>
                <a:gd name="connsiteY1" fmla="*/ 96803 h 774423"/>
                <a:gd name="connsiteX2" fmla="*/ 522737 w 516282"/>
                <a:gd name="connsiteY2" fmla="*/ 664714 h 774423"/>
                <a:gd name="connsiteX3" fmla="*/ 96803 w 516282"/>
                <a:gd name="connsiteY3" fmla="*/ 755063 h 774423"/>
                <a:gd name="connsiteX4" fmla="*/ 342037 w 516282"/>
                <a:gd name="connsiteY4" fmla="*/ 122617 h 774423"/>
                <a:gd name="connsiteX5" fmla="*/ 109711 w 516282"/>
                <a:gd name="connsiteY5" fmla="*/ 755063 h 774423"/>
                <a:gd name="connsiteX6" fmla="*/ 509830 w 516282"/>
                <a:gd name="connsiteY6" fmla="*/ 664714 h 774423"/>
                <a:gd name="connsiteX7" fmla="*/ 342037 w 516282"/>
                <a:gd name="connsiteY7" fmla="*/ 12261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774423">
                  <a:moveTo>
                    <a:pt x="96803" y="755063"/>
                  </a:moveTo>
                  <a:lnTo>
                    <a:pt x="342037" y="96803"/>
                  </a:lnTo>
                  <a:lnTo>
                    <a:pt x="522737" y="664714"/>
                  </a:lnTo>
                  <a:lnTo>
                    <a:pt x="96803" y="755063"/>
                  </a:lnTo>
                  <a:close/>
                  <a:moveTo>
                    <a:pt x="342037" y="122617"/>
                  </a:moveTo>
                  <a:lnTo>
                    <a:pt x="109711" y="755063"/>
                  </a:lnTo>
                  <a:lnTo>
                    <a:pt x="509830" y="664714"/>
                  </a:lnTo>
                  <a:lnTo>
                    <a:pt x="34203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1" name="Freeform: Shape 3180">
              <a:extLst>
                <a:ext uri="{FF2B5EF4-FFF2-40B4-BE49-F238E27FC236}">
                  <a16:creationId xmlns:a16="http://schemas.microsoft.com/office/drawing/2014/main" id="{0FC26DE1-DB8B-4AC3-BD47-71F6F6B65F93}"/>
                </a:ext>
              </a:extLst>
            </p:cNvPr>
            <p:cNvSpPr/>
            <p:nvPr/>
          </p:nvSpPr>
          <p:spPr>
            <a:xfrm>
              <a:off x="13013021" y="4337953"/>
              <a:ext cx="387212" cy="774424"/>
            </a:xfrm>
            <a:custGeom>
              <a:avLst/>
              <a:gdLst>
                <a:gd name="connsiteX0" fmla="*/ 277502 w 387211"/>
                <a:gd name="connsiteY0" fmla="*/ 677621 h 774423"/>
                <a:gd name="connsiteX1" fmla="*/ 277502 w 387211"/>
                <a:gd name="connsiteY1" fmla="*/ 677621 h 774423"/>
                <a:gd name="connsiteX2" fmla="*/ 96803 w 387211"/>
                <a:gd name="connsiteY2" fmla="*/ 96803 h 774423"/>
                <a:gd name="connsiteX3" fmla="*/ 406573 w 387211"/>
                <a:gd name="connsiteY3" fmla="*/ 471108 h 774423"/>
                <a:gd name="connsiteX4" fmla="*/ 277502 w 387211"/>
                <a:gd name="connsiteY4" fmla="*/ 677621 h 774423"/>
                <a:gd name="connsiteX5" fmla="*/ 109710 w 387211"/>
                <a:gd name="connsiteY5" fmla="*/ 135524 h 774423"/>
                <a:gd name="connsiteX6" fmla="*/ 277502 w 387211"/>
                <a:gd name="connsiteY6" fmla="*/ 664714 h 774423"/>
                <a:gd name="connsiteX7" fmla="*/ 406573 w 387211"/>
                <a:gd name="connsiteY7" fmla="*/ 484015 h 774423"/>
                <a:gd name="connsiteX8" fmla="*/ 109710 w 387211"/>
                <a:gd name="connsiteY8" fmla="*/ 135524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774423">
                  <a:moveTo>
                    <a:pt x="277502" y="677621"/>
                  </a:moveTo>
                  <a:lnTo>
                    <a:pt x="277502" y="677621"/>
                  </a:lnTo>
                  <a:lnTo>
                    <a:pt x="96803" y="96803"/>
                  </a:lnTo>
                  <a:lnTo>
                    <a:pt x="406573" y="471108"/>
                  </a:lnTo>
                  <a:lnTo>
                    <a:pt x="277502" y="677621"/>
                  </a:lnTo>
                  <a:close/>
                  <a:moveTo>
                    <a:pt x="109710" y="135524"/>
                  </a:moveTo>
                  <a:lnTo>
                    <a:pt x="277502" y="664714"/>
                  </a:lnTo>
                  <a:lnTo>
                    <a:pt x="406573" y="484015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2" name="Freeform: Shape 3181">
              <a:extLst>
                <a:ext uri="{FF2B5EF4-FFF2-40B4-BE49-F238E27FC236}">
                  <a16:creationId xmlns:a16="http://schemas.microsoft.com/office/drawing/2014/main" id="{ECB45EEC-A039-48E5-A89F-88231C7852C9}"/>
                </a:ext>
              </a:extLst>
            </p:cNvPr>
            <p:cNvSpPr/>
            <p:nvPr/>
          </p:nvSpPr>
          <p:spPr>
            <a:xfrm>
              <a:off x="13000114" y="4350860"/>
              <a:ext cx="774424" cy="516283"/>
            </a:xfrm>
            <a:custGeom>
              <a:avLst/>
              <a:gdLst>
                <a:gd name="connsiteX0" fmla="*/ 419480 w 774423"/>
                <a:gd name="connsiteY0" fmla="*/ 471108 h 516282"/>
                <a:gd name="connsiteX1" fmla="*/ 419480 w 774423"/>
                <a:gd name="connsiteY1" fmla="*/ 471108 h 516282"/>
                <a:gd name="connsiteX2" fmla="*/ 96803 w 774423"/>
                <a:gd name="connsiteY2" fmla="*/ 96803 h 516282"/>
                <a:gd name="connsiteX3" fmla="*/ 703435 w 774423"/>
                <a:gd name="connsiteY3" fmla="*/ 458201 h 516282"/>
                <a:gd name="connsiteX4" fmla="*/ 419480 w 774423"/>
                <a:gd name="connsiteY4" fmla="*/ 471108 h 516282"/>
                <a:gd name="connsiteX5" fmla="*/ 122617 w 774423"/>
                <a:gd name="connsiteY5" fmla="*/ 122617 h 516282"/>
                <a:gd name="connsiteX6" fmla="*/ 419480 w 774423"/>
                <a:gd name="connsiteY6" fmla="*/ 471108 h 516282"/>
                <a:gd name="connsiteX7" fmla="*/ 677621 w 774423"/>
                <a:gd name="connsiteY7" fmla="*/ 458201 h 516282"/>
                <a:gd name="connsiteX8" fmla="*/ 122617 w 774423"/>
                <a:gd name="connsiteY8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516282">
                  <a:moveTo>
                    <a:pt x="419480" y="471108"/>
                  </a:moveTo>
                  <a:lnTo>
                    <a:pt x="419480" y="471108"/>
                  </a:lnTo>
                  <a:lnTo>
                    <a:pt x="96803" y="96803"/>
                  </a:lnTo>
                  <a:lnTo>
                    <a:pt x="703435" y="458201"/>
                  </a:lnTo>
                  <a:lnTo>
                    <a:pt x="419480" y="471108"/>
                  </a:lnTo>
                  <a:close/>
                  <a:moveTo>
                    <a:pt x="122617" y="122617"/>
                  </a:moveTo>
                  <a:lnTo>
                    <a:pt x="419480" y="471108"/>
                  </a:lnTo>
                  <a:lnTo>
                    <a:pt x="677621" y="458201"/>
                  </a:lnTo>
                  <a:lnTo>
                    <a:pt x="12261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3" name="Freeform: Shape 3182">
              <a:extLst>
                <a:ext uri="{FF2B5EF4-FFF2-40B4-BE49-F238E27FC236}">
                  <a16:creationId xmlns:a16="http://schemas.microsoft.com/office/drawing/2014/main" id="{EB1CBF51-7ECD-4944-8AB0-65D37DA3E608}"/>
                </a:ext>
              </a:extLst>
            </p:cNvPr>
            <p:cNvSpPr/>
            <p:nvPr/>
          </p:nvSpPr>
          <p:spPr>
            <a:xfrm>
              <a:off x="13013021" y="4312139"/>
              <a:ext cx="1032565" cy="516283"/>
            </a:xfrm>
            <a:custGeom>
              <a:avLst/>
              <a:gdLst>
                <a:gd name="connsiteX0" fmla="*/ 677621 w 1032565"/>
                <a:gd name="connsiteY0" fmla="*/ 496922 h 516282"/>
                <a:gd name="connsiteX1" fmla="*/ 96803 w 1032565"/>
                <a:gd name="connsiteY1" fmla="*/ 135524 h 516282"/>
                <a:gd name="connsiteX2" fmla="*/ 109710 w 1032565"/>
                <a:gd name="connsiteY2" fmla="*/ 135524 h 516282"/>
                <a:gd name="connsiteX3" fmla="*/ 1051926 w 1032565"/>
                <a:gd name="connsiteY3" fmla="*/ 96803 h 516282"/>
                <a:gd name="connsiteX4" fmla="*/ 677621 w 1032565"/>
                <a:gd name="connsiteY4" fmla="*/ 496922 h 516282"/>
                <a:gd name="connsiteX5" fmla="*/ 109710 w 1032565"/>
                <a:gd name="connsiteY5" fmla="*/ 148431 h 516282"/>
                <a:gd name="connsiteX6" fmla="*/ 677621 w 1032565"/>
                <a:gd name="connsiteY6" fmla="*/ 496922 h 516282"/>
                <a:gd name="connsiteX7" fmla="*/ 1039019 w 1032565"/>
                <a:gd name="connsiteY7" fmla="*/ 109710 h 516282"/>
                <a:gd name="connsiteX8" fmla="*/ 109710 w 1032565"/>
                <a:gd name="connsiteY8" fmla="*/ 14843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516282">
                  <a:moveTo>
                    <a:pt x="677621" y="496922"/>
                  </a:moveTo>
                  <a:lnTo>
                    <a:pt x="96803" y="135524"/>
                  </a:lnTo>
                  <a:lnTo>
                    <a:pt x="109710" y="135524"/>
                  </a:lnTo>
                  <a:lnTo>
                    <a:pt x="1051926" y="96803"/>
                  </a:lnTo>
                  <a:lnTo>
                    <a:pt x="677621" y="496922"/>
                  </a:lnTo>
                  <a:close/>
                  <a:moveTo>
                    <a:pt x="109710" y="148431"/>
                  </a:moveTo>
                  <a:lnTo>
                    <a:pt x="677621" y="496922"/>
                  </a:lnTo>
                  <a:lnTo>
                    <a:pt x="1039019" y="109710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4" name="Freeform: Shape 3183">
              <a:extLst>
                <a:ext uri="{FF2B5EF4-FFF2-40B4-BE49-F238E27FC236}">
                  <a16:creationId xmlns:a16="http://schemas.microsoft.com/office/drawing/2014/main" id="{8B6F7913-BA66-44C2-89A7-4D30A20DCFBE}"/>
                </a:ext>
              </a:extLst>
            </p:cNvPr>
            <p:cNvSpPr/>
            <p:nvPr/>
          </p:nvSpPr>
          <p:spPr>
            <a:xfrm>
              <a:off x="13013021" y="3731321"/>
              <a:ext cx="1032565" cy="774424"/>
            </a:xfrm>
            <a:custGeom>
              <a:avLst/>
              <a:gdLst>
                <a:gd name="connsiteX0" fmla="*/ 96803 w 1032565"/>
                <a:gd name="connsiteY0" fmla="*/ 729249 h 774423"/>
                <a:gd name="connsiteX1" fmla="*/ 845413 w 1032565"/>
                <a:gd name="connsiteY1" fmla="*/ 96803 h 774423"/>
                <a:gd name="connsiteX2" fmla="*/ 1051926 w 1032565"/>
                <a:gd name="connsiteY2" fmla="*/ 677621 h 774423"/>
                <a:gd name="connsiteX3" fmla="*/ 1051926 w 1032565"/>
                <a:gd name="connsiteY3" fmla="*/ 677621 h 774423"/>
                <a:gd name="connsiteX4" fmla="*/ 96803 w 1032565"/>
                <a:gd name="connsiteY4" fmla="*/ 729249 h 774423"/>
                <a:gd name="connsiteX5" fmla="*/ 832506 w 1032565"/>
                <a:gd name="connsiteY5" fmla="*/ 109710 h 774423"/>
                <a:gd name="connsiteX6" fmla="*/ 109710 w 1032565"/>
                <a:gd name="connsiteY6" fmla="*/ 716342 h 774423"/>
                <a:gd name="connsiteX7" fmla="*/ 1039019 w 1032565"/>
                <a:gd name="connsiteY7" fmla="*/ 677621 h 774423"/>
                <a:gd name="connsiteX8" fmla="*/ 832506 w 1032565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774423">
                  <a:moveTo>
                    <a:pt x="96803" y="729249"/>
                  </a:moveTo>
                  <a:lnTo>
                    <a:pt x="845413" y="96803"/>
                  </a:lnTo>
                  <a:lnTo>
                    <a:pt x="1051926" y="677621"/>
                  </a:lnTo>
                  <a:lnTo>
                    <a:pt x="1051926" y="677621"/>
                  </a:lnTo>
                  <a:lnTo>
                    <a:pt x="96803" y="729249"/>
                  </a:lnTo>
                  <a:close/>
                  <a:moveTo>
                    <a:pt x="832506" y="109710"/>
                  </a:moveTo>
                  <a:lnTo>
                    <a:pt x="109710" y="716342"/>
                  </a:lnTo>
                  <a:lnTo>
                    <a:pt x="1039019" y="677621"/>
                  </a:lnTo>
                  <a:lnTo>
                    <a:pt x="832506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5" name="Freeform: Shape 3184">
              <a:extLst>
                <a:ext uri="{FF2B5EF4-FFF2-40B4-BE49-F238E27FC236}">
                  <a16:creationId xmlns:a16="http://schemas.microsoft.com/office/drawing/2014/main" id="{065179F7-023A-4ACE-B843-E11656BDDC48}"/>
                </a:ext>
              </a:extLst>
            </p:cNvPr>
            <p:cNvSpPr/>
            <p:nvPr/>
          </p:nvSpPr>
          <p:spPr>
            <a:xfrm>
              <a:off x="13748724" y="2969804"/>
              <a:ext cx="387212" cy="903494"/>
            </a:xfrm>
            <a:custGeom>
              <a:avLst/>
              <a:gdLst>
                <a:gd name="connsiteX0" fmla="*/ 96803 w 387211"/>
                <a:gd name="connsiteY0" fmla="*/ 871227 h 903494"/>
                <a:gd name="connsiteX1" fmla="*/ 187152 w 387211"/>
                <a:gd name="connsiteY1" fmla="*/ 96803 h 903494"/>
                <a:gd name="connsiteX2" fmla="*/ 290409 w 387211"/>
                <a:gd name="connsiteY2" fmla="*/ 742156 h 903494"/>
                <a:gd name="connsiteX3" fmla="*/ 96803 w 387211"/>
                <a:gd name="connsiteY3" fmla="*/ 871227 h 903494"/>
                <a:gd name="connsiteX4" fmla="*/ 187152 w 387211"/>
                <a:gd name="connsiteY4" fmla="*/ 135524 h 903494"/>
                <a:gd name="connsiteX5" fmla="*/ 96803 w 387211"/>
                <a:gd name="connsiteY5" fmla="*/ 858320 h 903494"/>
                <a:gd name="connsiteX6" fmla="*/ 277501 w 387211"/>
                <a:gd name="connsiteY6" fmla="*/ 729249 h 903494"/>
                <a:gd name="connsiteX7" fmla="*/ 187152 w 387211"/>
                <a:gd name="connsiteY7" fmla="*/ 135524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903494">
                  <a:moveTo>
                    <a:pt x="96803" y="871227"/>
                  </a:moveTo>
                  <a:lnTo>
                    <a:pt x="187152" y="96803"/>
                  </a:lnTo>
                  <a:lnTo>
                    <a:pt x="290409" y="742156"/>
                  </a:lnTo>
                  <a:lnTo>
                    <a:pt x="96803" y="871227"/>
                  </a:lnTo>
                  <a:close/>
                  <a:moveTo>
                    <a:pt x="187152" y="135524"/>
                  </a:moveTo>
                  <a:lnTo>
                    <a:pt x="96803" y="858320"/>
                  </a:lnTo>
                  <a:lnTo>
                    <a:pt x="277501" y="729249"/>
                  </a:lnTo>
                  <a:lnTo>
                    <a:pt x="187152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6" name="Freeform: Shape 3185">
              <a:extLst>
                <a:ext uri="{FF2B5EF4-FFF2-40B4-BE49-F238E27FC236}">
                  <a16:creationId xmlns:a16="http://schemas.microsoft.com/office/drawing/2014/main" id="{BBF5DCC0-A1A1-4825-88E4-1609139F94BE}"/>
                </a:ext>
              </a:extLst>
            </p:cNvPr>
            <p:cNvSpPr/>
            <p:nvPr/>
          </p:nvSpPr>
          <p:spPr>
            <a:xfrm>
              <a:off x="12858136" y="3460273"/>
              <a:ext cx="1032565" cy="1032565"/>
            </a:xfrm>
            <a:custGeom>
              <a:avLst/>
              <a:gdLst>
                <a:gd name="connsiteX0" fmla="*/ 251687 w 1032565"/>
                <a:gd name="connsiteY0" fmla="*/ 1000297 h 1032565"/>
                <a:gd name="connsiteX1" fmla="*/ 251687 w 1032565"/>
                <a:gd name="connsiteY1" fmla="*/ 1000297 h 1032565"/>
                <a:gd name="connsiteX2" fmla="*/ 96803 w 1032565"/>
                <a:gd name="connsiteY2" fmla="*/ 96803 h 1032565"/>
                <a:gd name="connsiteX3" fmla="*/ 96803 w 1032565"/>
                <a:gd name="connsiteY3" fmla="*/ 96803 h 1032565"/>
                <a:gd name="connsiteX4" fmla="*/ 1000298 w 1032565"/>
                <a:gd name="connsiteY4" fmla="*/ 367851 h 1032565"/>
                <a:gd name="connsiteX5" fmla="*/ 251687 w 1032565"/>
                <a:gd name="connsiteY5" fmla="*/ 1000297 h 1032565"/>
                <a:gd name="connsiteX6" fmla="*/ 96803 w 1032565"/>
                <a:gd name="connsiteY6" fmla="*/ 109710 h 1032565"/>
                <a:gd name="connsiteX7" fmla="*/ 251687 w 1032565"/>
                <a:gd name="connsiteY7" fmla="*/ 987390 h 1032565"/>
                <a:gd name="connsiteX8" fmla="*/ 974483 w 1032565"/>
                <a:gd name="connsiteY8" fmla="*/ 367851 h 1032565"/>
                <a:gd name="connsiteX9" fmla="*/ 96803 w 1032565"/>
                <a:gd name="connsiteY9" fmla="*/ 109710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2565" h="1032565">
                  <a:moveTo>
                    <a:pt x="251687" y="1000297"/>
                  </a:moveTo>
                  <a:lnTo>
                    <a:pt x="251687" y="1000297"/>
                  </a:lnTo>
                  <a:lnTo>
                    <a:pt x="96803" y="96803"/>
                  </a:lnTo>
                  <a:lnTo>
                    <a:pt x="96803" y="96803"/>
                  </a:lnTo>
                  <a:lnTo>
                    <a:pt x="1000298" y="367851"/>
                  </a:lnTo>
                  <a:lnTo>
                    <a:pt x="251687" y="1000297"/>
                  </a:lnTo>
                  <a:close/>
                  <a:moveTo>
                    <a:pt x="96803" y="109710"/>
                  </a:moveTo>
                  <a:lnTo>
                    <a:pt x="251687" y="987390"/>
                  </a:lnTo>
                  <a:lnTo>
                    <a:pt x="974483" y="367851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7" name="Freeform: Shape 3186">
              <a:extLst>
                <a:ext uri="{FF2B5EF4-FFF2-40B4-BE49-F238E27FC236}">
                  <a16:creationId xmlns:a16="http://schemas.microsoft.com/office/drawing/2014/main" id="{0440200F-E566-45F8-8F4A-96689BA962C2}"/>
                </a:ext>
              </a:extLst>
            </p:cNvPr>
            <p:cNvSpPr/>
            <p:nvPr/>
          </p:nvSpPr>
          <p:spPr>
            <a:xfrm>
              <a:off x="12845230" y="2982712"/>
              <a:ext cx="1161636" cy="903494"/>
            </a:xfrm>
            <a:custGeom>
              <a:avLst/>
              <a:gdLst>
                <a:gd name="connsiteX0" fmla="*/ 1000298 w 1161635"/>
                <a:gd name="connsiteY0" fmla="*/ 858320 h 903494"/>
                <a:gd name="connsiteX1" fmla="*/ 1000298 w 1161635"/>
                <a:gd name="connsiteY1" fmla="*/ 858320 h 903494"/>
                <a:gd name="connsiteX2" fmla="*/ 96803 w 1161635"/>
                <a:gd name="connsiteY2" fmla="*/ 587271 h 903494"/>
                <a:gd name="connsiteX3" fmla="*/ 1090647 w 1161635"/>
                <a:gd name="connsiteY3" fmla="*/ 96803 h 903494"/>
                <a:gd name="connsiteX4" fmla="*/ 1090647 w 1161635"/>
                <a:gd name="connsiteY4" fmla="*/ 96803 h 903494"/>
                <a:gd name="connsiteX5" fmla="*/ 1000298 w 1161635"/>
                <a:gd name="connsiteY5" fmla="*/ 858320 h 903494"/>
                <a:gd name="connsiteX6" fmla="*/ 122617 w 1161635"/>
                <a:gd name="connsiteY6" fmla="*/ 587271 h 903494"/>
                <a:gd name="connsiteX7" fmla="*/ 1000298 w 1161635"/>
                <a:gd name="connsiteY7" fmla="*/ 858320 h 903494"/>
                <a:gd name="connsiteX8" fmla="*/ 1090647 w 1161635"/>
                <a:gd name="connsiteY8" fmla="*/ 109710 h 903494"/>
                <a:gd name="connsiteX9" fmla="*/ 122617 w 1161635"/>
                <a:gd name="connsiteY9" fmla="*/ 587271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635" h="903494">
                  <a:moveTo>
                    <a:pt x="1000298" y="858320"/>
                  </a:moveTo>
                  <a:lnTo>
                    <a:pt x="1000298" y="858320"/>
                  </a:lnTo>
                  <a:lnTo>
                    <a:pt x="96803" y="587271"/>
                  </a:lnTo>
                  <a:lnTo>
                    <a:pt x="1090647" y="96803"/>
                  </a:lnTo>
                  <a:lnTo>
                    <a:pt x="1090647" y="96803"/>
                  </a:lnTo>
                  <a:lnTo>
                    <a:pt x="1000298" y="858320"/>
                  </a:lnTo>
                  <a:close/>
                  <a:moveTo>
                    <a:pt x="122617" y="587271"/>
                  </a:moveTo>
                  <a:lnTo>
                    <a:pt x="1000298" y="858320"/>
                  </a:lnTo>
                  <a:lnTo>
                    <a:pt x="1090647" y="109710"/>
                  </a:lnTo>
                  <a:lnTo>
                    <a:pt x="122617" y="5872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8" name="Freeform: Shape 3187">
              <a:extLst>
                <a:ext uri="{FF2B5EF4-FFF2-40B4-BE49-F238E27FC236}">
                  <a16:creationId xmlns:a16="http://schemas.microsoft.com/office/drawing/2014/main" id="{58D37035-DE32-48AB-86B1-FF54942B7C87}"/>
                </a:ext>
              </a:extLst>
            </p:cNvPr>
            <p:cNvSpPr/>
            <p:nvPr/>
          </p:nvSpPr>
          <p:spPr>
            <a:xfrm>
              <a:off x="11348009" y="3937834"/>
              <a:ext cx="774424" cy="645353"/>
            </a:xfrm>
            <a:custGeom>
              <a:avLst/>
              <a:gdLst>
                <a:gd name="connsiteX0" fmla="*/ 716343 w 774423"/>
                <a:gd name="connsiteY0" fmla="*/ 574364 h 645353"/>
                <a:gd name="connsiteX1" fmla="*/ 716343 w 774423"/>
                <a:gd name="connsiteY1" fmla="*/ 574364 h 645353"/>
                <a:gd name="connsiteX2" fmla="*/ 96803 w 774423"/>
                <a:gd name="connsiteY2" fmla="*/ 122617 h 645353"/>
                <a:gd name="connsiteX3" fmla="*/ 780878 w 774423"/>
                <a:gd name="connsiteY3" fmla="*/ 96803 h 645353"/>
                <a:gd name="connsiteX4" fmla="*/ 780878 w 774423"/>
                <a:gd name="connsiteY4" fmla="*/ 96803 h 645353"/>
                <a:gd name="connsiteX5" fmla="*/ 716343 w 774423"/>
                <a:gd name="connsiteY5" fmla="*/ 574364 h 645353"/>
                <a:gd name="connsiteX6" fmla="*/ 109711 w 774423"/>
                <a:gd name="connsiteY6" fmla="*/ 135524 h 645353"/>
                <a:gd name="connsiteX7" fmla="*/ 703436 w 774423"/>
                <a:gd name="connsiteY7" fmla="*/ 561457 h 645353"/>
                <a:gd name="connsiteX8" fmla="*/ 767971 w 774423"/>
                <a:gd name="connsiteY8" fmla="*/ 109710 h 645353"/>
                <a:gd name="connsiteX9" fmla="*/ 109711 w 774423"/>
                <a:gd name="connsiteY9" fmla="*/ 135524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4423" h="645353">
                  <a:moveTo>
                    <a:pt x="716343" y="574364"/>
                  </a:moveTo>
                  <a:lnTo>
                    <a:pt x="716343" y="574364"/>
                  </a:lnTo>
                  <a:lnTo>
                    <a:pt x="96803" y="122617"/>
                  </a:lnTo>
                  <a:lnTo>
                    <a:pt x="780878" y="96803"/>
                  </a:lnTo>
                  <a:lnTo>
                    <a:pt x="780878" y="96803"/>
                  </a:lnTo>
                  <a:lnTo>
                    <a:pt x="716343" y="574364"/>
                  </a:lnTo>
                  <a:close/>
                  <a:moveTo>
                    <a:pt x="109711" y="135524"/>
                  </a:moveTo>
                  <a:lnTo>
                    <a:pt x="703436" y="561457"/>
                  </a:lnTo>
                  <a:lnTo>
                    <a:pt x="767971" y="109710"/>
                  </a:lnTo>
                  <a:lnTo>
                    <a:pt x="109711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89" name="Freeform: Shape 3188">
              <a:extLst>
                <a:ext uri="{FF2B5EF4-FFF2-40B4-BE49-F238E27FC236}">
                  <a16:creationId xmlns:a16="http://schemas.microsoft.com/office/drawing/2014/main" id="{13FDC365-4F53-4460-A005-51AB8BD31E65}"/>
                </a:ext>
              </a:extLst>
            </p:cNvPr>
            <p:cNvSpPr/>
            <p:nvPr/>
          </p:nvSpPr>
          <p:spPr>
            <a:xfrm>
              <a:off x="11967549" y="3937834"/>
              <a:ext cx="645353" cy="903494"/>
            </a:xfrm>
            <a:custGeom>
              <a:avLst/>
              <a:gdLst>
                <a:gd name="connsiteX0" fmla="*/ 664714 w 645353"/>
                <a:gd name="connsiteY0" fmla="*/ 832506 h 903494"/>
                <a:gd name="connsiteX1" fmla="*/ 96803 w 645353"/>
                <a:gd name="connsiteY1" fmla="*/ 561457 h 903494"/>
                <a:gd name="connsiteX2" fmla="*/ 96803 w 645353"/>
                <a:gd name="connsiteY2" fmla="*/ 561457 h 903494"/>
                <a:gd name="connsiteX3" fmla="*/ 161338 w 645353"/>
                <a:gd name="connsiteY3" fmla="*/ 96803 h 903494"/>
                <a:gd name="connsiteX4" fmla="*/ 161338 w 645353"/>
                <a:gd name="connsiteY4" fmla="*/ 109710 h 903494"/>
                <a:gd name="connsiteX5" fmla="*/ 664714 w 645353"/>
                <a:gd name="connsiteY5" fmla="*/ 832506 h 903494"/>
                <a:gd name="connsiteX6" fmla="*/ 96803 w 645353"/>
                <a:gd name="connsiteY6" fmla="*/ 561457 h 903494"/>
                <a:gd name="connsiteX7" fmla="*/ 638899 w 645353"/>
                <a:gd name="connsiteY7" fmla="*/ 819598 h 903494"/>
                <a:gd name="connsiteX8" fmla="*/ 161338 w 645353"/>
                <a:gd name="connsiteY8" fmla="*/ 122617 h 903494"/>
                <a:gd name="connsiteX9" fmla="*/ 96803 w 645353"/>
                <a:gd name="connsiteY9" fmla="*/ 561457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903494">
                  <a:moveTo>
                    <a:pt x="664714" y="832506"/>
                  </a:moveTo>
                  <a:lnTo>
                    <a:pt x="96803" y="561457"/>
                  </a:lnTo>
                  <a:lnTo>
                    <a:pt x="96803" y="561457"/>
                  </a:lnTo>
                  <a:lnTo>
                    <a:pt x="161338" y="96803"/>
                  </a:lnTo>
                  <a:lnTo>
                    <a:pt x="161338" y="109710"/>
                  </a:lnTo>
                  <a:lnTo>
                    <a:pt x="664714" y="832506"/>
                  </a:lnTo>
                  <a:close/>
                  <a:moveTo>
                    <a:pt x="96803" y="561457"/>
                  </a:moveTo>
                  <a:lnTo>
                    <a:pt x="638899" y="819598"/>
                  </a:lnTo>
                  <a:lnTo>
                    <a:pt x="161338" y="122617"/>
                  </a:lnTo>
                  <a:lnTo>
                    <a:pt x="96803" y="5614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0" name="Freeform: Shape 3189">
              <a:extLst>
                <a:ext uri="{FF2B5EF4-FFF2-40B4-BE49-F238E27FC236}">
                  <a16:creationId xmlns:a16="http://schemas.microsoft.com/office/drawing/2014/main" id="{B35259D1-CC19-4A6C-97A6-BBBA7B680545}"/>
                </a:ext>
              </a:extLst>
            </p:cNvPr>
            <p:cNvSpPr/>
            <p:nvPr/>
          </p:nvSpPr>
          <p:spPr>
            <a:xfrm>
              <a:off x="12032084" y="3937834"/>
              <a:ext cx="1161636" cy="903494"/>
            </a:xfrm>
            <a:custGeom>
              <a:avLst/>
              <a:gdLst>
                <a:gd name="connsiteX0" fmla="*/ 587272 w 1161635"/>
                <a:gd name="connsiteY0" fmla="*/ 832506 h 903494"/>
                <a:gd name="connsiteX1" fmla="*/ 587272 w 1161635"/>
                <a:gd name="connsiteY1" fmla="*/ 832506 h 903494"/>
                <a:gd name="connsiteX2" fmla="*/ 96803 w 1161635"/>
                <a:gd name="connsiteY2" fmla="*/ 96803 h 903494"/>
                <a:gd name="connsiteX3" fmla="*/ 1090647 w 1161635"/>
                <a:gd name="connsiteY3" fmla="*/ 509829 h 903494"/>
                <a:gd name="connsiteX4" fmla="*/ 587272 w 1161635"/>
                <a:gd name="connsiteY4" fmla="*/ 832506 h 903494"/>
                <a:gd name="connsiteX5" fmla="*/ 109710 w 1161635"/>
                <a:gd name="connsiteY5" fmla="*/ 122617 h 903494"/>
                <a:gd name="connsiteX6" fmla="*/ 587272 w 1161635"/>
                <a:gd name="connsiteY6" fmla="*/ 832506 h 903494"/>
                <a:gd name="connsiteX7" fmla="*/ 1077740 w 1161635"/>
                <a:gd name="connsiteY7" fmla="*/ 535643 h 903494"/>
                <a:gd name="connsiteX8" fmla="*/ 109710 w 1161635"/>
                <a:gd name="connsiteY8" fmla="*/ 122617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1635" h="903494">
                  <a:moveTo>
                    <a:pt x="587272" y="832506"/>
                  </a:moveTo>
                  <a:lnTo>
                    <a:pt x="587272" y="832506"/>
                  </a:lnTo>
                  <a:lnTo>
                    <a:pt x="96803" y="96803"/>
                  </a:lnTo>
                  <a:lnTo>
                    <a:pt x="1090647" y="509829"/>
                  </a:lnTo>
                  <a:lnTo>
                    <a:pt x="587272" y="832506"/>
                  </a:lnTo>
                  <a:close/>
                  <a:moveTo>
                    <a:pt x="109710" y="122617"/>
                  </a:moveTo>
                  <a:lnTo>
                    <a:pt x="587272" y="832506"/>
                  </a:lnTo>
                  <a:lnTo>
                    <a:pt x="1077740" y="535643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1" name="Freeform: Shape 3190">
              <a:extLst>
                <a:ext uri="{FF2B5EF4-FFF2-40B4-BE49-F238E27FC236}">
                  <a16:creationId xmlns:a16="http://schemas.microsoft.com/office/drawing/2014/main" id="{1B148377-CBC7-4F0A-BD9E-2E436EDF777D}"/>
                </a:ext>
              </a:extLst>
            </p:cNvPr>
            <p:cNvSpPr/>
            <p:nvPr/>
          </p:nvSpPr>
          <p:spPr>
            <a:xfrm>
              <a:off x="12032084" y="3460273"/>
              <a:ext cx="1161636" cy="1032565"/>
            </a:xfrm>
            <a:custGeom>
              <a:avLst/>
              <a:gdLst>
                <a:gd name="connsiteX0" fmla="*/ 1090647 w 1161635"/>
                <a:gd name="connsiteY0" fmla="*/ 1000297 h 1032565"/>
                <a:gd name="connsiteX1" fmla="*/ 96803 w 1161635"/>
                <a:gd name="connsiteY1" fmla="*/ 587271 h 1032565"/>
                <a:gd name="connsiteX2" fmla="*/ 935762 w 1161635"/>
                <a:gd name="connsiteY2" fmla="*/ 96803 h 1032565"/>
                <a:gd name="connsiteX3" fmla="*/ 1090647 w 1161635"/>
                <a:gd name="connsiteY3" fmla="*/ 1000297 h 1032565"/>
                <a:gd name="connsiteX4" fmla="*/ 109710 w 1161635"/>
                <a:gd name="connsiteY4" fmla="*/ 587271 h 1032565"/>
                <a:gd name="connsiteX5" fmla="*/ 1077740 w 1161635"/>
                <a:gd name="connsiteY5" fmla="*/ 1000297 h 1032565"/>
                <a:gd name="connsiteX6" fmla="*/ 922855 w 1161635"/>
                <a:gd name="connsiteY6" fmla="*/ 122617 h 1032565"/>
                <a:gd name="connsiteX7" fmla="*/ 109710 w 1161635"/>
                <a:gd name="connsiteY7" fmla="*/ 587271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1635" h="1032565">
                  <a:moveTo>
                    <a:pt x="1090647" y="1000297"/>
                  </a:moveTo>
                  <a:lnTo>
                    <a:pt x="96803" y="587271"/>
                  </a:lnTo>
                  <a:lnTo>
                    <a:pt x="935762" y="96803"/>
                  </a:lnTo>
                  <a:lnTo>
                    <a:pt x="1090647" y="1000297"/>
                  </a:lnTo>
                  <a:close/>
                  <a:moveTo>
                    <a:pt x="109710" y="587271"/>
                  </a:moveTo>
                  <a:lnTo>
                    <a:pt x="1077740" y="1000297"/>
                  </a:lnTo>
                  <a:lnTo>
                    <a:pt x="922855" y="122617"/>
                  </a:lnTo>
                  <a:lnTo>
                    <a:pt x="109710" y="5872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2" name="Freeform: Shape 3191">
              <a:extLst>
                <a:ext uri="{FF2B5EF4-FFF2-40B4-BE49-F238E27FC236}">
                  <a16:creationId xmlns:a16="http://schemas.microsoft.com/office/drawing/2014/main" id="{6C0ED0A9-26ED-4A0A-BE65-D91EC68F847F}"/>
                </a:ext>
              </a:extLst>
            </p:cNvPr>
            <p:cNvSpPr/>
            <p:nvPr/>
          </p:nvSpPr>
          <p:spPr>
            <a:xfrm>
              <a:off x="12186968" y="2208288"/>
              <a:ext cx="1677918" cy="774424"/>
            </a:xfrm>
            <a:custGeom>
              <a:avLst/>
              <a:gdLst>
                <a:gd name="connsiteX0" fmla="*/ 225874 w 1677918"/>
                <a:gd name="connsiteY0" fmla="*/ 780877 h 774423"/>
                <a:gd name="connsiteX1" fmla="*/ 225874 w 1677918"/>
                <a:gd name="connsiteY1" fmla="*/ 780877 h 774423"/>
                <a:gd name="connsiteX2" fmla="*/ 96803 w 1677918"/>
                <a:gd name="connsiteY2" fmla="*/ 380758 h 774423"/>
                <a:gd name="connsiteX3" fmla="*/ 96803 w 1677918"/>
                <a:gd name="connsiteY3" fmla="*/ 380758 h 774423"/>
                <a:gd name="connsiteX4" fmla="*/ 1594023 w 1677918"/>
                <a:gd name="connsiteY4" fmla="*/ 96803 h 774423"/>
                <a:gd name="connsiteX5" fmla="*/ 225874 w 1677918"/>
                <a:gd name="connsiteY5" fmla="*/ 780877 h 774423"/>
                <a:gd name="connsiteX6" fmla="*/ 109711 w 1677918"/>
                <a:gd name="connsiteY6" fmla="*/ 380758 h 774423"/>
                <a:gd name="connsiteX7" fmla="*/ 225874 w 1677918"/>
                <a:gd name="connsiteY7" fmla="*/ 767970 h 774423"/>
                <a:gd name="connsiteX8" fmla="*/ 1555302 w 1677918"/>
                <a:gd name="connsiteY8" fmla="*/ 96803 h 774423"/>
                <a:gd name="connsiteX9" fmla="*/ 109711 w 1677918"/>
                <a:gd name="connsiteY9" fmla="*/ 380758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7918" h="774423">
                  <a:moveTo>
                    <a:pt x="225874" y="780877"/>
                  </a:moveTo>
                  <a:lnTo>
                    <a:pt x="225874" y="780877"/>
                  </a:lnTo>
                  <a:lnTo>
                    <a:pt x="96803" y="380758"/>
                  </a:lnTo>
                  <a:lnTo>
                    <a:pt x="96803" y="380758"/>
                  </a:lnTo>
                  <a:lnTo>
                    <a:pt x="1594023" y="96803"/>
                  </a:lnTo>
                  <a:lnTo>
                    <a:pt x="225874" y="780877"/>
                  </a:lnTo>
                  <a:close/>
                  <a:moveTo>
                    <a:pt x="109711" y="380758"/>
                  </a:moveTo>
                  <a:lnTo>
                    <a:pt x="225874" y="767970"/>
                  </a:lnTo>
                  <a:lnTo>
                    <a:pt x="1555302" y="96803"/>
                  </a:lnTo>
                  <a:lnTo>
                    <a:pt x="109711" y="3807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3" name="Freeform: Shape 3192">
              <a:extLst>
                <a:ext uri="{FF2B5EF4-FFF2-40B4-BE49-F238E27FC236}">
                  <a16:creationId xmlns:a16="http://schemas.microsoft.com/office/drawing/2014/main" id="{064D459B-594A-4A4C-AFAF-C4711FC4CC36}"/>
                </a:ext>
              </a:extLst>
            </p:cNvPr>
            <p:cNvSpPr/>
            <p:nvPr/>
          </p:nvSpPr>
          <p:spPr>
            <a:xfrm>
              <a:off x="12186968" y="1717819"/>
              <a:ext cx="1677918" cy="903494"/>
            </a:xfrm>
            <a:custGeom>
              <a:avLst/>
              <a:gdLst>
                <a:gd name="connsiteX0" fmla="*/ 96803 w 1677918"/>
                <a:gd name="connsiteY0" fmla="*/ 884134 h 903494"/>
                <a:gd name="connsiteX1" fmla="*/ 1077741 w 1677918"/>
                <a:gd name="connsiteY1" fmla="*/ 96803 h 903494"/>
                <a:gd name="connsiteX2" fmla="*/ 1077741 w 1677918"/>
                <a:gd name="connsiteY2" fmla="*/ 96803 h 903494"/>
                <a:gd name="connsiteX3" fmla="*/ 1594023 w 1677918"/>
                <a:gd name="connsiteY3" fmla="*/ 600178 h 903494"/>
                <a:gd name="connsiteX4" fmla="*/ 96803 w 1677918"/>
                <a:gd name="connsiteY4" fmla="*/ 884134 h 903494"/>
                <a:gd name="connsiteX5" fmla="*/ 1064833 w 1677918"/>
                <a:gd name="connsiteY5" fmla="*/ 96803 h 903494"/>
                <a:gd name="connsiteX6" fmla="*/ 109711 w 1677918"/>
                <a:gd name="connsiteY6" fmla="*/ 871227 h 903494"/>
                <a:gd name="connsiteX7" fmla="*/ 1568209 w 1677918"/>
                <a:gd name="connsiteY7" fmla="*/ 587271 h 903494"/>
                <a:gd name="connsiteX8" fmla="*/ 1064833 w 1677918"/>
                <a:gd name="connsiteY8" fmla="*/ 96803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7918" h="903494">
                  <a:moveTo>
                    <a:pt x="96803" y="884134"/>
                  </a:moveTo>
                  <a:lnTo>
                    <a:pt x="1077741" y="96803"/>
                  </a:lnTo>
                  <a:lnTo>
                    <a:pt x="1077741" y="96803"/>
                  </a:lnTo>
                  <a:lnTo>
                    <a:pt x="1594023" y="600178"/>
                  </a:lnTo>
                  <a:lnTo>
                    <a:pt x="96803" y="884134"/>
                  </a:lnTo>
                  <a:close/>
                  <a:moveTo>
                    <a:pt x="1064833" y="96803"/>
                  </a:moveTo>
                  <a:lnTo>
                    <a:pt x="109711" y="871227"/>
                  </a:lnTo>
                  <a:lnTo>
                    <a:pt x="1568209" y="587271"/>
                  </a:lnTo>
                  <a:lnTo>
                    <a:pt x="106483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4" name="Freeform: Shape 3193">
              <a:extLst>
                <a:ext uri="{FF2B5EF4-FFF2-40B4-BE49-F238E27FC236}">
                  <a16:creationId xmlns:a16="http://schemas.microsoft.com/office/drawing/2014/main" id="{E6E791EF-A79F-4B8B-B5ED-2016537DD6B1}"/>
                </a:ext>
              </a:extLst>
            </p:cNvPr>
            <p:cNvSpPr/>
            <p:nvPr/>
          </p:nvSpPr>
          <p:spPr>
            <a:xfrm>
              <a:off x="12303132" y="2195381"/>
              <a:ext cx="1548848" cy="1419777"/>
            </a:xfrm>
            <a:custGeom>
              <a:avLst/>
              <a:gdLst>
                <a:gd name="connsiteX0" fmla="*/ 651807 w 1548847"/>
                <a:gd name="connsiteY0" fmla="*/ 1374602 h 1419777"/>
                <a:gd name="connsiteX1" fmla="*/ 651807 w 1548847"/>
                <a:gd name="connsiteY1" fmla="*/ 1374602 h 1419777"/>
                <a:gd name="connsiteX2" fmla="*/ 96803 w 1548847"/>
                <a:gd name="connsiteY2" fmla="*/ 780877 h 1419777"/>
                <a:gd name="connsiteX3" fmla="*/ 96803 w 1548847"/>
                <a:gd name="connsiteY3" fmla="*/ 780877 h 1419777"/>
                <a:gd name="connsiteX4" fmla="*/ 1464952 w 1548847"/>
                <a:gd name="connsiteY4" fmla="*/ 96803 h 1419777"/>
                <a:gd name="connsiteX5" fmla="*/ 1464952 w 1548847"/>
                <a:gd name="connsiteY5" fmla="*/ 109710 h 1419777"/>
                <a:gd name="connsiteX6" fmla="*/ 651807 w 1548847"/>
                <a:gd name="connsiteY6" fmla="*/ 1374602 h 1419777"/>
                <a:gd name="connsiteX7" fmla="*/ 109710 w 1548847"/>
                <a:gd name="connsiteY7" fmla="*/ 793785 h 1419777"/>
                <a:gd name="connsiteX8" fmla="*/ 651807 w 1548847"/>
                <a:gd name="connsiteY8" fmla="*/ 1374602 h 1419777"/>
                <a:gd name="connsiteX9" fmla="*/ 1452045 w 1548847"/>
                <a:gd name="connsiteY9" fmla="*/ 122617 h 1419777"/>
                <a:gd name="connsiteX10" fmla="*/ 109710 w 1548847"/>
                <a:gd name="connsiteY10" fmla="*/ 793785 h 141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8847" h="1419777">
                  <a:moveTo>
                    <a:pt x="651807" y="1374602"/>
                  </a:moveTo>
                  <a:lnTo>
                    <a:pt x="651807" y="1374602"/>
                  </a:lnTo>
                  <a:lnTo>
                    <a:pt x="96803" y="780877"/>
                  </a:lnTo>
                  <a:lnTo>
                    <a:pt x="96803" y="780877"/>
                  </a:lnTo>
                  <a:lnTo>
                    <a:pt x="1464952" y="96803"/>
                  </a:lnTo>
                  <a:lnTo>
                    <a:pt x="1464952" y="109710"/>
                  </a:lnTo>
                  <a:lnTo>
                    <a:pt x="651807" y="1374602"/>
                  </a:lnTo>
                  <a:close/>
                  <a:moveTo>
                    <a:pt x="109710" y="793785"/>
                  </a:moveTo>
                  <a:lnTo>
                    <a:pt x="651807" y="1374602"/>
                  </a:lnTo>
                  <a:lnTo>
                    <a:pt x="1452045" y="122617"/>
                  </a:lnTo>
                  <a:lnTo>
                    <a:pt x="109710" y="7937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5" name="Freeform: Shape 3194">
              <a:extLst>
                <a:ext uri="{FF2B5EF4-FFF2-40B4-BE49-F238E27FC236}">
                  <a16:creationId xmlns:a16="http://schemas.microsoft.com/office/drawing/2014/main" id="{95BF5162-DEB9-4390-A529-DEA28B21F079}"/>
                </a:ext>
              </a:extLst>
            </p:cNvPr>
            <p:cNvSpPr/>
            <p:nvPr/>
          </p:nvSpPr>
          <p:spPr>
            <a:xfrm>
              <a:off x="12845230" y="2195381"/>
              <a:ext cx="1161636" cy="1419777"/>
            </a:xfrm>
            <a:custGeom>
              <a:avLst/>
              <a:gdLst>
                <a:gd name="connsiteX0" fmla="*/ 96803 w 1161635"/>
                <a:gd name="connsiteY0" fmla="*/ 1374602 h 1419777"/>
                <a:gd name="connsiteX1" fmla="*/ 922854 w 1161635"/>
                <a:gd name="connsiteY1" fmla="*/ 96803 h 1419777"/>
                <a:gd name="connsiteX2" fmla="*/ 922854 w 1161635"/>
                <a:gd name="connsiteY2" fmla="*/ 109710 h 1419777"/>
                <a:gd name="connsiteX3" fmla="*/ 1090647 w 1161635"/>
                <a:gd name="connsiteY3" fmla="*/ 897041 h 1419777"/>
                <a:gd name="connsiteX4" fmla="*/ 1090647 w 1161635"/>
                <a:gd name="connsiteY4" fmla="*/ 897041 h 1419777"/>
                <a:gd name="connsiteX5" fmla="*/ 96803 w 1161635"/>
                <a:gd name="connsiteY5" fmla="*/ 1374602 h 1419777"/>
                <a:gd name="connsiteX6" fmla="*/ 922854 w 1161635"/>
                <a:gd name="connsiteY6" fmla="*/ 122617 h 1419777"/>
                <a:gd name="connsiteX7" fmla="*/ 122617 w 1161635"/>
                <a:gd name="connsiteY7" fmla="*/ 1361695 h 1419777"/>
                <a:gd name="connsiteX8" fmla="*/ 1090647 w 1161635"/>
                <a:gd name="connsiteY8" fmla="*/ 884134 h 1419777"/>
                <a:gd name="connsiteX9" fmla="*/ 922854 w 1161635"/>
                <a:gd name="connsiteY9" fmla="*/ 122617 h 141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635" h="1419777">
                  <a:moveTo>
                    <a:pt x="96803" y="1374602"/>
                  </a:moveTo>
                  <a:lnTo>
                    <a:pt x="922854" y="96803"/>
                  </a:lnTo>
                  <a:lnTo>
                    <a:pt x="922854" y="109710"/>
                  </a:lnTo>
                  <a:lnTo>
                    <a:pt x="1090647" y="897041"/>
                  </a:lnTo>
                  <a:lnTo>
                    <a:pt x="1090647" y="897041"/>
                  </a:lnTo>
                  <a:lnTo>
                    <a:pt x="96803" y="1374602"/>
                  </a:lnTo>
                  <a:close/>
                  <a:moveTo>
                    <a:pt x="922854" y="122617"/>
                  </a:moveTo>
                  <a:lnTo>
                    <a:pt x="122617" y="1361695"/>
                  </a:lnTo>
                  <a:lnTo>
                    <a:pt x="1090647" y="884134"/>
                  </a:lnTo>
                  <a:lnTo>
                    <a:pt x="922854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6" name="Freeform: Shape 3195">
              <a:extLst>
                <a:ext uri="{FF2B5EF4-FFF2-40B4-BE49-F238E27FC236}">
                  <a16:creationId xmlns:a16="http://schemas.microsoft.com/office/drawing/2014/main" id="{8E84A9C5-0766-4E59-B91D-83CE8985BB01}"/>
                </a:ext>
              </a:extLst>
            </p:cNvPr>
            <p:cNvSpPr/>
            <p:nvPr/>
          </p:nvSpPr>
          <p:spPr>
            <a:xfrm>
              <a:off x="13154998" y="1524213"/>
              <a:ext cx="645353" cy="774424"/>
            </a:xfrm>
            <a:custGeom>
              <a:avLst/>
              <a:gdLst>
                <a:gd name="connsiteX0" fmla="*/ 613086 w 645353"/>
                <a:gd name="connsiteY0" fmla="*/ 793784 h 774423"/>
                <a:gd name="connsiteX1" fmla="*/ 96803 w 645353"/>
                <a:gd name="connsiteY1" fmla="*/ 290409 h 774423"/>
                <a:gd name="connsiteX2" fmla="*/ 445294 w 645353"/>
                <a:gd name="connsiteY2" fmla="*/ 96803 h 774423"/>
                <a:gd name="connsiteX3" fmla="*/ 445294 w 645353"/>
                <a:gd name="connsiteY3" fmla="*/ 96803 h 774423"/>
                <a:gd name="connsiteX4" fmla="*/ 613086 w 645353"/>
                <a:gd name="connsiteY4" fmla="*/ 793784 h 774423"/>
                <a:gd name="connsiteX5" fmla="*/ 109711 w 645353"/>
                <a:gd name="connsiteY5" fmla="*/ 290409 h 774423"/>
                <a:gd name="connsiteX6" fmla="*/ 613086 w 645353"/>
                <a:gd name="connsiteY6" fmla="*/ 780877 h 774423"/>
                <a:gd name="connsiteX7" fmla="*/ 445294 w 645353"/>
                <a:gd name="connsiteY7" fmla="*/ 109710 h 774423"/>
                <a:gd name="connsiteX8" fmla="*/ 109711 w 645353"/>
                <a:gd name="connsiteY8" fmla="*/ 290409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774423">
                  <a:moveTo>
                    <a:pt x="613086" y="793784"/>
                  </a:moveTo>
                  <a:lnTo>
                    <a:pt x="96803" y="290409"/>
                  </a:lnTo>
                  <a:lnTo>
                    <a:pt x="445294" y="96803"/>
                  </a:lnTo>
                  <a:lnTo>
                    <a:pt x="445294" y="96803"/>
                  </a:lnTo>
                  <a:lnTo>
                    <a:pt x="613086" y="793784"/>
                  </a:lnTo>
                  <a:close/>
                  <a:moveTo>
                    <a:pt x="109711" y="290409"/>
                  </a:moveTo>
                  <a:lnTo>
                    <a:pt x="613086" y="780877"/>
                  </a:lnTo>
                  <a:lnTo>
                    <a:pt x="445294" y="109710"/>
                  </a:lnTo>
                  <a:lnTo>
                    <a:pt x="109711" y="2904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7" name="Freeform: Shape 3196">
              <a:extLst>
                <a:ext uri="{FF2B5EF4-FFF2-40B4-BE49-F238E27FC236}">
                  <a16:creationId xmlns:a16="http://schemas.microsoft.com/office/drawing/2014/main" id="{8D039F49-0ACC-4AFC-BCF4-FA4579B63F2B}"/>
                </a:ext>
              </a:extLst>
            </p:cNvPr>
            <p:cNvSpPr/>
            <p:nvPr/>
          </p:nvSpPr>
          <p:spPr>
            <a:xfrm>
              <a:off x="13503490" y="1524213"/>
              <a:ext cx="774424" cy="774424"/>
            </a:xfrm>
            <a:custGeom>
              <a:avLst/>
              <a:gdLst>
                <a:gd name="connsiteX0" fmla="*/ 264594 w 774423"/>
                <a:gd name="connsiteY0" fmla="*/ 793784 h 774423"/>
                <a:gd name="connsiteX1" fmla="*/ 96803 w 774423"/>
                <a:gd name="connsiteY1" fmla="*/ 96803 h 774423"/>
                <a:gd name="connsiteX2" fmla="*/ 96803 w 774423"/>
                <a:gd name="connsiteY2" fmla="*/ 96803 h 774423"/>
                <a:gd name="connsiteX3" fmla="*/ 742156 w 774423"/>
                <a:gd name="connsiteY3" fmla="*/ 277502 h 774423"/>
                <a:gd name="connsiteX4" fmla="*/ 742156 w 774423"/>
                <a:gd name="connsiteY4" fmla="*/ 277502 h 774423"/>
                <a:gd name="connsiteX5" fmla="*/ 264594 w 774423"/>
                <a:gd name="connsiteY5" fmla="*/ 793784 h 774423"/>
                <a:gd name="connsiteX6" fmla="*/ 96803 w 774423"/>
                <a:gd name="connsiteY6" fmla="*/ 96803 h 774423"/>
                <a:gd name="connsiteX7" fmla="*/ 264594 w 774423"/>
                <a:gd name="connsiteY7" fmla="*/ 767970 h 774423"/>
                <a:gd name="connsiteX8" fmla="*/ 729249 w 774423"/>
                <a:gd name="connsiteY8" fmla="*/ 264595 h 774423"/>
                <a:gd name="connsiteX9" fmla="*/ 96803 w 774423"/>
                <a:gd name="connsiteY9" fmla="*/ 96803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4423" h="774423">
                  <a:moveTo>
                    <a:pt x="264594" y="793784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742156" y="277502"/>
                  </a:lnTo>
                  <a:lnTo>
                    <a:pt x="742156" y="277502"/>
                  </a:lnTo>
                  <a:lnTo>
                    <a:pt x="264594" y="793784"/>
                  </a:lnTo>
                  <a:close/>
                  <a:moveTo>
                    <a:pt x="96803" y="96803"/>
                  </a:moveTo>
                  <a:lnTo>
                    <a:pt x="264594" y="767970"/>
                  </a:lnTo>
                  <a:lnTo>
                    <a:pt x="729249" y="264595"/>
                  </a:lnTo>
                  <a:lnTo>
                    <a:pt x="96803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8" name="Freeform: Shape 3197">
              <a:extLst>
                <a:ext uri="{FF2B5EF4-FFF2-40B4-BE49-F238E27FC236}">
                  <a16:creationId xmlns:a16="http://schemas.microsoft.com/office/drawing/2014/main" id="{6EC6F9F9-A226-4C27-838E-AC9E9D825C14}"/>
                </a:ext>
              </a:extLst>
            </p:cNvPr>
            <p:cNvSpPr/>
            <p:nvPr/>
          </p:nvSpPr>
          <p:spPr>
            <a:xfrm>
              <a:off x="13658374" y="1692005"/>
              <a:ext cx="903495" cy="645353"/>
            </a:xfrm>
            <a:custGeom>
              <a:avLst/>
              <a:gdLst>
                <a:gd name="connsiteX0" fmla="*/ 96803 w 903494"/>
                <a:gd name="connsiteY0" fmla="*/ 625993 h 645353"/>
                <a:gd name="connsiteX1" fmla="*/ 574365 w 903494"/>
                <a:gd name="connsiteY1" fmla="*/ 96803 h 645353"/>
                <a:gd name="connsiteX2" fmla="*/ 574365 w 903494"/>
                <a:gd name="connsiteY2" fmla="*/ 96803 h 645353"/>
                <a:gd name="connsiteX3" fmla="*/ 909948 w 903494"/>
                <a:gd name="connsiteY3" fmla="*/ 264595 h 645353"/>
                <a:gd name="connsiteX4" fmla="*/ 96803 w 903494"/>
                <a:gd name="connsiteY4" fmla="*/ 625993 h 645353"/>
                <a:gd name="connsiteX5" fmla="*/ 574365 w 903494"/>
                <a:gd name="connsiteY5" fmla="*/ 109710 h 645353"/>
                <a:gd name="connsiteX6" fmla="*/ 109710 w 903494"/>
                <a:gd name="connsiteY6" fmla="*/ 613086 h 645353"/>
                <a:gd name="connsiteX7" fmla="*/ 897042 w 903494"/>
                <a:gd name="connsiteY7" fmla="*/ 277502 h 645353"/>
                <a:gd name="connsiteX8" fmla="*/ 574365 w 903494"/>
                <a:gd name="connsiteY8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494" h="645353">
                  <a:moveTo>
                    <a:pt x="96803" y="625993"/>
                  </a:moveTo>
                  <a:lnTo>
                    <a:pt x="574365" y="96803"/>
                  </a:lnTo>
                  <a:lnTo>
                    <a:pt x="574365" y="96803"/>
                  </a:lnTo>
                  <a:lnTo>
                    <a:pt x="909948" y="264595"/>
                  </a:lnTo>
                  <a:lnTo>
                    <a:pt x="96803" y="625993"/>
                  </a:lnTo>
                  <a:close/>
                  <a:moveTo>
                    <a:pt x="574365" y="109710"/>
                  </a:moveTo>
                  <a:lnTo>
                    <a:pt x="109710" y="613086"/>
                  </a:lnTo>
                  <a:lnTo>
                    <a:pt x="897042" y="277502"/>
                  </a:lnTo>
                  <a:lnTo>
                    <a:pt x="574365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99" name="Freeform: Shape 3198">
              <a:extLst>
                <a:ext uri="{FF2B5EF4-FFF2-40B4-BE49-F238E27FC236}">
                  <a16:creationId xmlns:a16="http://schemas.microsoft.com/office/drawing/2014/main" id="{7E7F12B9-999B-4551-AD48-0674D730E3A2}"/>
                </a:ext>
              </a:extLst>
            </p:cNvPr>
            <p:cNvSpPr/>
            <p:nvPr/>
          </p:nvSpPr>
          <p:spPr>
            <a:xfrm>
              <a:off x="13671281" y="1859797"/>
              <a:ext cx="1032565" cy="1032565"/>
            </a:xfrm>
            <a:custGeom>
              <a:avLst/>
              <a:gdLst>
                <a:gd name="connsiteX0" fmla="*/ 1013205 w 1032565"/>
                <a:gd name="connsiteY0" fmla="*/ 1039019 h 1032565"/>
                <a:gd name="connsiteX1" fmla="*/ 1013205 w 1032565"/>
                <a:gd name="connsiteY1" fmla="*/ 1039019 h 1032565"/>
                <a:gd name="connsiteX2" fmla="*/ 96803 w 1032565"/>
                <a:gd name="connsiteY2" fmla="*/ 445294 h 1032565"/>
                <a:gd name="connsiteX3" fmla="*/ 909948 w 1032565"/>
                <a:gd name="connsiteY3" fmla="*/ 96803 h 1032565"/>
                <a:gd name="connsiteX4" fmla="*/ 909948 w 1032565"/>
                <a:gd name="connsiteY4" fmla="*/ 96803 h 1032565"/>
                <a:gd name="connsiteX5" fmla="*/ 1013205 w 1032565"/>
                <a:gd name="connsiteY5" fmla="*/ 1039019 h 1032565"/>
                <a:gd name="connsiteX6" fmla="*/ 96803 w 1032565"/>
                <a:gd name="connsiteY6" fmla="*/ 445294 h 1032565"/>
                <a:gd name="connsiteX7" fmla="*/ 1000298 w 1032565"/>
                <a:gd name="connsiteY7" fmla="*/ 1026112 h 1032565"/>
                <a:gd name="connsiteX8" fmla="*/ 897042 w 1032565"/>
                <a:gd name="connsiteY8" fmla="*/ 109710 h 1032565"/>
                <a:gd name="connsiteX9" fmla="*/ 96803 w 1032565"/>
                <a:gd name="connsiteY9" fmla="*/ 445294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2565" h="1032565">
                  <a:moveTo>
                    <a:pt x="1013205" y="1039019"/>
                  </a:moveTo>
                  <a:lnTo>
                    <a:pt x="1013205" y="1039019"/>
                  </a:lnTo>
                  <a:lnTo>
                    <a:pt x="96803" y="445294"/>
                  </a:lnTo>
                  <a:lnTo>
                    <a:pt x="909948" y="96803"/>
                  </a:lnTo>
                  <a:lnTo>
                    <a:pt x="909948" y="96803"/>
                  </a:lnTo>
                  <a:lnTo>
                    <a:pt x="1013205" y="1039019"/>
                  </a:lnTo>
                  <a:close/>
                  <a:moveTo>
                    <a:pt x="96803" y="445294"/>
                  </a:moveTo>
                  <a:lnTo>
                    <a:pt x="1000298" y="1026112"/>
                  </a:lnTo>
                  <a:lnTo>
                    <a:pt x="897042" y="109710"/>
                  </a:lnTo>
                  <a:lnTo>
                    <a:pt x="96803" y="4452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0" name="Freeform: Shape 3199">
              <a:extLst>
                <a:ext uri="{FF2B5EF4-FFF2-40B4-BE49-F238E27FC236}">
                  <a16:creationId xmlns:a16="http://schemas.microsoft.com/office/drawing/2014/main" id="{C8A8D980-5E2E-4A59-9242-D37D799095DE}"/>
                </a:ext>
              </a:extLst>
            </p:cNvPr>
            <p:cNvSpPr/>
            <p:nvPr/>
          </p:nvSpPr>
          <p:spPr>
            <a:xfrm>
              <a:off x="14471520" y="1859797"/>
              <a:ext cx="645353" cy="1032565"/>
            </a:xfrm>
            <a:custGeom>
              <a:avLst/>
              <a:gdLst>
                <a:gd name="connsiteX0" fmla="*/ 200059 w 645353"/>
                <a:gd name="connsiteY0" fmla="*/ 1039019 h 1032565"/>
                <a:gd name="connsiteX1" fmla="*/ 96803 w 645353"/>
                <a:gd name="connsiteY1" fmla="*/ 96803 h 1032565"/>
                <a:gd name="connsiteX2" fmla="*/ 548550 w 645353"/>
                <a:gd name="connsiteY2" fmla="*/ 354944 h 1032565"/>
                <a:gd name="connsiteX3" fmla="*/ 200059 w 645353"/>
                <a:gd name="connsiteY3" fmla="*/ 1039019 h 1032565"/>
                <a:gd name="connsiteX4" fmla="*/ 96803 w 645353"/>
                <a:gd name="connsiteY4" fmla="*/ 109710 h 1032565"/>
                <a:gd name="connsiteX5" fmla="*/ 200059 w 645353"/>
                <a:gd name="connsiteY5" fmla="*/ 1026112 h 1032565"/>
                <a:gd name="connsiteX6" fmla="*/ 522736 w 645353"/>
                <a:gd name="connsiteY6" fmla="*/ 354944 h 1032565"/>
                <a:gd name="connsiteX7" fmla="*/ 96803 w 645353"/>
                <a:gd name="connsiteY7" fmla="*/ 109710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1032565">
                  <a:moveTo>
                    <a:pt x="200059" y="1039019"/>
                  </a:moveTo>
                  <a:lnTo>
                    <a:pt x="96803" y="96803"/>
                  </a:lnTo>
                  <a:lnTo>
                    <a:pt x="548550" y="354944"/>
                  </a:lnTo>
                  <a:lnTo>
                    <a:pt x="200059" y="1039019"/>
                  </a:lnTo>
                  <a:close/>
                  <a:moveTo>
                    <a:pt x="96803" y="109710"/>
                  </a:moveTo>
                  <a:lnTo>
                    <a:pt x="200059" y="1026112"/>
                  </a:lnTo>
                  <a:lnTo>
                    <a:pt x="522736" y="354944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1" name="Freeform: Shape 3200">
              <a:extLst>
                <a:ext uri="{FF2B5EF4-FFF2-40B4-BE49-F238E27FC236}">
                  <a16:creationId xmlns:a16="http://schemas.microsoft.com/office/drawing/2014/main" id="{11F12CE6-48D6-4D3C-8DF3-5192B03F7B3E}"/>
                </a:ext>
              </a:extLst>
            </p:cNvPr>
            <p:cNvSpPr/>
            <p:nvPr/>
          </p:nvSpPr>
          <p:spPr>
            <a:xfrm>
              <a:off x="14458613" y="1653284"/>
              <a:ext cx="645353" cy="645353"/>
            </a:xfrm>
            <a:custGeom>
              <a:avLst/>
              <a:gdLst>
                <a:gd name="connsiteX0" fmla="*/ 548550 w 645353"/>
                <a:gd name="connsiteY0" fmla="*/ 561457 h 645353"/>
                <a:gd name="connsiteX1" fmla="*/ 96803 w 645353"/>
                <a:gd name="connsiteY1" fmla="*/ 303316 h 645353"/>
                <a:gd name="connsiteX2" fmla="*/ 535642 w 645353"/>
                <a:gd name="connsiteY2" fmla="*/ 96803 h 645353"/>
                <a:gd name="connsiteX3" fmla="*/ 548550 w 645353"/>
                <a:gd name="connsiteY3" fmla="*/ 561457 h 645353"/>
                <a:gd name="connsiteX4" fmla="*/ 122617 w 645353"/>
                <a:gd name="connsiteY4" fmla="*/ 303316 h 645353"/>
                <a:gd name="connsiteX5" fmla="*/ 548550 w 645353"/>
                <a:gd name="connsiteY5" fmla="*/ 548550 h 645353"/>
                <a:gd name="connsiteX6" fmla="*/ 548550 w 645353"/>
                <a:gd name="connsiteY6" fmla="*/ 96803 h 645353"/>
                <a:gd name="connsiteX7" fmla="*/ 122617 w 645353"/>
                <a:gd name="connsiteY7" fmla="*/ 303316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548550" y="561457"/>
                  </a:moveTo>
                  <a:lnTo>
                    <a:pt x="96803" y="303316"/>
                  </a:lnTo>
                  <a:lnTo>
                    <a:pt x="535642" y="96803"/>
                  </a:lnTo>
                  <a:lnTo>
                    <a:pt x="548550" y="561457"/>
                  </a:lnTo>
                  <a:close/>
                  <a:moveTo>
                    <a:pt x="122617" y="303316"/>
                  </a:moveTo>
                  <a:lnTo>
                    <a:pt x="548550" y="548550"/>
                  </a:lnTo>
                  <a:lnTo>
                    <a:pt x="548550" y="96803"/>
                  </a:lnTo>
                  <a:lnTo>
                    <a:pt x="122617" y="3033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2" name="Freeform: Shape 3201">
              <a:extLst>
                <a:ext uri="{FF2B5EF4-FFF2-40B4-BE49-F238E27FC236}">
                  <a16:creationId xmlns:a16="http://schemas.microsoft.com/office/drawing/2014/main" id="{C65EE9BA-F779-4FCE-B003-B8619594470D}"/>
                </a:ext>
              </a:extLst>
            </p:cNvPr>
            <p:cNvSpPr/>
            <p:nvPr/>
          </p:nvSpPr>
          <p:spPr>
            <a:xfrm>
              <a:off x="14574775" y="2105031"/>
              <a:ext cx="516283" cy="774424"/>
            </a:xfrm>
            <a:custGeom>
              <a:avLst/>
              <a:gdLst>
                <a:gd name="connsiteX0" fmla="*/ 96803 w 516282"/>
                <a:gd name="connsiteY0" fmla="*/ 793784 h 774423"/>
                <a:gd name="connsiteX1" fmla="*/ 432387 w 516282"/>
                <a:gd name="connsiteY1" fmla="*/ 96803 h 774423"/>
                <a:gd name="connsiteX2" fmla="*/ 458201 w 516282"/>
                <a:gd name="connsiteY2" fmla="*/ 522736 h 774423"/>
                <a:gd name="connsiteX3" fmla="*/ 96803 w 516282"/>
                <a:gd name="connsiteY3" fmla="*/ 793784 h 774423"/>
                <a:gd name="connsiteX4" fmla="*/ 432387 w 516282"/>
                <a:gd name="connsiteY4" fmla="*/ 122617 h 774423"/>
                <a:gd name="connsiteX5" fmla="*/ 109711 w 516282"/>
                <a:gd name="connsiteY5" fmla="*/ 780877 h 774423"/>
                <a:gd name="connsiteX6" fmla="*/ 458201 w 516282"/>
                <a:gd name="connsiteY6" fmla="*/ 522736 h 774423"/>
                <a:gd name="connsiteX7" fmla="*/ 432387 w 516282"/>
                <a:gd name="connsiteY7" fmla="*/ 12261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774423">
                  <a:moveTo>
                    <a:pt x="96803" y="793784"/>
                  </a:moveTo>
                  <a:lnTo>
                    <a:pt x="432387" y="96803"/>
                  </a:lnTo>
                  <a:lnTo>
                    <a:pt x="458201" y="522736"/>
                  </a:lnTo>
                  <a:lnTo>
                    <a:pt x="96803" y="793784"/>
                  </a:lnTo>
                  <a:close/>
                  <a:moveTo>
                    <a:pt x="432387" y="122617"/>
                  </a:moveTo>
                  <a:lnTo>
                    <a:pt x="109711" y="780877"/>
                  </a:lnTo>
                  <a:lnTo>
                    <a:pt x="458201" y="522736"/>
                  </a:lnTo>
                  <a:lnTo>
                    <a:pt x="43238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3" name="Freeform: Shape 3202">
              <a:extLst>
                <a:ext uri="{FF2B5EF4-FFF2-40B4-BE49-F238E27FC236}">
                  <a16:creationId xmlns:a16="http://schemas.microsoft.com/office/drawing/2014/main" id="{587D4842-203E-400C-B5FC-AA4E0C15CE6B}"/>
                </a:ext>
              </a:extLst>
            </p:cNvPr>
            <p:cNvSpPr/>
            <p:nvPr/>
          </p:nvSpPr>
          <p:spPr>
            <a:xfrm>
              <a:off x="14910360" y="1653284"/>
              <a:ext cx="645353" cy="645353"/>
            </a:xfrm>
            <a:custGeom>
              <a:avLst/>
              <a:gdLst>
                <a:gd name="connsiteX0" fmla="*/ 96803 w 645353"/>
                <a:gd name="connsiteY0" fmla="*/ 561457 h 645353"/>
                <a:gd name="connsiteX1" fmla="*/ 96803 w 645353"/>
                <a:gd name="connsiteY1" fmla="*/ 96803 h 645353"/>
                <a:gd name="connsiteX2" fmla="*/ 561457 w 645353"/>
                <a:gd name="connsiteY2" fmla="*/ 277502 h 645353"/>
                <a:gd name="connsiteX3" fmla="*/ 96803 w 645353"/>
                <a:gd name="connsiteY3" fmla="*/ 561457 h 645353"/>
                <a:gd name="connsiteX4" fmla="*/ 96803 w 645353"/>
                <a:gd name="connsiteY4" fmla="*/ 109710 h 645353"/>
                <a:gd name="connsiteX5" fmla="*/ 96803 w 645353"/>
                <a:gd name="connsiteY5" fmla="*/ 561457 h 645353"/>
                <a:gd name="connsiteX6" fmla="*/ 535642 w 645353"/>
                <a:gd name="connsiteY6" fmla="*/ 290409 h 645353"/>
                <a:gd name="connsiteX7" fmla="*/ 96803 w 645353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645353">
                  <a:moveTo>
                    <a:pt x="96803" y="561457"/>
                  </a:moveTo>
                  <a:lnTo>
                    <a:pt x="96803" y="96803"/>
                  </a:lnTo>
                  <a:lnTo>
                    <a:pt x="561457" y="277502"/>
                  </a:lnTo>
                  <a:lnTo>
                    <a:pt x="96803" y="561457"/>
                  </a:lnTo>
                  <a:close/>
                  <a:moveTo>
                    <a:pt x="96803" y="109710"/>
                  </a:moveTo>
                  <a:lnTo>
                    <a:pt x="96803" y="561457"/>
                  </a:lnTo>
                  <a:lnTo>
                    <a:pt x="535642" y="290409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4" name="Freeform: Shape 3203">
              <a:extLst>
                <a:ext uri="{FF2B5EF4-FFF2-40B4-BE49-F238E27FC236}">
                  <a16:creationId xmlns:a16="http://schemas.microsoft.com/office/drawing/2014/main" id="{82AC5D70-C132-4E0A-87BC-F971DCFC6D8D}"/>
                </a:ext>
              </a:extLst>
            </p:cNvPr>
            <p:cNvSpPr/>
            <p:nvPr/>
          </p:nvSpPr>
          <p:spPr>
            <a:xfrm>
              <a:off x="14910360" y="2105031"/>
              <a:ext cx="645353" cy="516283"/>
            </a:xfrm>
            <a:custGeom>
              <a:avLst/>
              <a:gdLst>
                <a:gd name="connsiteX0" fmla="*/ 613086 w 645353"/>
                <a:gd name="connsiteY0" fmla="*/ 522736 h 516282"/>
                <a:gd name="connsiteX1" fmla="*/ 122617 w 645353"/>
                <a:gd name="connsiteY1" fmla="*/ 522736 h 516282"/>
                <a:gd name="connsiteX2" fmla="*/ 96803 w 645353"/>
                <a:gd name="connsiteY2" fmla="*/ 96803 h 516282"/>
                <a:gd name="connsiteX3" fmla="*/ 613086 w 645353"/>
                <a:gd name="connsiteY3" fmla="*/ 522736 h 516282"/>
                <a:gd name="connsiteX4" fmla="*/ 135524 w 645353"/>
                <a:gd name="connsiteY4" fmla="*/ 522736 h 516282"/>
                <a:gd name="connsiteX5" fmla="*/ 600178 w 645353"/>
                <a:gd name="connsiteY5" fmla="*/ 522736 h 516282"/>
                <a:gd name="connsiteX6" fmla="*/ 96803 w 645353"/>
                <a:gd name="connsiteY6" fmla="*/ 109710 h 516282"/>
                <a:gd name="connsiteX7" fmla="*/ 135524 w 645353"/>
                <a:gd name="connsiteY7" fmla="*/ 522736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353" h="516282">
                  <a:moveTo>
                    <a:pt x="613086" y="522736"/>
                  </a:moveTo>
                  <a:lnTo>
                    <a:pt x="122617" y="522736"/>
                  </a:lnTo>
                  <a:lnTo>
                    <a:pt x="96803" y="96803"/>
                  </a:lnTo>
                  <a:lnTo>
                    <a:pt x="613086" y="522736"/>
                  </a:lnTo>
                  <a:close/>
                  <a:moveTo>
                    <a:pt x="135524" y="522736"/>
                  </a:moveTo>
                  <a:lnTo>
                    <a:pt x="600178" y="522736"/>
                  </a:lnTo>
                  <a:lnTo>
                    <a:pt x="96803" y="109710"/>
                  </a:lnTo>
                  <a:lnTo>
                    <a:pt x="135524" y="5227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5" name="Freeform: Shape 3204">
              <a:extLst>
                <a:ext uri="{FF2B5EF4-FFF2-40B4-BE49-F238E27FC236}">
                  <a16:creationId xmlns:a16="http://schemas.microsoft.com/office/drawing/2014/main" id="{87738891-8CEE-4541-A109-6720CD0A4705}"/>
                </a:ext>
              </a:extLst>
            </p:cNvPr>
            <p:cNvSpPr/>
            <p:nvPr/>
          </p:nvSpPr>
          <p:spPr>
            <a:xfrm>
              <a:off x="14910360" y="1833983"/>
              <a:ext cx="645353" cy="774424"/>
            </a:xfrm>
            <a:custGeom>
              <a:avLst/>
              <a:gdLst>
                <a:gd name="connsiteX0" fmla="*/ 613086 w 645353"/>
                <a:gd name="connsiteY0" fmla="*/ 806691 h 774423"/>
                <a:gd name="connsiteX1" fmla="*/ 613086 w 645353"/>
                <a:gd name="connsiteY1" fmla="*/ 806691 h 774423"/>
                <a:gd name="connsiteX2" fmla="*/ 96803 w 645353"/>
                <a:gd name="connsiteY2" fmla="*/ 380758 h 774423"/>
                <a:gd name="connsiteX3" fmla="*/ 96803 w 645353"/>
                <a:gd name="connsiteY3" fmla="*/ 380758 h 774423"/>
                <a:gd name="connsiteX4" fmla="*/ 548550 w 645353"/>
                <a:gd name="connsiteY4" fmla="*/ 96803 h 774423"/>
                <a:gd name="connsiteX5" fmla="*/ 613086 w 645353"/>
                <a:gd name="connsiteY5" fmla="*/ 806691 h 774423"/>
                <a:gd name="connsiteX6" fmla="*/ 96803 w 645353"/>
                <a:gd name="connsiteY6" fmla="*/ 380758 h 774423"/>
                <a:gd name="connsiteX7" fmla="*/ 600178 w 645353"/>
                <a:gd name="connsiteY7" fmla="*/ 793784 h 774423"/>
                <a:gd name="connsiteX8" fmla="*/ 548550 w 645353"/>
                <a:gd name="connsiteY8" fmla="*/ 109710 h 774423"/>
                <a:gd name="connsiteX9" fmla="*/ 96803 w 645353"/>
                <a:gd name="connsiteY9" fmla="*/ 380758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774423">
                  <a:moveTo>
                    <a:pt x="613086" y="806691"/>
                  </a:moveTo>
                  <a:lnTo>
                    <a:pt x="613086" y="806691"/>
                  </a:lnTo>
                  <a:lnTo>
                    <a:pt x="96803" y="380758"/>
                  </a:lnTo>
                  <a:lnTo>
                    <a:pt x="96803" y="380758"/>
                  </a:lnTo>
                  <a:lnTo>
                    <a:pt x="548550" y="96803"/>
                  </a:lnTo>
                  <a:lnTo>
                    <a:pt x="613086" y="806691"/>
                  </a:lnTo>
                  <a:close/>
                  <a:moveTo>
                    <a:pt x="96803" y="380758"/>
                  </a:moveTo>
                  <a:lnTo>
                    <a:pt x="600178" y="793784"/>
                  </a:lnTo>
                  <a:lnTo>
                    <a:pt x="548550" y="109710"/>
                  </a:lnTo>
                  <a:lnTo>
                    <a:pt x="96803" y="3807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6" name="Freeform: Shape 3205">
              <a:extLst>
                <a:ext uri="{FF2B5EF4-FFF2-40B4-BE49-F238E27FC236}">
                  <a16:creationId xmlns:a16="http://schemas.microsoft.com/office/drawing/2014/main" id="{736CA9A9-780B-4154-9DEA-1115B2130B90}"/>
                </a:ext>
              </a:extLst>
            </p:cNvPr>
            <p:cNvSpPr/>
            <p:nvPr/>
          </p:nvSpPr>
          <p:spPr>
            <a:xfrm>
              <a:off x="13658374" y="2195381"/>
              <a:ext cx="516283" cy="903494"/>
            </a:xfrm>
            <a:custGeom>
              <a:avLst/>
              <a:gdLst>
                <a:gd name="connsiteX0" fmla="*/ 277502 w 516282"/>
                <a:gd name="connsiteY0" fmla="*/ 897041 h 903494"/>
                <a:gd name="connsiteX1" fmla="*/ 96803 w 516282"/>
                <a:gd name="connsiteY1" fmla="*/ 96803 h 903494"/>
                <a:gd name="connsiteX2" fmla="*/ 535643 w 516282"/>
                <a:gd name="connsiteY2" fmla="*/ 832506 h 903494"/>
                <a:gd name="connsiteX3" fmla="*/ 277502 w 516282"/>
                <a:gd name="connsiteY3" fmla="*/ 897041 h 903494"/>
                <a:gd name="connsiteX4" fmla="*/ 109710 w 516282"/>
                <a:gd name="connsiteY4" fmla="*/ 135524 h 903494"/>
                <a:gd name="connsiteX5" fmla="*/ 277502 w 516282"/>
                <a:gd name="connsiteY5" fmla="*/ 897041 h 903494"/>
                <a:gd name="connsiteX6" fmla="*/ 522737 w 516282"/>
                <a:gd name="connsiteY6" fmla="*/ 832506 h 903494"/>
                <a:gd name="connsiteX7" fmla="*/ 109710 w 516282"/>
                <a:gd name="connsiteY7" fmla="*/ 135524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903494">
                  <a:moveTo>
                    <a:pt x="277502" y="897041"/>
                  </a:moveTo>
                  <a:lnTo>
                    <a:pt x="96803" y="96803"/>
                  </a:lnTo>
                  <a:lnTo>
                    <a:pt x="535643" y="832506"/>
                  </a:lnTo>
                  <a:lnTo>
                    <a:pt x="277502" y="897041"/>
                  </a:lnTo>
                  <a:close/>
                  <a:moveTo>
                    <a:pt x="109710" y="135524"/>
                  </a:moveTo>
                  <a:lnTo>
                    <a:pt x="277502" y="897041"/>
                  </a:lnTo>
                  <a:lnTo>
                    <a:pt x="522737" y="832506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7" name="Freeform: Shape 3206">
              <a:extLst>
                <a:ext uri="{FF2B5EF4-FFF2-40B4-BE49-F238E27FC236}">
                  <a16:creationId xmlns:a16="http://schemas.microsoft.com/office/drawing/2014/main" id="{BA08E785-0A5E-40BE-A461-099DB2FEB757}"/>
                </a:ext>
              </a:extLst>
            </p:cNvPr>
            <p:cNvSpPr/>
            <p:nvPr/>
          </p:nvSpPr>
          <p:spPr>
            <a:xfrm>
              <a:off x="13658374" y="2208288"/>
              <a:ext cx="1032565" cy="903494"/>
            </a:xfrm>
            <a:custGeom>
              <a:avLst/>
              <a:gdLst>
                <a:gd name="connsiteX0" fmla="*/ 522737 w 1032565"/>
                <a:gd name="connsiteY0" fmla="*/ 819599 h 903494"/>
                <a:gd name="connsiteX1" fmla="*/ 522737 w 1032565"/>
                <a:gd name="connsiteY1" fmla="*/ 819599 h 903494"/>
                <a:gd name="connsiteX2" fmla="*/ 96803 w 1032565"/>
                <a:gd name="connsiteY2" fmla="*/ 96803 h 903494"/>
                <a:gd name="connsiteX3" fmla="*/ 1026112 w 1032565"/>
                <a:gd name="connsiteY3" fmla="*/ 690528 h 903494"/>
                <a:gd name="connsiteX4" fmla="*/ 522737 w 1032565"/>
                <a:gd name="connsiteY4" fmla="*/ 819599 h 903494"/>
                <a:gd name="connsiteX5" fmla="*/ 122618 w 1032565"/>
                <a:gd name="connsiteY5" fmla="*/ 109710 h 903494"/>
                <a:gd name="connsiteX6" fmla="*/ 535643 w 1032565"/>
                <a:gd name="connsiteY6" fmla="*/ 806692 h 903494"/>
                <a:gd name="connsiteX7" fmla="*/ 1013204 w 1032565"/>
                <a:gd name="connsiteY7" fmla="*/ 677621 h 903494"/>
                <a:gd name="connsiteX8" fmla="*/ 122618 w 1032565"/>
                <a:gd name="connsiteY8" fmla="*/ 10971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903494">
                  <a:moveTo>
                    <a:pt x="522737" y="819599"/>
                  </a:moveTo>
                  <a:lnTo>
                    <a:pt x="522737" y="819599"/>
                  </a:lnTo>
                  <a:lnTo>
                    <a:pt x="96803" y="96803"/>
                  </a:lnTo>
                  <a:lnTo>
                    <a:pt x="1026112" y="690528"/>
                  </a:lnTo>
                  <a:lnTo>
                    <a:pt x="522737" y="819599"/>
                  </a:lnTo>
                  <a:close/>
                  <a:moveTo>
                    <a:pt x="122618" y="109710"/>
                  </a:moveTo>
                  <a:lnTo>
                    <a:pt x="535643" y="806692"/>
                  </a:lnTo>
                  <a:lnTo>
                    <a:pt x="1013204" y="677621"/>
                  </a:lnTo>
                  <a:lnTo>
                    <a:pt x="12261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8" name="Freeform: Shape 3207">
              <a:extLst>
                <a:ext uri="{FF2B5EF4-FFF2-40B4-BE49-F238E27FC236}">
                  <a16:creationId xmlns:a16="http://schemas.microsoft.com/office/drawing/2014/main" id="{11004C19-E950-49E5-8E57-7E7C655391BC}"/>
                </a:ext>
              </a:extLst>
            </p:cNvPr>
            <p:cNvSpPr/>
            <p:nvPr/>
          </p:nvSpPr>
          <p:spPr>
            <a:xfrm>
              <a:off x="13839073" y="2931083"/>
              <a:ext cx="387212" cy="774424"/>
            </a:xfrm>
            <a:custGeom>
              <a:avLst/>
              <a:gdLst>
                <a:gd name="connsiteX0" fmla="*/ 200060 w 387211"/>
                <a:gd name="connsiteY0" fmla="*/ 793784 h 774423"/>
                <a:gd name="connsiteX1" fmla="*/ 96803 w 387211"/>
                <a:gd name="connsiteY1" fmla="*/ 161338 h 774423"/>
                <a:gd name="connsiteX2" fmla="*/ 354944 w 387211"/>
                <a:gd name="connsiteY2" fmla="*/ 96803 h 774423"/>
                <a:gd name="connsiteX3" fmla="*/ 200060 w 387211"/>
                <a:gd name="connsiteY3" fmla="*/ 793784 h 774423"/>
                <a:gd name="connsiteX4" fmla="*/ 96803 w 387211"/>
                <a:gd name="connsiteY4" fmla="*/ 161338 h 774423"/>
                <a:gd name="connsiteX5" fmla="*/ 200060 w 387211"/>
                <a:gd name="connsiteY5" fmla="*/ 755063 h 774423"/>
                <a:gd name="connsiteX6" fmla="*/ 342037 w 387211"/>
                <a:gd name="connsiteY6" fmla="*/ 96803 h 774423"/>
                <a:gd name="connsiteX7" fmla="*/ 96803 w 387211"/>
                <a:gd name="connsiteY7" fmla="*/ 161338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774423">
                  <a:moveTo>
                    <a:pt x="200060" y="793784"/>
                  </a:moveTo>
                  <a:lnTo>
                    <a:pt x="96803" y="161338"/>
                  </a:lnTo>
                  <a:lnTo>
                    <a:pt x="354944" y="96803"/>
                  </a:lnTo>
                  <a:lnTo>
                    <a:pt x="200060" y="793784"/>
                  </a:lnTo>
                  <a:close/>
                  <a:moveTo>
                    <a:pt x="96803" y="161338"/>
                  </a:moveTo>
                  <a:lnTo>
                    <a:pt x="200060" y="755063"/>
                  </a:lnTo>
                  <a:lnTo>
                    <a:pt x="342037" y="96803"/>
                  </a:lnTo>
                  <a:lnTo>
                    <a:pt x="96803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09" name="Freeform: Shape 3208">
              <a:extLst>
                <a:ext uri="{FF2B5EF4-FFF2-40B4-BE49-F238E27FC236}">
                  <a16:creationId xmlns:a16="http://schemas.microsoft.com/office/drawing/2014/main" id="{4A8CA403-C32D-45FE-B68B-26383EAF82DE}"/>
                </a:ext>
              </a:extLst>
            </p:cNvPr>
            <p:cNvSpPr/>
            <p:nvPr/>
          </p:nvSpPr>
          <p:spPr>
            <a:xfrm>
              <a:off x="13942330" y="2918176"/>
              <a:ext cx="645353" cy="774424"/>
            </a:xfrm>
            <a:custGeom>
              <a:avLst/>
              <a:gdLst>
                <a:gd name="connsiteX0" fmla="*/ 96803 w 645353"/>
                <a:gd name="connsiteY0" fmla="*/ 793785 h 774423"/>
                <a:gd name="connsiteX1" fmla="*/ 96803 w 645353"/>
                <a:gd name="connsiteY1" fmla="*/ 793785 h 774423"/>
                <a:gd name="connsiteX2" fmla="*/ 251687 w 645353"/>
                <a:gd name="connsiteY2" fmla="*/ 96803 h 774423"/>
                <a:gd name="connsiteX3" fmla="*/ 574364 w 645353"/>
                <a:gd name="connsiteY3" fmla="*/ 651807 h 774423"/>
                <a:gd name="connsiteX4" fmla="*/ 96803 w 645353"/>
                <a:gd name="connsiteY4" fmla="*/ 793785 h 774423"/>
                <a:gd name="connsiteX5" fmla="*/ 251687 w 645353"/>
                <a:gd name="connsiteY5" fmla="*/ 109710 h 774423"/>
                <a:gd name="connsiteX6" fmla="*/ 109710 w 645353"/>
                <a:gd name="connsiteY6" fmla="*/ 780877 h 774423"/>
                <a:gd name="connsiteX7" fmla="*/ 561457 w 645353"/>
                <a:gd name="connsiteY7" fmla="*/ 651807 h 774423"/>
                <a:gd name="connsiteX8" fmla="*/ 251687 w 645353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774423">
                  <a:moveTo>
                    <a:pt x="96803" y="793785"/>
                  </a:moveTo>
                  <a:lnTo>
                    <a:pt x="96803" y="793785"/>
                  </a:lnTo>
                  <a:lnTo>
                    <a:pt x="251687" y="96803"/>
                  </a:lnTo>
                  <a:lnTo>
                    <a:pt x="574364" y="651807"/>
                  </a:lnTo>
                  <a:lnTo>
                    <a:pt x="96803" y="793785"/>
                  </a:lnTo>
                  <a:close/>
                  <a:moveTo>
                    <a:pt x="251687" y="109710"/>
                  </a:moveTo>
                  <a:lnTo>
                    <a:pt x="109710" y="780877"/>
                  </a:lnTo>
                  <a:lnTo>
                    <a:pt x="561457" y="651807"/>
                  </a:lnTo>
                  <a:lnTo>
                    <a:pt x="25168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0" name="Freeform: Shape 3209">
              <a:extLst>
                <a:ext uri="{FF2B5EF4-FFF2-40B4-BE49-F238E27FC236}">
                  <a16:creationId xmlns:a16="http://schemas.microsoft.com/office/drawing/2014/main" id="{37C8BADE-FCE3-45BC-AC71-7FFC9D180C98}"/>
                </a:ext>
              </a:extLst>
            </p:cNvPr>
            <p:cNvSpPr/>
            <p:nvPr/>
          </p:nvSpPr>
          <p:spPr>
            <a:xfrm>
              <a:off x="14084308" y="2802013"/>
              <a:ext cx="645353" cy="774424"/>
            </a:xfrm>
            <a:custGeom>
              <a:avLst/>
              <a:gdLst>
                <a:gd name="connsiteX0" fmla="*/ 419480 w 645353"/>
                <a:gd name="connsiteY0" fmla="*/ 780878 h 774423"/>
                <a:gd name="connsiteX1" fmla="*/ 96803 w 645353"/>
                <a:gd name="connsiteY1" fmla="*/ 225874 h 774423"/>
                <a:gd name="connsiteX2" fmla="*/ 600179 w 645353"/>
                <a:gd name="connsiteY2" fmla="*/ 96803 h 774423"/>
                <a:gd name="connsiteX3" fmla="*/ 600179 w 645353"/>
                <a:gd name="connsiteY3" fmla="*/ 96803 h 774423"/>
                <a:gd name="connsiteX4" fmla="*/ 419480 w 645353"/>
                <a:gd name="connsiteY4" fmla="*/ 780878 h 774423"/>
                <a:gd name="connsiteX5" fmla="*/ 109710 w 645353"/>
                <a:gd name="connsiteY5" fmla="*/ 225874 h 774423"/>
                <a:gd name="connsiteX6" fmla="*/ 419480 w 645353"/>
                <a:gd name="connsiteY6" fmla="*/ 767970 h 774423"/>
                <a:gd name="connsiteX7" fmla="*/ 587271 w 645353"/>
                <a:gd name="connsiteY7" fmla="*/ 96803 h 774423"/>
                <a:gd name="connsiteX8" fmla="*/ 109710 w 645353"/>
                <a:gd name="connsiteY8" fmla="*/ 225874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774423">
                  <a:moveTo>
                    <a:pt x="419480" y="780878"/>
                  </a:moveTo>
                  <a:lnTo>
                    <a:pt x="96803" y="225874"/>
                  </a:lnTo>
                  <a:lnTo>
                    <a:pt x="600179" y="96803"/>
                  </a:lnTo>
                  <a:lnTo>
                    <a:pt x="600179" y="96803"/>
                  </a:lnTo>
                  <a:lnTo>
                    <a:pt x="419480" y="780878"/>
                  </a:lnTo>
                  <a:close/>
                  <a:moveTo>
                    <a:pt x="109710" y="225874"/>
                  </a:moveTo>
                  <a:lnTo>
                    <a:pt x="419480" y="767970"/>
                  </a:lnTo>
                  <a:lnTo>
                    <a:pt x="587271" y="96803"/>
                  </a:lnTo>
                  <a:lnTo>
                    <a:pt x="109710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1" name="Freeform: Shape 3210">
              <a:extLst>
                <a:ext uri="{FF2B5EF4-FFF2-40B4-BE49-F238E27FC236}">
                  <a16:creationId xmlns:a16="http://schemas.microsoft.com/office/drawing/2014/main" id="{5C0A375C-7D98-4DDF-9162-5135B73E6BDB}"/>
                </a:ext>
              </a:extLst>
            </p:cNvPr>
            <p:cNvSpPr/>
            <p:nvPr/>
          </p:nvSpPr>
          <p:spPr>
            <a:xfrm>
              <a:off x="9889511" y="2092124"/>
              <a:ext cx="645353" cy="774424"/>
            </a:xfrm>
            <a:custGeom>
              <a:avLst/>
              <a:gdLst>
                <a:gd name="connsiteX0" fmla="*/ 96803 w 645353"/>
                <a:gd name="connsiteY0" fmla="*/ 755063 h 774423"/>
                <a:gd name="connsiteX1" fmla="*/ 96803 w 645353"/>
                <a:gd name="connsiteY1" fmla="*/ 755063 h 774423"/>
                <a:gd name="connsiteX2" fmla="*/ 342037 w 645353"/>
                <a:gd name="connsiteY2" fmla="*/ 96803 h 774423"/>
                <a:gd name="connsiteX3" fmla="*/ 342037 w 645353"/>
                <a:gd name="connsiteY3" fmla="*/ 96803 h 774423"/>
                <a:gd name="connsiteX4" fmla="*/ 638899 w 645353"/>
                <a:gd name="connsiteY4" fmla="*/ 638900 h 774423"/>
                <a:gd name="connsiteX5" fmla="*/ 96803 w 645353"/>
                <a:gd name="connsiteY5" fmla="*/ 755063 h 774423"/>
                <a:gd name="connsiteX6" fmla="*/ 342037 w 645353"/>
                <a:gd name="connsiteY6" fmla="*/ 109710 h 774423"/>
                <a:gd name="connsiteX7" fmla="*/ 109710 w 645353"/>
                <a:gd name="connsiteY7" fmla="*/ 755063 h 774423"/>
                <a:gd name="connsiteX8" fmla="*/ 638899 w 645353"/>
                <a:gd name="connsiteY8" fmla="*/ 651807 h 774423"/>
                <a:gd name="connsiteX9" fmla="*/ 342037 w 645353"/>
                <a:gd name="connsiteY9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774423">
                  <a:moveTo>
                    <a:pt x="96803" y="755063"/>
                  </a:moveTo>
                  <a:lnTo>
                    <a:pt x="96803" y="755063"/>
                  </a:lnTo>
                  <a:lnTo>
                    <a:pt x="342037" y="96803"/>
                  </a:lnTo>
                  <a:lnTo>
                    <a:pt x="342037" y="96803"/>
                  </a:lnTo>
                  <a:lnTo>
                    <a:pt x="638899" y="638900"/>
                  </a:lnTo>
                  <a:lnTo>
                    <a:pt x="96803" y="755063"/>
                  </a:lnTo>
                  <a:close/>
                  <a:moveTo>
                    <a:pt x="342037" y="109710"/>
                  </a:moveTo>
                  <a:lnTo>
                    <a:pt x="109710" y="755063"/>
                  </a:lnTo>
                  <a:lnTo>
                    <a:pt x="638899" y="651807"/>
                  </a:lnTo>
                  <a:lnTo>
                    <a:pt x="34203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2" name="Freeform: Shape 3211">
              <a:extLst>
                <a:ext uri="{FF2B5EF4-FFF2-40B4-BE49-F238E27FC236}">
                  <a16:creationId xmlns:a16="http://schemas.microsoft.com/office/drawing/2014/main" id="{CA2E07BD-96CB-45EC-9BF3-B265F4D2017F}"/>
                </a:ext>
              </a:extLst>
            </p:cNvPr>
            <p:cNvSpPr/>
            <p:nvPr/>
          </p:nvSpPr>
          <p:spPr>
            <a:xfrm>
              <a:off x="9889511" y="2634221"/>
              <a:ext cx="645353" cy="1419777"/>
            </a:xfrm>
            <a:custGeom>
              <a:avLst/>
              <a:gdLst>
                <a:gd name="connsiteX0" fmla="*/ 484015 w 645353"/>
                <a:gd name="connsiteY0" fmla="*/ 1374602 h 1419777"/>
                <a:gd name="connsiteX1" fmla="*/ 96803 w 645353"/>
                <a:gd name="connsiteY1" fmla="*/ 212967 h 1419777"/>
                <a:gd name="connsiteX2" fmla="*/ 96803 w 645353"/>
                <a:gd name="connsiteY2" fmla="*/ 212967 h 1419777"/>
                <a:gd name="connsiteX3" fmla="*/ 638899 w 645353"/>
                <a:gd name="connsiteY3" fmla="*/ 96803 h 1419777"/>
                <a:gd name="connsiteX4" fmla="*/ 638899 w 645353"/>
                <a:gd name="connsiteY4" fmla="*/ 96803 h 1419777"/>
                <a:gd name="connsiteX5" fmla="*/ 484015 w 645353"/>
                <a:gd name="connsiteY5" fmla="*/ 1374602 h 1419777"/>
                <a:gd name="connsiteX6" fmla="*/ 109710 w 645353"/>
                <a:gd name="connsiteY6" fmla="*/ 212967 h 1419777"/>
                <a:gd name="connsiteX7" fmla="*/ 484015 w 645353"/>
                <a:gd name="connsiteY7" fmla="*/ 1348788 h 1419777"/>
                <a:gd name="connsiteX8" fmla="*/ 638899 w 645353"/>
                <a:gd name="connsiteY8" fmla="*/ 109710 h 1419777"/>
                <a:gd name="connsiteX9" fmla="*/ 109710 w 645353"/>
                <a:gd name="connsiteY9" fmla="*/ 212967 h 141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1419777">
                  <a:moveTo>
                    <a:pt x="484015" y="1374602"/>
                  </a:moveTo>
                  <a:lnTo>
                    <a:pt x="96803" y="212967"/>
                  </a:lnTo>
                  <a:lnTo>
                    <a:pt x="96803" y="212967"/>
                  </a:lnTo>
                  <a:lnTo>
                    <a:pt x="638899" y="96803"/>
                  </a:lnTo>
                  <a:lnTo>
                    <a:pt x="638899" y="96803"/>
                  </a:lnTo>
                  <a:lnTo>
                    <a:pt x="484015" y="1374602"/>
                  </a:lnTo>
                  <a:close/>
                  <a:moveTo>
                    <a:pt x="109710" y="212967"/>
                  </a:moveTo>
                  <a:lnTo>
                    <a:pt x="484015" y="1348788"/>
                  </a:lnTo>
                  <a:lnTo>
                    <a:pt x="638899" y="109710"/>
                  </a:lnTo>
                  <a:lnTo>
                    <a:pt x="109710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3" name="Freeform: Shape 3212">
              <a:extLst>
                <a:ext uri="{FF2B5EF4-FFF2-40B4-BE49-F238E27FC236}">
                  <a16:creationId xmlns:a16="http://schemas.microsoft.com/office/drawing/2014/main" id="{7053B091-8762-4549-9B97-E00611BCEC21}"/>
                </a:ext>
              </a:extLst>
            </p:cNvPr>
            <p:cNvSpPr/>
            <p:nvPr/>
          </p:nvSpPr>
          <p:spPr>
            <a:xfrm>
              <a:off x="10121838" y="2092124"/>
              <a:ext cx="387212" cy="645353"/>
            </a:xfrm>
            <a:custGeom>
              <a:avLst/>
              <a:gdLst>
                <a:gd name="connsiteX0" fmla="*/ 406573 w 387211"/>
                <a:gd name="connsiteY0" fmla="*/ 664714 h 645353"/>
                <a:gd name="connsiteX1" fmla="*/ 96803 w 387211"/>
                <a:gd name="connsiteY1" fmla="*/ 96803 h 645353"/>
                <a:gd name="connsiteX2" fmla="*/ 290409 w 387211"/>
                <a:gd name="connsiteY2" fmla="*/ 109710 h 645353"/>
                <a:gd name="connsiteX3" fmla="*/ 406573 w 387211"/>
                <a:gd name="connsiteY3" fmla="*/ 664714 h 645353"/>
                <a:gd name="connsiteX4" fmla="*/ 109711 w 387211"/>
                <a:gd name="connsiteY4" fmla="*/ 109710 h 645353"/>
                <a:gd name="connsiteX5" fmla="*/ 393666 w 387211"/>
                <a:gd name="connsiteY5" fmla="*/ 625993 h 645353"/>
                <a:gd name="connsiteX6" fmla="*/ 290409 w 387211"/>
                <a:gd name="connsiteY6" fmla="*/ 109710 h 645353"/>
                <a:gd name="connsiteX7" fmla="*/ 109711 w 387211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406573" y="664714"/>
                  </a:moveTo>
                  <a:lnTo>
                    <a:pt x="96803" y="96803"/>
                  </a:lnTo>
                  <a:lnTo>
                    <a:pt x="290409" y="109710"/>
                  </a:lnTo>
                  <a:lnTo>
                    <a:pt x="406573" y="664714"/>
                  </a:lnTo>
                  <a:close/>
                  <a:moveTo>
                    <a:pt x="109711" y="109710"/>
                  </a:moveTo>
                  <a:lnTo>
                    <a:pt x="393666" y="625993"/>
                  </a:lnTo>
                  <a:lnTo>
                    <a:pt x="290409" y="109710"/>
                  </a:lnTo>
                  <a:lnTo>
                    <a:pt x="10971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4" name="Freeform: Shape 3213">
              <a:extLst>
                <a:ext uri="{FF2B5EF4-FFF2-40B4-BE49-F238E27FC236}">
                  <a16:creationId xmlns:a16="http://schemas.microsoft.com/office/drawing/2014/main" id="{76862835-3EFE-4C33-A4AB-0D01BD060E5C}"/>
                </a:ext>
              </a:extLst>
            </p:cNvPr>
            <p:cNvSpPr/>
            <p:nvPr/>
          </p:nvSpPr>
          <p:spPr>
            <a:xfrm>
              <a:off x="10302537" y="2105031"/>
              <a:ext cx="774424" cy="645353"/>
            </a:xfrm>
            <a:custGeom>
              <a:avLst/>
              <a:gdLst>
                <a:gd name="connsiteX0" fmla="*/ 212967 w 774423"/>
                <a:gd name="connsiteY0" fmla="*/ 638900 h 645353"/>
                <a:gd name="connsiteX1" fmla="*/ 212967 w 774423"/>
                <a:gd name="connsiteY1" fmla="*/ 638900 h 645353"/>
                <a:gd name="connsiteX2" fmla="*/ 96803 w 774423"/>
                <a:gd name="connsiteY2" fmla="*/ 96803 h 645353"/>
                <a:gd name="connsiteX3" fmla="*/ 729249 w 774423"/>
                <a:gd name="connsiteY3" fmla="*/ 574364 h 645353"/>
                <a:gd name="connsiteX4" fmla="*/ 212967 w 774423"/>
                <a:gd name="connsiteY4" fmla="*/ 638900 h 645353"/>
                <a:gd name="connsiteX5" fmla="*/ 109710 w 774423"/>
                <a:gd name="connsiteY5" fmla="*/ 109710 h 645353"/>
                <a:gd name="connsiteX6" fmla="*/ 225874 w 774423"/>
                <a:gd name="connsiteY6" fmla="*/ 625993 h 645353"/>
                <a:gd name="connsiteX7" fmla="*/ 716343 w 774423"/>
                <a:gd name="connsiteY7" fmla="*/ 561457 h 645353"/>
                <a:gd name="connsiteX8" fmla="*/ 109710 w 774423"/>
                <a:gd name="connsiteY8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645353">
                  <a:moveTo>
                    <a:pt x="212967" y="638900"/>
                  </a:moveTo>
                  <a:lnTo>
                    <a:pt x="212967" y="638900"/>
                  </a:lnTo>
                  <a:lnTo>
                    <a:pt x="96803" y="96803"/>
                  </a:lnTo>
                  <a:lnTo>
                    <a:pt x="729249" y="574364"/>
                  </a:lnTo>
                  <a:lnTo>
                    <a:pt x="212967" y="638900"/>
                  </a:lnTo>
                  <a:close/>
                  <a:moveTo>
                    <a:pt x="109710" y="109710"/>
                  </a:moveTo>
                  <a:lnTo>
                    <a:pt x="225874" y="625993"/>
                  </a:lnTo>
                  <a:lnTo>
                    <a:pt x="716343" y="561457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5" name="Freeform: Shape 3214">
              <a:extLst>
                <a:ext uri="{FF2B5EF4-FFF2-40B4-BE49-F238E27FC236}">
                  <a16:creationId xmlns:a16="http://schemas.microsoft.com/office/drawing/2014/main" id="{324638D0-C792-476A-A28B-A64440BC20A3}"/>
                </a:ext>
              </a:extLst>
            </p:cNvPr>
            <p:cNvSpPr/>
            <p:nvPr/>
          </p:nvSpPr>
          <p:spPr>
            <a:xfrm>
              <a:off x="8856946" y="3060154"/>
              <a:ext cx="774424" cy="645353"/>
            </a:xfrm>
            <a:custGeom>
              <a:avLst/>
              <a:gdLst>
                <a:gd name="connsiteX0" fmla="*/ 354944 w 774423"/>
                <a:gd name="connsiteY0" fmla="*/ 574364 h 645353"/>
                <a:gd name="connsiteX1" fmla="*/ 96803 w 774423"/>
                <a:gd name="connsiteY1" fmla="*/ 342037 h 645353"/>
                <a:gd name="connsiteX2" fmla="*/ 742156 w 774423"/>
                <a:gd name="connsiteY2" fmla="*/ 96803 h 645353"/>
                <a:gd name="connsiteX3" fmla="*/ 729249 w 774423"/>
                <a:gd name="connsiteY3" fmla="*/ 109710 h 645353"/>
                <a:gd name="connsiteX4" fmla="*/ 354944 w 774423"/>
                <a:gd name="connsiteY4" fmla="*/ 574364 h 645353"/>
                <a:gd name="connsiteX5" fmla="*/ 96803 w 774423"/>
                <a:gd name="connsiteY5" fmla="*/ 342037 h 645353"/>
                <a:gd name="connsiteX6" fmla="*/ 342037 w 774423"/>
                <a:gd name="connsiteY6" fmla="*/ 574364 h 645353"/>
                <a:gd name="connsiteX7" fmla="*/ 703435 w 774423"/>
                <a:gd name="connsiteY7" fmla="*/ 109710 h 645353"/>
                <a:gd name="connsiteX8" fmla="*/ 96803 w 774423"/>
                <a:gd name="connsiteY8" fmla="*/ 342037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645353">
                  <a:moveTo>
                    <a:pt x="354944" y="574364"/>
                  </a:moveTo>
                  <a:lnTo>
                    <a:pt x="96803" y="342037"/>
                  </a:lnTo>
                  <a:lnTo>
                    <a:pt x="742156" y="96803"/>
                  </a:lnTo>
                  <a:lnTo>
                    <a:pt x="729249" y="109710"/>
                  </a:lnTo>
                  <a:lnTo>
                    <a:pt x="354944" y="574364"/>
                  </a:lnTo>
                  <a:close/>
                  <a:moveTo>
                    <a:pt x="96803" y="342037"/>
                  </a:moveTo>
                  <a:lnTo>
                    <a:pt x="342037" y="574364"/>
                  </a:lnTo>
                  <a:lnTo>
                    <a:pt x="703435" y="109710"/>
                  </a:lnTo>
                  <a:lnTo>
                    <a:pt x="96803" y="34203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6" name="Freeform: Shape 3215">
              <a:extLst>
                <a:ext uri="{FF2B5EF4-FFF2-40B4-BE49-F238E27FC236}">
                  <a16:creationId xmlns:a16="http://schemas.microsoft.com/office/drawing/2014/main" id="{5B686E3C-CB28-44E6-A14F-312BBC8B20A7}"/>
                </a:ext>
              </a:extLst>
            </p:cNvPr>
            <p:cNvSpPr/>
            <p:nvPr/>
          </p:nvSpPr>
          <p:spPr>
            <a:xfrm>
              <a:off x="8844039" y="2814920"/>
              <a:ext cx="774424" cy="645353"/>
            </a:xfrm>
            <a:custGeom>
              <a:avLst/>
              <a:gdLst>
                <a:gd name="connsiteX0" fmla="*/ 96803 w 774423"/>
                <a:gd name="connsiteY0" fmla="*/ 587271 h 645353"/>
                <a:gd name="connsiteX1" fmla="*/ 419480 w 774423"/>
                <a:gd name="connsiteY1" fmla="*/ 96803 h 645353"/>
                <a:gd name="connsiteX2" fmla="*/ 755063 w 774423"/>
                <a:gd name="connsiteY2" fmla="*/ 342037 h 645353"/>
                <a:gd name="connsiteX3" fmla="*/ 96803 w 774423"/>
                <a:gd name="connsiteY3" fmla="*/ 587271 h 645353"/>
                <a:gd name="connsiteX4" fmla="*/ 419480 w 774423"/>
                <a:gd name="connsiteY4" fmla="*/ 109710 h 645353"/>
                <a:gd name="connsiteX5" fmla="*/ 109710 w 774423"/>
                <a:gd name="connsiteY5" fmla="*/ 587271 h 645353"/>
                <a:gd name="connsiteX6" fmla="*/ 729248 w 774423"/>
                <a:gd name="connsiteY6" fmla="*/ 354944 h 645353"/>
                <a:gd name="connsiteX7" fmla="*/ 419480 w 774423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423" h="645353">
                  <a:moveTo>
                    <a:pt x="96803" y="587271"/>
                  </a:moveTo>
                  <a:lnTo>
                    <a:pt x="419480" y="96803"/>
                  </a:lnTo>
                  <a:lnTo>
                    <a:pt x="755063" y="342037"/>
                  </a:lnTo>
                  <a:lnTo>
                    <a:pt x="96803" y="587271"/>
                  </a:lnTo>
                  <a:close/>
                  <a:moveTo>
                    <a:pt x="419480" y="109710"/>
                  </a:moveTo>
                  <a:lnTo>
                    <a:pt x="109710" y="587271"/>
                  </a:lnTo>
                  <a:lnTo>
                    <a:pt x="729248" y="354944"/>
                  </a:lnTo>
                  <a:lnTo>
                    <a:pt x="41948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7" name="Freeform: Shape 3216">
              <a:extLst>
                <a:ext uri="{FF2B5EF4-FFF2-40B4-BE49-F238E27FC236}">
                  <a16:creationId xmlns:a16="http://schemas.microsoft.com/office/drawing/2014/main" id="{D158F86F-59C6-49D6-BF6C-0C6CCC770B20}"/>
                </a:ext>
              </a:extLst>
            </p:cNvPr>
            <p:cNvSpPr/>
            <p:nvPr/>
          </p:nvSpPr>
          <p:spPr>
            <a:xfrm>
              <a:off x="9115088" y="3047247"/>
              <a:ext cx="516283" cy="645353"/>
            </a:xfrm>
            <a:custGeom>
              <a:avLst/>
              <a:gdLst>
                <a:gd name="connsiteX0" fmla="*/ 277502 w 516282"/>
                <a:gd name="connsiteY0" fmla="*/ 664714 h 645353"/>
                <a:gd name="connsiteX1" fmla="*/ 96803 w 516282"/>
                <a:gd name="connsiteY1" fmla="*/ 587271 h 645353"/>
                <a:gd name="connsiteX2" fmla="*/ 96803 w 516282"/>
                <a:gd name="connsiteY2" fmla="*/ 587271 h 645353"/>
                <a:gd name="connsiteX3" fmla="*/ 484015 w 516282"/>
                <a:gd name="connsiteY3" fmla="*/ 96803 h 645353"/>
                <a:gd name="connsiteX4" fmla="*/ 277502 w 516282"/>
                <a:gd name="connsiteY4" fmla="*/ 664714 h 645353"/>
                <a:gd name="connsiteX5" fmla="*/ 96803 w 516282"/>
                <a:gd name="connsiteY5" fmla="*/ 587271 h 645353"/>
                <a:gd name="connsiteX6" fmla="*/ 264594 w 516282"/>
                <a:gd name="connsiteY6" fmla="*/ 664714 h 645353"/>
                <a:gd name="connsiteX7" fmla="*/ 458200 w 516282"/>
                <a:gd name="connsiteY7" fmla="*/ 135524 h 645353"/>
                <a:gd name="connsiteX8" fmla="*/ 96803 w 516282"/>
                <a:gd name="connsiteY8" fmla="*/ 587271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277502" y="664714"/>
                  </a:moveTo>
                  <a:lnTo>
                    <a:pt x="96803" y="587271"/>
                  </a:lnTo>
                  <a:lnTo>
                    <a:pt x="96803" y="587271"/>
                  </a:lnTo>
                  <a:lnTo>
                    <a:pt x="484015" y="96803"/>
                  </a:lnTo>
                  <a:lnTo>
                    <a:pt x="277502" y="664714"/>
                  </a:lnTo>
                  <a:close/>
                  <a:moveTo>
                    <a:pt x="96803" y="587271"/>
                  </a:moveTo>
                  <a:lnTo>
                    <a:pt x="264594" y="664714"/>
                  </a:lnTo>
                  <a:lnTo>
                    <a:pt x="458200" y="135524"/>
                  </a:lnTo>
                  <a:lnTo>
                    <a:pt x="96803" y="5872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8" name="Freeform: Shape 3217">
              <a:extLst>
                <a:ext uri="{FF2B5EF4-FFF2-40B4-BE49-F238E27FC236}">
                  <a16:creationId xmlns:a16="http://schemas.microsoft.com/office/drawing/2014/main" id="{C0E72243-BF24-408B-B4C6-261EBE0C335E}"/>
                </a:ext>
              </a:extLst>
            </p:cNvPr>
            <p:cNvSpPr/>
            <p:nvPr/>
          </p:nvSpPr>
          <p:spPr>
            <a:xfrm>
              <a:off x="9153808" y="2530964"/>
              <a:ext cx="516283" cy="645353"/>
            </a:xfrm>
            <a:custGeom>
              <a:avLst/>
              <a:gdLst>
                <a:gd name="connsiteX0" fmla="*/ 432387 w 516282"/>
                <a:gd name="connsiteY0" fmla="*/ 638900 h 645353"/>
                <a:gd name="connsiteX1" fmla="*/ 96803 w 516282"/>
                <a:gd name="connsiteY1" fmla="*/ 380758 h 645353"/>
                <a:gd name="connsiteX2" fmla="*/ 96803 w 516282"/>
                <a:gd name="connsiteY2" fmla="*/ 380758 h 645353"/>
                <a:gd name="connsiteX3" fmla="*/ 264595 w 516282"/>
                <a:gd name="connsiteY3" fmla="*/ 96803 h 645353"/>
                <a:gd name="connsiteX4" fmla="*/ 432387 w 516282"/>
                <a:gd name="connsiteY4" fmla="*/ 638900 h 645353"/>
                <a:gd name="connsiteX5" fmla="*/ 109711 w 516282"/>
                <a:gd name="connsiteY5" fmla="*/ 380758 h 645353"/>
                <a:gd name="connsiteX6" fmla="*/ 419480 w 516282"/>
                <a:gd name="connsiteY6" fmla="*/ 613086 h 645353"/>
                <a:gd name="connsiteX7" fmla="*/ 264595 w 516282"/>
                <a:gd name="connsiteY7" fmla="*/ 109710 h 645353"/>
                <a:gd name="connsiteX8" fmla="*/ 109711 w 516282"/>
                <a:gd name="connsiteY8" fmla="*/ 380758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432387" y="638900"/>
                  </a:moveTo>
                  <a:lnTo>
                    <a:pt x="96803" y="380758"/>
                  </a:lnTo>
                  <a:lnTo>
                    <a:pt x="96803" y="380758"/>
                  </a:lnTo>
                  <a:lnTo>
                    <a:pt x="264595" y="96803"/>
                  </a:lnTo>
                  <a:lnTo>
                    <a:pt x="432387" y="638900"/>
                  </a:lnTo>
                  <a:close/>
                  <a:moveTo>
                    <a:pt x="109711" y="380758"/>
                  </a:moveTo>
                  <a:lnTo>
                    <a:pt x="419480" y="613086"/>
                  </a:lnTo>
                  <a:lnTo>
                    <a:pt x="264595" y="109710"/>
                  </a:lnTo>
                  <a:lnTo>
                    <a:pt x="109711" y="3807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19" name="Freeform: Shape 3218">
              <a:extLst>
                <a:ext uri="{FF2B5EF4-FFF2-40B4-BE49-F238E27FC236}">
                  <a16:creationId xmlns:a16="http://schemas.microsoft.com/office/drawing/2014/main" id="{96E1DF55-E09F-4331-BD7B-2F64FF90B836}"/>
                </a:ext>
              </a:extLst>
            </p:cNvPr>
            <p:cNvSpPr/>
            <p:nvPr/>
          </p:nvSpPr>
          <p:spPr>
            <a:xfrm>
              <a:off x="9282879" y="3034340"/>
              <a:ext cx="387212" cy="774424"/>
            </a:xfrm>
            <a:custGeom>
              <a:avLst/>
              <a:gdLst>
                <a:gd name="connsiteX0" fmla="*/ 264595 w 387211"/>
                <a:gd name="connsiteY0" fmla="*/ 677621 h 774423"/>
                <a:gd name="connsiteX1" fmla="*/ 96803 w 387211"/>
                <a:gd name="connsiteY1" fmla="*/ 664714 h 774423"/>
                <a:gd name="connsiteX2" fmla="*/ 96803 w 387211"/>
                <a:gd name="connsiteY2" fmla="*/ 664714 h 774423"/>
                <a:gd name="connsiteX3" fmla="*/ 303317 w 387211"/>
                <a:gd name="connsiteY3" fmla="*/ 96803 h 774423"/>
                <a:gd name="connsiteX4" fmla="*/ 264595 w 387211"/>
                <a:gd name="connsiteY4" fmla="*/ 677621 h 774423"/>
                <a:gd name="connsiteX5" fmla="*/ 109711 w 387211"/>
                <a:gd name="connsiteY5" fmla="*/ 664714 h 774423"/>
                <a:gd name="connsiteX6" fmla="*/ 264595 w 387211"/>
                <a:gd name="connsiteY6" fmla="*/ 677621 h 774423"/>
                <a:gd name="connsiteX7" fmla="*/ 303317 w 387211"/>
                <a:gd name="connsiteY7" fmla="*/ 148431 h 774423"/>
                <a:gd name="connsiteX8" fmla="*/ 109711 w 387211"/>
                <a:gd name="connsiteY8" fmla="*/ 664714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774423">
                  <a:moveTo>
                    <a:pt x="264595" y="677621"/>
                  </a:moveTo>
                  <a:lnTo>
                    <a:pt x="96803" y="664714"/>
                  </a:lnTo>
                  <a:lnTo>
                    <a:pt x="96803" y="664714"/>
                  </a:lnTo>
                  <a:lnTo>
                    <a:pt x="303317" y="96803"/>
                  </a:lnTo>
                  <a:lnTo>
                    <a:pt x="264595" y="677621"/>
                  </a:lnTo>
                  <a:close/>
                  <a:moveTo>
                    <a:pt x="109711" y="664714"/>
                  </a:moveTo>
                  <a:lnTo>
                    <a:pt x="264595" y="677621"/>
                  </a:lnTo>
                  <a:lnTo>
                    <a:pt x="303317" y="148431"/>
                  </a:lnTo>
                  <a:lnTo>
                    <a:pt x="109711" y="6647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0" name="Freeform: Shape 3219">
              <a:extLst>
                <a:ext uri="{FF2B5EF4-FFF2-40B4-BE49-F238E27FC236}">
                  <a16:creationId xmlns:a16="http://schemas.microsoft.com/office/drawing/2014/main" id="{13B3E301-D515-484B-A5FB-392E8649894A}"/>
                </a:ext>
              </a:extLst>
            </p:cNvPr>
            <p:cNvSpPr/>
            <p:nvPr/>
          </p:nvSpPr>
          <p:spPr>
            <a:xfrm>
              <a:off x="9321600" y="2492243"/>
              <a:ext cx="516283" cy="774424"/>
            </a:xfrm>
            <a:custGeom>
              <a:avLst/>
              <a:gdLst>
                <a:gd name="connsiteX0" fmla="*/ 264595 w 516282"/>
                <a:gd name="connsiteY0" fmla="*/ 677621 h 774423"/>
                <a:gd name="connsiteX1" fmla="*/ 96803 w 516282"/>
                <a:gd name="connsiteY1" fmla="*/ 148431 h 774423"/>
                <a:gd name="connsiteX2" fmla="*/ 432386 w 516282"/>
                <a:gd name="connsiteY2" fmla="*/ 96803 h 774423"/>
                <a:gd name="connsiteX3" fmla="*/ 432386 w 516282"/>
                <a:gd name="connsiteY3" fmla="*/ 96803 h 774423"/>
                <a:gd name="connsiteX4" fmla="*/ 264595 w 516282"/>
                <a:gd name="connsiteY4" fmla="*/ 677621 h 774423"/>
                <a:gd name="connsiteX5" fmla="*/ 109710 w 516282"/>
                <a:gd name="connsiteY5" fmla="*/ 148431 h 774423"/>
                <a:gd name="connsiteX6" fmla="*/ 264595 w 516282"/>
                <a:gd name="connsiteY6" fmla="*/ 651807 h 774423"/>
                <a:gd name="connsiteX7" fmla="*/ 432386 w 516282"/>
                <a:gd name="connsiteY7" fmla="*/ 96803 h 774423"/>
                <a:gd name="connsiteX8" fmla="*/ 109710 w 516282"/>
                <a:gd name="connsiteY8" fmla="*/ 148431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774423">
                  <a:moveTo>
                    <a:pt x="264595" y="677621"/>
                  </a:moveTo>
                  <a:lnTo>
                    <a:pt x="96803" y="148431"/>
                  </a:lnTo>
                  <a:lnTo>
                    <a:pt x="432386" y="96803"/>
                  </a:lnTo>
                  <a:lnTo>
                    <a:pt x="432386" y="96803"/>
                  </a:lnTo>
                  <a:lnTo>
                    <a:pt x="264595" y="677621"/>
                  </a:lnTo>
                  <a:close/>
                  <a:moveTo>
                    <a:pt x="109710" y="148431"/>
                  </a:moveTo>
                  <a:lnTo>
                    <a:pt x="264595" y="651807"/>
                  </a:lnTo>
                  <a:lnTo>
                    <a:pt x="432386" y="96803"/>
                  </a:lnTo>
                  <a:lnTo>
                    <a:pt x="109710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1" name="Freeform: Shape 3220">
              <a:extLst>
                <a:ext uri="{FF2B5EF4-FFF2-40B4-BE49-F238E27FC236}">
                  <a16:creationId xmlns:a16="http://schemas.microsoft.com/office/drawing/2014/main" id="{898FB6EC-3C88-42F6-B4A3-B31F8E1F79B8}"/>
                </a:ext>
              </a:extLst>
            </p:cNvPr>
            <p:cNvSpPr/>
            <p:nvPr/>
          </p:nvSpPr>
          <p:spPr>
            <a:xfrm>
              <a:off x="9450671" y="3047247"/>
              <a:ext cx="645353" cy="903494"/>
            </a:xfrm>
            <a:custGeom>
              <a:avLst/>
              <a:gdLst>
                <a:gd name="connsiteX0" fmla="*/ 561457 w 645353"/>
                <a:gd name="connsiteY0" fmla="*/ 909948 h 903494"/>
                <a:gd name="connsiteX1" fmla="*/ 96803 w 645353"/>
                <a:gd name="connsiteY1" fmla="*/ 664714 h 903494"/>
                <a:gd name="connsiteX2" fmla="*/ 96803 w 645353"/>
                <a:gd name="connsiteY2" fmla="*/ 664714 h 903494"/>
                <a:gd name="connsiteX3" fmla="*/ 135525 w 645353"/>
                <a:gd name="connsiteY3" fmla="*/ 96803 h 903494"/>
                <a:gd name="connsiteX4" fmla="*/ 561457 w 645353"/>
                <a:gd name="connsiteY4" fmla="*/ 909948 h 903494"/>
                <a:gd name="connsiteX5" fmla="*/ 96803 w 645353"/>
                <a:gd name="connsiteY5" fmla="*/ 664714 h 903494"/>
                <a:gd name="connsiteX6" fmla="*/ 535643 w 645353"/>
                <a:gd name="connsiteY6" fmla="*/ 897041 h 903494"/>
                <a:gd name="connsiteX7" fmla="*/ 122617 w 645353"/>
                <a:gd name="connsiteY7" fmla="*/ 122617 h 903494"/>
                <a:gd name="connsiteX8" fmla="*/ 96803 w 645353"/>
                <a:gd name="connsiteY8" fmla="*/ 664714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903494">
                  <a:moveTo>
                    <a:pt x="561457" y="909948"/>
                  </a:moveTo>
                  <a:lnTo>
                    <a:pt x="96803" y="664714"/>
                  </a:lnTo>
                  <a:lnTo>
                    <a:pt x="96803" y="664714"/>
                  </a:lnTo>
                  <a:lnTo>
                    <a:pt x="135525" y="96803"/>
                  </a:lnTo>
                  <a:lnTo>
                    <a:pt x="561457" y="909948"/>
                  </a:lnTo>
                  <a:close/>
                  <a:moveTo>
                    <a:pt x="96803" y="664714"/>
                  </a:moveTo>
                  <a:lnTo>
                    <a:pt x="535643" y="897041"/>
                  </a:lnTo>
                  <a:lnTo>
                    <a:pt x="122617" y="122617"/>
                  </a:lnTo>
                  <a:lnTo>
                    <a:pt x="96803" y="6647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2" name="Freeform: Shape 3221">
              <a:extLst>
                <a:ext uri="{FF2B5EF4-FFF2-40B4-BE49-F238E27FC236}">
                  <a16:creationId xmlns:a16="http://schemas.microsoft.com/office/drawing/2014/main" id="{A4AC8B66-65FA-44EB-8EA8-6F709B5BAFCE}"/>
                </a:ext>
              </a:extLst>
            </p:cNvPr>
            <p:cNvSpPr/>
            <p:nvPr/>
          </p:nvSpPr>
          <p:spPr>
            <a:xfrm>
              <a:off x="9489393" y="2479336"/>
              <a:ext cx="516283" cy="774424"/>
            </a:xfrm>
            <a:custGeom>
              <a:avLst/>
              <a:gdLst>
                <a:gd name="connsiteX0" fmla="*/ 96803 w 516282"/>
                <a:gd name="connsiteY0" fmla="*/ 690528 h 774423"/>
                <a:gd name="connsiteX1" fmla="*/ 264594 w 516282"/>
                <a:gd name="connsiteY1" fmla="*/ 96803 h 774423"/>
                <a:gd name="connsiteX2" fmla="*/ 509829 w 516282"/>
                <a:gd name="connsiteY2" fmla="*/ 367851 h 774423"/>
                <a:gd name="connsiteX3" fmla="*/ 96803 w 516282"/>
                <a:gd name="connsiteY3" fmla="*/ 690528 h 774423"/>
                <a:gd name="connsiteX4" fmla="*/ 264594 w 516282"/>
                <a:gd name="connsiteY4" fmla="*/ 109710 h 774423"/>
                <a:gd name="connsiteX5" fmla="*/ 96803 w 516282"/>
                <a:gd name="connsiteY5" fmla="*/ 664714 h 774423"/>
                <a:gd name="connsiteX6" fmla="*/ 484015 w 516282"/>
                <a:gd name="connsiteY6" fmla="*/ 354944 h 774423"/>
                <a:gd name="connsiteX7" fmla="*/ 264594 w 516282"/>
                <a:gd name="connsiteY7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774423">
                  <a:moveTo>
                    <a:pt x="96803" y="690528"/>
                  </a:moveTo>
                  <a:lnTo>
                    <a:pt x="264594" y="96803"/>
                  </a:lnTo>
                  <a:lnTo>
                    <a:pt x="509829" y="367851"/>
                  </a:lnTo>
                  <a:lnTo>
                    <a:pt x="96803" y="690528"/>
                  </a:lnTo>
                  <a:close/>
                  <a:moveTo>
                    <a:pt x="264594" y="109710"/>
                  </a:moveTo>
                  <a:lnTo>
                    <a:pt x="96803" y="664714"/>
                  </a:lnTo>
                  <a:lnTo>
                    <a:pt x="484015" y="354944"/>
                  </a:lnTo>
                  <a:lnTo>
                    <a:pt x="26459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3" name="Freeform: Shape 3222">
              <a:extLst>
                <a:ext uri="{FF2B5EF4-FFF2-40B4-BE49-F238E27FC236}">
                  <a16:creationId xmlns:a16="http://schemas.microsoft.com/office/drawing/2014/main" id="{DB0CD933-8818-4C99-9775-EC3A9A773E1A}"/>
                </a:ext>
              </a:extLst>
            </p:cNvPr>
            <p:cNvSpPr/>
            <p:nvPr/>
          </p:nvSpPr>
          <p:spPr>
            <a:xfrm>
              <a:off x="9489393" y="2737477"/>
              <a:ext cx="516283" cy="1290706"/>
            </a:xfrm>
            <a:custGeom>
              <a:avLst/>
              <a:gdLst>
                <a:gd name="connsiteX0" fmla="*/ 522736 w 516282"/>
                <a:gd name="connsiteY0" fmla="*/ 1232625 h 1290706"/>
                <a:gd name="connsiteX1" fmla="*/ 96803 w 516282"/>
                <a:gd name="connsiteY1" fmla="*/ 419480 h 1290706"/>
                <a:gd name="connsiteX2" fmla="*/ 509829 w 516282"/>
                <a:gd name="connsiteY2" fmla="*/ 96803 h 1290706"/>
                <a:gd name="connsiteX3" fmla="*/ 522736 w 516282"/>
                <a:gd name="connsiteY3" fmla="*/ 1232625 h 1290706"/>
                <a:gd name="connsiteX4" fmla="*/ 96803 w 516282"/>
                <a:gd name="connsiteY4" fmla="*/ 419480 h 1290706"/>
                <a:gd name="connsiteX5" fmla="*/ 509829 w 516282"/>
                <a:gd name="connsiteY5" fmla="*/ 1193903 h 1290706"/>
                <a:gd name="connsiteX6" fmla="*/ 496922 w 516282"/>
                <a:gd name="connsiteY6" fmla="*/ 109710 h 1290706"/>
                <a:gd name="connsiteX7" fmla="*/ 96803 w 516282"/>
                <a:gd name="connsiteY7" fmla="*/ 419480 h 1290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1290706">
                  <a:moveTo>
                    <a:pt x="522736" y="1232625"/>
                  </a:moveTo>
                  <a:lnTo>
                    <a:pt x="96803" y="419480"/>
                  </a:lnTo>
                  <a:lnTo>
                    <a:pt x="509829" y="96803"/>
                  </a:lnTo>
                  <a:lnTo>
                    <a:pt x="522736" y="1232625"/>
                  </a:lnTo>
                  <a:close/>
                  <a:moveTo>
                    <a:pt x="96803" y="419480"/>
                  </a:moveTo>
                  <a:lnTo>
                    <a:pt x="509829" y="1193903"/>
                  </a:lnTo>
                  <a:lnTo>
                    <a:pt x="496922" y="109710"/>
                  </a:lnTo>
                  <a:lnTo>
                    <a:pt x="96803" y="4194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4" name="Freeform: Shape 3223">
              <a:extLst>
                <a:ext uri="{FF2B5EF4-FFF2-40B4-BE49-F238E27FC236}">
                  <a16:creationId xmlns:a16="http://schemas.microsoft.com/office/drawing/2014/main" id="{060F8A6A-DEE3-49AE-88BA-C7CDBFA24327}"/>
                </a:ext>
              </a:extLst>
            </p:cNvPr>
            <p:cNvSpPr/>
            <p:nvPr/>
          </p:nvSpPr>
          <p:spPr>
            <a:xfrm>
              <a:off x="10276723" y="2621314"/>
              <a:ext cx="903495" cy="1419777"/>
            </a:xfrm>
            <a:custGeom>
              <a:avLst/>
              <a:gdLst>
                <a:gd name="connsiteX0" fmla="*/ 96803 w 903494"/>
                <a:gd name="connsiteY0" fmla="*/ 1374602 h 1419777"/>
                <a:gd name="connsiteX1" fmla="*/ 251687 w 903494"/>
                <a:gd name="connsiteY1" fmla="*/ 96803 h 1419777"/>
                <a:gd name="connsiteX2" fmla="*/ 251687 w 903494"/>
                <a:gd name="connsiteY2" fmla="*/ 96803 h 1419777"/>
                <a:gd name="connsiteX3" fmla="*/ 858320 w 903494"/>
                <a:gd name="connsiteY3" fmla="*/ 819599 h 1419777"/>
                <a:gd name="connsiteX4" fmla="*/ 858320 w 903494"/>
                <a:gd name="connsiteY4" fmla="*/ 819599 h 1419777"/>
                <a:gd name="connsiteX5" fmla="*/ 96803 w 903494"/>
                <a:gd name="connsiteY5" fmla="*/ 1374602 h 1419777"/>
                <a:gd name="connsiteX6" fmla="*/ 251687 w 903494"/>
                <a:gd name="connsiteY6" fmla="*/ 122617 h 1419777"/>
                <a:gd name="connsiteX7" fmla="*/ 96803 w 903494"/>
                <a:gd name="connsiteY7" fmla="*/ 1361695 h 1419777"/>
                <a:gd name="connsiteX8" fmla="*/ 845412 w 903494"/>
                <a:gd name="connsiteY8" fmla="*/ 832506 h 1419777"/>
                <a:gd name="connsiteX9" fmla="*/ 251687 w 903494"/>
                <a:gd name="connsiteY9" fmla="*/ 122617 h 141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3494" h="1419777">
                  <a:moveTo>
                    <a:pt x="96803" y="1374602"/>
                  </a:moveTo>
                  <a:lnTo>
                    <a:pt x="251687" y="96803"/>
                  </a:lnTo>
                  <a:lnTo>
                    <a:pt x="251687" y="96803"/>
                  </a:lnTo>
                  <a:lnTo>
                    <a:pt x="858320" y="819599"/>
                  </a:lnTo>
                  <a:lnTo>
                    <a:pt x="858320" y="819599"/>
                  </a:lnTo>
                  <a:lnTo>
                    <a:pt x="96803" y="1374602"/>
                  </a:lnTo>
                  <a:close/>
                  <a:moveTo>
                    <a:pt x="251687" y="122617"/>
                  </a:moveTo>
                  <a:lnTo>
                    <a:pt x="96803" y="1361695"/>
                  </a:lnTo>
                  <a:lnTo>
                    <a:pt x="845412" y="832506"/>
                  </a:lnTo>
                  <a:lnTo>
                    <a:pt x="25168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5" name="Freeform: Shape 3224">
              <a:extLst>
                <a:ext uri="{FF2B5EF4-FFF2-40B4-BE49-F238E27FC236}">
                  <a16:creationId xmlns:a16="http://schemas.microsoft.com/office/drawing/2014/main" id="{DF7A8B1D-69F6-4EF1-901C-0D7E4DAA0147}"/>
                </a:ext>
              </a:extLst>
            </p:cNvPr>
            <p:cNvSpPr/>
            <p:nvPr/>
          </p:nvSpPr>
          <p:spPr>
            <a:xfrm>
              <a:off x="10263817" y="3357016"/>
              <a:ext cx="903495" cy="1032565"/>
            </a:xfrm>
            <a:custGeom>
              <a:avLst/>
              <a:gdLst>
                <a:gd name="connsiteX0" fmla="*/ 354944 w 903494"/>
                <a:gd name="connsiteY0" fmla="*/ 961576 h 1032565"/>
                <a:gd name="connsiteX1" fmla="*/ 96803 w 903494"/>
                <a:gd name="connsiteY1" fmla="*/ 638900 h 1032565"/>
                <a:gd name="connsiteX2" fmla="*/ 871227 w 903494"/>
                <a:gd name="connsiteY2" fmla="*/ 96803 h 1032565"/>
                <a:gd name="connsiteX3" fmla="*/ 354944 w 903494"/>
                <a:gd name="connsiteY3" fmla="*/ 961576 h 1032565"/>
                <a:gd name="connsiteX4" fmla="*/ 109710 w 903494"/>
                <a:gd name="connsiteY4" fmla="*/ 638900 h 1032565"/>
                <a:gd name="connsiteX5" fmla="*/ 354944 w 903494"/>
                <a:gd name="connsiteY5" fmla="*/ 948669 h 1032565"/>
                <a:gd name="connsiteX6" fmla="*/ 858319 w 903494"/>
                <a:gd name="connsiteY6" fmla="*/ 109710 h 1032565"/>
                <a:gd name="connsiteX7" fmla="*/ 109710 w 903494"/>
                <a:gd name="connsiteY7" fmla="*/ 638900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3494" h="1032565">
                  <a:moveTo>
                    <a:pt x="354944" y="961576"/>
                  </a:moveTo>
                  <a:lnTo>
                    <a:pt x="96803" y="638900"/>
                  </a:lnTo>
                  <a:lnTo>
                    <a:pt x="871227" y="96803"/>
                  </a:lnTo>
                  <a:lnTo>
                    <a:pt x="354944" y="961576"/>
                  </a:lnTo>
                  <a:close/>
                  <a:moveTo>
                    <a:pt x="109710" y="638900"/>
                  </a:moveTo>
                  <a:lnTo>
                    <a:pt x="354944" y="948669"/>
                  </a:lnTo>
                  <a:lnTo>
                    <a:pt x="858319" y="109710"/>
                  </a:lnTo>
                  <a:lnTo>
                    <a:pt x="109710" y="6389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6" name="Freeform: Shape 3225">
              <a:extLst>
                <a:ext uri="{FF2B5EF4-FFF2-40B4-BE49-F238E27FC236}">
                  <a16:creationId xmlns:a16="http://schemas.microsoft.com/office/drawing/2014/main" id="{F2F4DB67-EC4C-4747-B8AF-C6C2CACDF942}"/>
                </a:ext>
              </a:extLst>
            </p:cNvPr>
            <p:cNvSpPr/>
            <p:nvPr/>
          </p:nvSpPr>
          <p:spPr>
            <a:xfrm>
              <a:off x="10418701" y="2569686"/>
              <a:ext cx="774424" cy="903494"/>
            </a:xfrm>
            <a:custGeom>
              <a:avLst/>
              <a:gdLst>
                <a:gd name="connsiteX0" fmla="*/ 716343 w 774423"/>
                <a:gd name="connsiteY0" fmla="*/ 897041 h 903494"/>
                <a:gd name="connsiteX1" fmla="*/ 716343 w 774423"/>
                <a:gd name="connsiteY1" fmla="*/ 897041 h 903494"/>
                <a:gd name="connsiteX2" fmla="*/ 96803 w 774423"/>
                <a:gd name="connsiteY2" fmla="*/ 161338 h 903494"/>
                <a:gd name="connsiteX3" fmla="*/ 613086 w 774423"/>
                <a:gd name="connsiteY3" fmla="*/ 96803 h 903494"/>
                <a:gd name="connsiteX4" fmla="*/ 716343 w 774423"/>
                <a:gd name="connsiteY4" fmla="*/ 897041 h 903494"/>
                <a:gd name="connsiteX5" fmla="*/ 109710 w 774423"/>
                <a:gd name="connsiteY5" fmla="*/ 161338 h 903494"/>
                <a:gd name="connsiteX6" fmla="*/ 703435 w 774423"/>
                <a:gd name="connsiteY6" fmla="*/ 871227 h 903494"/>
                <a:gd name="connsiteX7" fmla="*/ 613086 w 774423"/>
                <a:gd name="connsiteY7" fmla="*/ 96803 h 903494"/>
                <a:gd name="connsiteX8" fmla="*/ 109710 w 774423"/>
                <a:gd name="connsiteY8" fmla="*/ 161338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903494">
                  <a:moveTo>
                    <a:pt x="716343" y="897041"/>
                  </a:moveTo>
                  <a:lnTo>
                    <a:pt x="716343" y="897041"/>
                  </a:lnTo>
                  <a:lnTo>
                    <a:pt x="96803" y="161338"/>
                  </a:lnTo>
                  <a:lnTo>
                    <a:pt x="613086" y="96803"/>
                  </a:lnTo>
                  <a:lnTo>
                    <a:pt x="716343" y="897041"/>
                  </a:lnTo>
                  <a:close/>
                  <a:moveTo>
                    <a:pt x="109710" y="161338"/>
                  </a:moveTo>
                  <a:lnTo>
                    <a:pt x="703435" y="871227"/>
                  </a:lnTo>
                  <a:lnTo>
                    <a:pt x="613086" y="96803"/>
                  </a:lnTo>
                  <a:lnTo>
                    <a:pt x="109710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7" name="Freeform: Shape 3226">
              <a:extLst>
                <a:ext uri="{FF2B5EF4-FFF2-40B4-BE49-F238E27FC236}">
                  <a16:creationId xmlns:a16="http://schemas.microsoft.com/office/drawing/2014/main" id="{6EA0F983-2F4A-44DB-87F7-0D4D32709982}"/>
                </a:ext>
              </a:extLst>
            </p:cNvPr>
            <p:cNvSpPr/>
            <p:nvPr/>
          </p:nvSpPr>
          <p:spPr>
            <a:xfrm>
              <a:off x="10521958" y="3357016"/>
              <a:ext cx="1032565" cy="1032565"/>
            </a:xfrm>
            <a:custGeom>
              <a:avLst/>
              <a:gdLst>
                <a:gd name="connsiteX0" fmla="*/ 96803 w 1032565"/>
                <a:gd name="connsiteY0" fmla="*/ 961576 h 1032565"/>
                <a:gd name="connsiteX1" fmla="*/ 613086 w 1032565"/>
                <a:gd name="connsiteY1" fmla="*/ 96803 h 1032565"/>
                <a:gd name="connsiteX2" fmla="*/ 948669 w 1032565"/>
                <a:gd name="connsiteY2" fmla="*/ 716342 h 1032565"/>
                <a:gd name="connsiteX3" fmla="*/ 948669 w 1032565"/>
                <a:gd name="connsiteY3" fmla="*/ 716342 h 1032565"/>
                <a:gd name="connsiteX4" fmla="*/ 96803 w 1032565"/>
                <a:gd name="connsiteY4" fmla="*/ 961576 h 1032565"/>
                <a:gd name="connsiteX5" fmla="*/ 613086 w 1032565"/>
                <a:gd name="connsiteY5" fmla="*/ 109710 h 1032565"/>
                <a:gd name="connsiteX6" fmla="*/ 109710 w 1032565"/>
                <a:gd name="connsiteY6" fmla="*/ 948669 h 1032565"/>
                <a:gd name="connsiteX7" fmla="*/ 935762 w 1032565"/>
                <a:gd name="connsiteY7" fmla="*/ 716342 h 1032565"/>
                <a:gd name="connsiteX8" fmla="*/ 613086 w 1032565"/>
                <a:gd name="connsiteY8" fmla="*/ 109710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2565" h="1032565">
                  <a:moveTo>
                    <a:pt x="96803" y="961576"/>
                  </a:moveTo>
                  <a:lnTo>
                    <a:pt x="613086" y="96803"/>
                  </a:lnTo>
                  <a:lnTo>
                    <a:pt x="948669" y="716342"/>
                  </a:lnTo>
                  <a:lnTo>
                    <a:pt x="948669" y="716342"/>
                  </a:lnTo>
                  <a:lnTo>
                    <a:pt x="96803" y="961576"/>
                  </a:lnTo>
                  <a:close/>
                  <a:moveTo>
                    <a:pt x="613086" y="109710"/>
                  </a:moveTo>
                  <a:lnTo>
                    <a:pt x="109710" y="948669"/>
                  </a:lnTo>
                  <a:lnTo>
                    <a:pt x="935762" y="716342"/>
                  </a:lnTo>
                  <a:lnTo>
                    <a:pt x="613086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8" name="Freeform: Shape 3227">
              <a:extLst>
                <a:ext uri="{FF2B5EF4-FFF2-40B4-BE49-F238E27FC236}">
                  <a16:creationId xmlns:a16="http://schemas.microsoft.com/office/drawing/2014/main" id="{FDF125CB-6D14-4679-AC57-C6880DA796CA}"/>
                </a:ext>
              </a:extLst>
            </p:cNvPr>
            <p:cNvSpPr/>
            <p:nvPr/>
          </p:nvSpPr>
          <p:spPr>
            <a:xfrm>
              <a:off x="10922077" y="2569686"/>
              <a:ext cx="1032565" cy="903494"/>
            </a:xfrm>
            <a:custGeom>
              <a:avLst/>
              <a:gdLst>
                <a:gd name="connsiteX0" fmla="*/ 200059 w 1032565"/>
                <a:gd name="connsiteY0" fmla="*/ 897041 h 903494"/>
                <a:gd name="connsiteX1" fmla="*/ 200059 w 1032565"/>
                <a:gd name="connsiteY1" fmla="*/ 897041 h 903494"/>
                <a:gd name="connsiteX2" fmla="*/ 96803 w 1032565"/>
                <a:gd name="connsiteY2" fmla="*/ 96803 h 903494"/>
                <a:gd name="connsiteX3" fmla="*/ 96803 w 1032565"/>
                <a:gd name="connsiteY3" fmla="*/ 96803 h 903494"/>
                <a:gd name="connsiteX4" fmla="*/ 1051926 w 1032565"/>
                <a:gd name="connsiteY4" fmla="*/ 884134 h 903494"/>
                <a:gd name="connsiteX5" fmla="*/ 200059 w 1032565"/>
                <a:gd name="connsiteY5" fmla="*/ 897041 h 903494"/>
                <a:gd name="connsiteX6" fmla="*/ 109710 w 1032565"/>
                <a:gd name="connsiteY6" fmla="*/ 109710 h 903494"/>
                <a:gd name="connsiteX7" fmla="*/ 212967 w 1032565"/>
                <a:gd name="connsiteY7" fmla="*/ 897041 h 903494"/>
                <a:gd name="connsiteX8" fmla="*/ 1051926 w 1032565"/>
                <a:gd name="connsiteY8" fmla="*/ 884134 h 903494"/>
                <a:gd name="connsiteX9" fmla="*/ 109710 w 1032565"/>
                <a:gd name="connsiteY9" fmla="*/ 10971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2565" h="903494">
                  <a:moveTo>
                    <a:pt x="200059" y="897041"/>
                  </a:moveTo>
                  <a:lnTo>
                    <a:pt x="200059" y="897041"/>
                  </a:lnTo>
                  <a:lnTo>
                    <a:pt x="96803" y="96803"/>
                  </a:lnTo>
                  <a:lnTo>
                    <a:pt x="96803" y="96803"/>
                  </a:lnTo>
                  <a:lnTo>
                    <a:pt x="1051926" y="884134"/>
                  </a:lnTo>
                  <a:lnTo>
                    <a:pt x="200059" y="897041"/>
                  </a:lnTo>
                  <a:close/>
                  <a:moveTo>
                    <a:pt x="109710" y="109710"/>
                  </a:moveTo>
                  <a:lnTo>
                    <a:pt x="212967" y="897041"/>
                  </a:lnTo>
                  <a:lnTo>
                    <a:pt x="1051926" y="884134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29" name="Freeform: Shape 3228">
              <a:extLst>
                <a:ext uri="{FF2B5EF4-FFF2-40B4-BE49-F238E27FC236}">
                  <a16:creationId xmlns:a16="http://schemas.microsoft.com/office/drawing/2014/main" id="{7937AFFC-9888-4977-8432-705F4BEBAE0B}"/>
                </a:ext>
              </a:extLst>
            </p:cNvPr>
            <p:cNvSpPr/>
            <p:nvPr/>
          </p:nvSpPr>
          <p:spPr>
            <a:xfrm>
              <a:off x="10922077" y="2492243"/>
              <a:ext cx="1419777" cy="1032565"/>
            </a:xfrm>
            <a:custGeom>
              <a:avLst/>
              <a:gdLst>
                <a:gd name="connsiteX0" fmla="*/ 1051926 w 1419777"/>
                <a:gd name="connsiteY0" fmla="*/ 961576 h 1032565"/>
                <a:gd name="connsiteX1" fmla="*/ 1051926 w 1419777"/>
                <a:gd name="connsiteY1" fmla="*/ 961576 h 1032565"/>
                <a:gd name="connsiteX2" fmla="*/ 96803 w 1419777"/>
                <a:gd name="connsiteY2" fmla="*/ 174245 h 1032565"/>
                <a:gd name="connsiteX3" fmla="*/ 1374603 w 1419777"/>
                <a:gd name="connsiteY3" fmla="*/ 96803 h 1032565"/>
                <a:gd name="connsiteX4" fmla="*/ 1051926 w 1419777"/>
                <a:gd name="connsiteY4" fmla="*/ 961576 h 1032565"/>
                <a:gd name="connsiteX5" fmla="*/ 122617 w 1419777"/>
                <a:gd name="connsiteY5" fmla="*/ 174245 h 1032565"/>
                <a:gd name="connsiteX6" fmla="*/ 1051926 w 1419777"/>
                <a:gd name="connsiteY6" fmla="*/ 948669 h 1032565"/>
                <a:gd name="connsiteX7" fmla="*/ 1361695 w 1419777"/>
                <a:gd name="connsiteY7" fmla="*/ 109710 h 1032565"/>
                <a:gd name="connsiteX8" fmla="*/ 122617 w 1419777"/>
                <a:gd name="connsiteY8" fmla="*/ 174245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777" h="1032565">
                  <a:moveTo>
                    <a:pt x="1051926" y="961576"/>
                  </a:moveTo>
                  <a:lnTo>
                    <a:pt x="1051926" y="961576"/>
                  </a:lnTo>
                  <a:lnTo>
                    <a:pt x="96803" y="174245"/>
                  </a:lnTo>
                  <a:lnTo>
                    <a:pt x="1374603" y="96803"/>
                  </a:lnTo>
                  <a:lnTo>
                    <a:pt x="1051926" y="961576"/>
                  </a:lnTo>
                  <a:close/>
                  <a:moveTo>
                    <a:pt x="122617" y="174245"/>
                  </a:moveTo>
                  <a:lnTo>
                    <a:pt x="1051926" y="948669"/>
                  </a:lnTo>
                  <a:lnTo>
                    <a:pt x="1361695" y="109710"/>
                  </a:lnTo>
                  <a:lnTo>
                    <a:pt x="122617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0" name="Freeform: Shape 3229">
              <a:extLst>
                <a:ext uri="{FF2B5EF4-FFF2-40B4-BE49-F238E27FC236}">
                  <a16:creationId xmlns:a16="http://schemas.microsoft.com/office/drawing/2014/main" id="{F22A4468-FA81-41BE-AED6-C03EC5FB23B0}"/>
                </a:ext>
              </a:extLst>
            </p:cNvPr>
            <p:cNvSpPr/>
            <p:nvPr/>
          </p:nvSpPr>
          <p:spPr>
            <a:xfrm>
              <a:off x="8702061" y="1330607"/>
              <a:ext cx="387212" cy="387212"/>
            </a:xfrm>
            <a:custGeom>
              <a:avLst/>
              <a:gdLst>
                <a:gd name="connsiteX0" fmla="*/ 354944 w 387211"/>
                <a:gd name="connsiteY0" fmla="*/ 342037 h 387211"/>
                <a:gd name="connsiteX1" fmla="*/ 96803 w 387211"/>
                <a:gd name="connsiteY1" fmla="*/ 135524 h 387211"/>
                <a:gd name="connsiteX2" fmla="*/ 393666 w 387211"/>
                <a:gd name="connsiteY2" fmla="*/ 96803 h 387211"/>
                <a:gd name="connsiteX3" fmla="*/ 354944 w 387211"/>
                <a:gd name="connsiteY3" fmla="*/ 342037 h 387211"/>
                <a:gd name="connsiteX4" fmla="*/ 109711 w 387211"/>
                <a:gd name="connsiteY4" fmla="*/ 135524 h 387211"/>
                <a:gd name="connsiteX5" fmla="*/ 342037 w 387211"/>
                <a:gd name="connsiteY5" fmla="*/ 329130 h 387211"/>
                <a:gd name="connsiteX6" fmla="*/ 380759 w 387211"/>
                <a:gd name="connsiteY6" fmla="*/ 96803 h 387211"/>
                <a:gd name="connsiteX7" fmla="*/ 109711 w 38721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54944" y="342037"/>
                  </a:moveTo>
                  <a:lnTo>
                    <a:pt x="96803" y="135524"/>
                  </a:lnTo>
                  <a:lnTo>
                    <a:pt x="393666" y="96803"/>
                  </a:lnTo>
                  <a:lnTo>
                    <a:pt x="354944" y="342037"/>
                  </a:lnTo>
                  <a:close/>
                  <a:moveTo>
                    <a:pt x="109711" y="135524"/>
                  </a:moveTo>
                  <a:lnTo>
                    <a:pt x="342037" y="329130"/>
                  </a:lnTo>
                  <a:lnTo>
                    <a:pt x="380759" y="96803"/>
                  </a:lnTo>
                  <a:lnTo>
                    <a:pt x="109711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1" name="Freeform: Shape 3230">
              <a:extLst>
                <a:ext uri="{FF2B5EF4-FFF2-40B4-BE49-F238E27FC236}">
                  <a16:creationId xmlns:a16="http://schemas.microsoft.com/office/drawing/2014/main" id="{4701D225-737A-41E3-ADED-5B3C8AF78CD5}"/>
                </a:ext>
              </a:extLst>
            </p:cNvPr>
            <p:cNvSpPr/>
            <p:nvPr/>
          </p:nvSpPr>
          <p:spPr>
            <a:xfrm>
              <a:off x="8947295" y="1317700"/>
              <a:ext cx="258141" cy="387212"/>
            </a:xfrm>
            <a:custGeom>
              <a:avLst/>
              <a:gdLst>
                <a:gd name="connsiteX0" fmla="*/ 96803 w 258141"/>
                <a:gd name="connsiteY0" fmla="*/ 354944 h 387211"/>
                <a:gd name="connsiteX1" fmla="*/ 135525 w 258141"/>
                <a:gd name="connsiteY1" fmla="*/ 96803 h 387211"/>
                <a:gd name="connsiteX2" fmla="*/ 264595 w 258141"/>
                <a:gd name="connsiteY2" fmla="*/ 187152 h 387211"/>
                <a:gd name="connsiteX3" fmla="*/ 96803 w 258141"/>
                <a:gd name="connsiteY3" fmla="*/ 354944 h 387211"/>
                <a:gd name="connsiteX4" fmla="*/ 148431 w 258141"/>
                <a:gd name="connsiteY4" fmla="*/ 122617 h 387211"/>
                <a:gd name="connsiteX5" fmla="*/ 109710 w 258141"/>
                <a:gd name="connsiteY5" fmla="*/ 342037 h 387211"/>
                <a:gd name="connsiteX6" fmla="*/ 264595 w 258141"/>
                <a:gd name="connsiteY6" fmla="*/ 200060 h 387211"/>
                <a:gd name="connsiteX7" fmla="*/ 148431 w 25814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96803" y="354944"/>
                  </a:moveTo>
                  <a:lnTo>
                    <a:pt x="135525" y="96803"/>
                  </a:lnTo>
                  <a:lnTo>
                    <a:pt x="264595" y="187152"/>
                  </a:lnTo>
                  <a:lnTo>
                    <a:pt x="96803" y="354944"/>
                  </a:lnTo>
                  <a:close/>
                  <a:moveTo>
                    <a:pt x="148431" y="122617"/>
                  </a:moveTo>
                  <a:lnTo>
                    <a:pt x="109710" y="342037"/>
                  </a:lnTo>
                  <a:lnTo>
                    <a:pt x="264595" y="200060"/>
                  </a:lnTo>
                  <a:lnTo>
                    <a:pt x="148431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2" name="Freeform: Shape 3231">
              <a:extLst>
                <a:ext uri="{FF2B5EF4-FFF2-40B4-BE49-F238E27FC236}">
                  <a16:creationId xmlns:a16="http://schemas.microsoft.com/office/drawing/2014/main" id="{57078E8D-A22D-4198-A0B2-6A73F8061567}"/>
                </a:ext>
              </a:extLst>
            </p:cNvPr>
            <p:cNvSpPr/>
            <p:nvPr/>
          </p:nvSpPr>
          <p:spPr>
            <a:xfrm>
              <a:off x="8998924" y="1317700"/>
              <a:ext cx="258141" cy="258141"/>
            </a:xfrm>
            <a:custGeom>
              <a:avLst/>
              <a:gdLst>
                <a:gd name="connsiteX0" fmla="*/ 225874 w 258141"/>
                <a:gd name="connsiteY0" fmla="*/ 200060 h 258141"/>
                <a:gd name="connsiteX1" fmla="*/ 96803 w 258141"/>
                <a:gd name="connsiteY1" fmla="*/ 109710 h 258141"/>
                <a:gd name="connsiteX2" fmla="*/ 238781 w 258141"/>
                <a:gd name="connsiteY2" fmla="*/ 96803 h 258141"/>
                <a:gd name="connsiteX3" fmla="*/ 225874 w 258141"/>
                <a:gd name="connsiteY3" fmla="*/ 200060 h 258141"/>
                <a:gd name="connsiteX4" fmla="*/ 96803 w 258141"/>
                <a:gd name="connsiteY4" fmla="*/ 109710 h 258141"/>
                <a:gd name="connsiteX5" fmla="*/ 212967 w 258141"/>
                <a:gd name="connsiteY5" fmla="*/ 187152 h 258141"/>
                <a:gd name="connsiteX6" fmla="*/ 225874 w 258141"/>
                <a:gd name="connsiteY6" fmla="*/ 109710 h 258141"/>
                <a:gd name="connsiteX7" fmla="*/ 96803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225874" y="200060"/>
                  </a:moveTo>
                  <a:lnTo>
                    <a:pt x="96803" y="109710"/>
                  </a:lnTo>
                  <a:lnTo>
                    <a:pt x="238781" y="96803"/>
                  </a:lnTo>
                  <a:lnTo>
                    <a:pt x="225874" y="200060"/>
                  </a:lnTo>
                  <a:close/>
                  <a:moveTo>
                    <a:pt x="96803" y="109710"/>
                  </a:moveTo>
                  <a:lnTo>
                    <a:pt x="212967" y="187152"/>
                  </a:lnTo>
                  <a:lnTo>
                    <a:pt x="225874" y="109710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3" name="Freeform: Shape 3232">
              <a:extLst>
                <a:ext uri="{FF2B5EF4-FFF2-40B4-BE49-F238E27FC236}">
                  <a16:creationId xmlns:a16="http://schemas.microsoft.com/office/drawing/2014/main" id="{5388C69A-E211-468F-A971-8D01EE3A9337}"/>
                </a:ext>
              </a:extLst>
            </p:cNvPr>
            <p:cNvSpPr/>
            <p:nvPr/>
          </p:nvSpPr>
          <p:spPr>
            <a:xfrm>
              <a:off x="12754879" y="1291886"/>
              <a:ext cx="516283" cy="258141"/>
            </a:xfrm>
            <a:custGeom>
              <a:avLst/>
              <a:gdLst>
                <a:gd name="connsiteX0" fmla="*/ 96803 w 516282"/>
                <a:gd name="connsiteY0" fmla="*/ 264595 h 258141"/>
                <a:gd name="connsiteX1" fmla="*/ 238781 w 516282"/>
                <a:gd name="connsiteY1" fmla="*/ 96803 h 258141"/>
                <a:gd name="connsiteX2" fmla="*/ 496922 w 516282"/>
                <a:gd name="connsiteY2" fmla="*/ 238781 h 258141"/>
                <a:gd name="connsiteX3" fmla="*/ 96803 w 516282"/>
                <a:gd name="connsiteY3" fmla="*/ 264595 h 258141"/>
                <a:gd name="connsiteX4" fmla="*/ 225874 w 516282"/>
                <a:gd name="connsiteY4" fmla="*/ 109710 h 258141"/>
                <a:gd name="connsiteX5" fmla="*/ 96803 w 516282"/>
                <a:gd name="connsiteY5" fmla="*/ 264595 h 258141"/>
                <a:gd name="connsiteX6" fmla="*/ 458201 w 516282"/>
                <a:gd name="connsiteY6" fmla="*/ 251688 h 258141"/>
                <a:gd name="connsiteX7" fmla="*/ 225874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96803" y="264595"/>
                  </a:moveTo>
                  <a:lnTo>
                    <a:pt x="238781" y="96803"/>
                  </a:lnTo>
                  <a:lnTo>
                    <a:pt x="496922" y="238781"/>
                  </a:lnTo>
                  <a:lnTo>
                    <a:pt x="96803" y="264595"/>
                  </a:lnTo>
                  <a:close/>
                  <a:moveTo>
                    <a:pt x="225874" y="109710"/>
                  </a:moveTo>
                  <a:lnTo>
                    <a:pt x="96803" y="264595"/>
                  </a:lnTo>
                  <a:lnTo>
                    <a:pt x="458201" y="251688"/>
                  </a:lnTo>
                  <a:lnTo>
                    <a:pt x="225874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4" name="Freeform: Shape 3233">
              <a:extLst>
                <a:ext uri="{FF2B5EF4-FFF2-40B4-BE49-F238E27FC236}">
                  <a16:creationId xmlns:a16="http://schemas.microsoft.com/office/drawing/2014/main" id="{C2C07C23-960C-403D-B8B4-97005F79BBA7}"/>
                </a:ext>
              </a:extLst>
            </p:cNvPr>
            <p:cNvSpPr/>
            <p:nvPr/>
          </p:nvSpPr>
          <p:spPr>
            <a:xfrm>
              <a:off x="12574180" y="1278979"/>
              <a:ext cx="516283" cy="258141"/>
            </a:xfrm>
            <a:custGeom>
              <a:avLst/>
              <a:gdLst>
                <a:gd name="connsiteX0" fmla="*/ 277502 w 516282"/>
                <a:gd name="connsiteY0" fmla="*/ 277502 h 258141"/>
                <a:gd name="connsiteX1" fmla="*/ 96803 w 516282"/>
                <a:gd name="connsiteY1" fmla="*/ 96803 h 258141"/>
                <a:gd name="connsiteX2" fmla="*/ 419480 w 516282"/>
                <a:gd name="connsiteY2" fmla="*/ 109710 h 258141"/>
                <a:gd name="connsiteX3" fmla="*/ 277502 w 516282"/>
                <a:gd name="connsiteY3" fmla="*/ 277502 h 258141"/>
                <a:gd name="connsiteX4" fmla="*/ 109711 w 516282"/>
                <a:gd name="connsiteY4" fmla="*/ 109710 h 258141"/>
                <a:gd name="connsiteX5" fmla="*/ 277502 w 516282"/>
                <a:gd name="connsiteY5" fmla="*/ 277502 h 258141"/>
                <a:gd name="connsiteX6" fmla="*/ 406573 w 516282"/>
                <a:gd name="connsiteY6" fmla="*/ 122617 h 258141"/>
                <a:gd name="connsiteX7" fmla="*/ 109711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277502" y="277502"/>
                  </a:moveTo>
                  <a:lnTo>
                    <a:pt x="96803" y="96803"/>
                  </a:lnTo>
                  <a:lnTo>
                    <a:pt x="419480" y="109710"/>
                  </a:lnTo>
                  <a:lnTo>
                    <a:pt x="277502" y="277502"/>
                  </a:lnTo>
                  <a:close/>
                  <a:moveTo>
                    <a:pt x="109711" y="109710"/>
                  </a:moveTo>
                  <a:lnTo>
                    <a:pt x="277502" y="277502"/>
                  </a:lnTo>
                  <a:lnTo>
                    <a:pt x="406573" y="122617"/>
                  </a:lnTo>
                  <a:lnTo>
                    <a:pt x="10971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5" name="Freeform: Shape 3234">
              <a:extLst>
                <a:ext uri="{FF2B5EF4-FFF2-40B4-BE49-F238E27FC236}">
                  <a16:creationId xmlns:a16="http://schemas.microsoft.com/office/drawing/2014/main" id="{490788E9-8E63-4B89-801F-DA492CD0D918}"/>
                </a:ext>
              </a:extLst>
            </p:cNvPr>
            <p:cNvSpPr/>
            <p:nvPr/>
          </p:nvSpPr>
          <p:spPr>
            <a:xfrm>
              <a:off x="12548367" y="1278979"/>
              <a:ext cx="387212" cy="258141"/>
            </a:xfrm>
            <a:custGeom>
              <a:avLst/>
              <a:gdLst>
                <a:gd name="connsiteX0" fmla="*/ 316223 w 387211"/>
                <a:gd name="connsiteY0" fmla="*/ 277502 h 258141"/>
                <a:gd name="connsiteX1" fmla="*/ 96803 w 387211"/>
                <a:gd name="connsiteY1" fmla="*/ 200060 h 258141"/>
                <a:gd name="connsiteX2" fmla="*/ 135525 w 387211"/>
                <a:gd name="connsiteY2" fmla="*/ 96803 h 258141"/>
                <a:gd name="connsiteX3" fmla="*/ 316223 w 387211"/>
                <a:gd name="connsiteY3" fmla="*/ 277502 h 258141"/>
                <a:gd name="connsiteX4" fmla="*/ 96803 w 387211"/>
                <a:gd name="connsiteY4" fmla="*/ 200060 h 258141"/>
                <a:gd name="connsiteX5" fmla="*/ 290409 w 387211"/>
                <a:gd name="connsiteY5" fmla="*/ 264595 h 258141"/>
                <a:gd name="connsiteX6" fmla="*/ 135525 w 387211"/>
                <a:gd name="connsiteY6" fmla="*/ 109710 h 258141"/>
                <a:gd name="connsiteX7" fmla="*/ 96803 w 387211"/>
                <a:gd name="connsiteY7" fmla="*/ 20006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16223" y="277502"/>
                  </a:moveTo>
                  <a:lnTo>
                    <a:pt x="96803" y="200060"/>
                  </a:lnTo>
                  <a:lnTo>
                    <a:pt x="135525" y="96803"/>
                  </a:lnTo>
                  <a:lnTo>
                    <a:pt x="316223" y="277502"/>
                  </a:lnTo>
                  <a:close/>
                  <a:moveTo>
                    <a:pt x="96803" y="200060"/>
                  </a:moveTo>
                  <a:lnTo>
                    <a:pt x="290409" y="264595"/>
                  </a:lnTo>
                  <a:lnTo>
                    <a:pt x="135525" y="109710"/>
                  </a:lnTo>
                  <a:lnTo>
                    <a:pt x="96803" y="2000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6" name="Freeform: Shape 3235">
              <a:extLst>
                <a:ext uri="{FF2B5EF4-FFF2-40B4-BE49-F238E27FC236}">
                  <a16:creationId xmlns:a16="http://schemas.microsoft.com/office/drawing/2014/main" id="{8C52B364-6519-4A50-B1B7-FE4C7E2BA72E}"/>
                </a:ext>
              </a:extLst>
            </p:cNvPr>
            <p:cNvSpPr/>
            <p:nvPr/>
          </p:nvSpPr>
          <p:spPr>
            <a:xfrm>
              <a:off x="9115088" y="1317700"/>
              <a:ext cx="387212" cy="387212"/>
            </a:xfrm>
            <a:custGeom>
              <a:avLst/>
              <a:gdLst>
                <a:gd name="connsiteX0" fmla="*/ 290409 w 387211"/>
                <a:gd name="connsiteY0" fmla="*/ 290409 h 387211"/>
                <a:gd name="connsiteX1" fmla="*/ 96803 w 387211"/>
                <a:gd name="connsiteY1" fmla="*/ 200060 h 387211"/>
                <a:gd name="connsiteX2" fmla="*/ 109710 w 387211"/>
                <a:gd name="connsiteY2" fmla="*/ 96803 h 387211"/>
                <a:gd name="connsiteX3" fmla="*/ 290409 w 387211"/>
                <a:gd name="connsiteY3" fmla="*/ 290409 h 387211"/>
                <a:gd name="connsiteX4" fmla="*/ 109710 w 387211"/>
                <a:gd name="connsiteY4" fmla="*/ 200060 h 387211"/>
                <a:gd name="connsiteX5" fmla="*/ 264594 w 387211"/>
                <a:gd name="connsiteY5" fmla="*/ 277502 h 387211"/>
                <a:gd name="connsiteX6" fmla="*/ 109710 w 387211"/>
                <a:gd name="connsiteY6" fmla="*/ 109710 h 387211"/>
                <a:gd name="connsiteX7" fmla="*/ 109710 w 387211"/>
                <a:gd name="connsiteY7" fmla="*/ 20006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90409" y="290409"/>
                  </a:moveTo>
                  <a:lnTo>
                    <a:pt x="96803" y="200060"/>
                  </a:lnTo>
                  <a:lnTo>
                    <a:pt x="109710" y="96803"/>
                  </a:lnTo>
                  <a:lnTo>
                    <a:pt x="290409" y="290409"/>
                  </a:lnTo>
                  <a:close/>
                  <a:moveTo>
                    <a:pt x="109710" y="200060"/>
                  </a:moveTo>
                  <a:lnTo>
                    <a:pt x="264594" y="277502"/>
                  </a:lnTo>
                  <a:lnTo>
                    <a:pt x="109710" y="109710"/>
                  </a:lnTo>
                  <a:lnTo>
                    <a:pt x="109710" y="2000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7" name="Freeform: Shape 3236">
              <a:extLst>
                <a:ext uri="{FF2B5EF4-FFF2-40B4-BE49-F238E27FC236}">
                  <a16:creationId xmlns:a16="http://schemas.microsoft.com/office/drawing/2014/main" id="{C5EB0730-8E23-455E-87DB-C9529155D324}"/>
                </a:ext>
              </a:extLst>
            </p:cNvPr>
            <p:cNvSpPr/>
            <p:nvPr/>
          </p:nvSpPr>
          <p:spPr>
            <a:xfrm>
              <a:off x="9127994" y="1317700"/>
              <a:ext cx="516283" cy="387212"/>
            </a:xfrm>
            <a:custGeom>
              <a:avLst/>
              <a:gdLst>
                <a:gd name="connsiteX0" fmla="*/ 264595 w 516282"/>
                <a:gd name="connsiteY0" fmla="*/ 290409 h 387211"/>
                <a:gd name="connsiteX1" fmla="*/ 96803 w 516282"/>
                <a:gd name="connsiteY1" fmla="*/ 96803 h 387211"/>
                <a:gd name="connsiteX2" fmla="*/ 458201 w 516282"/>
                <a:gd name="connsiteY2" fmla="*/ 135524 h 387211"/>
                <a:gd name="connsiteX3" fmla="*/ 264595 w 516282"/>
                <a:gd name="connsiteY3" fmla="*/ 290409 h 387211"/>
                <a:gd name="connsiteX4" fmla="*/ 109710 w 516282"/>
                <a:gd name="connsiteY4" fmla="*/ 109710 h 387211"/>
                <a:gd name="connsiteX5" fmla="*/ 264595 w 516282"/>
                <a:gd name="connsiteY5" fmla="*/ 290409 h 387211"/>
                <a:gd name="connsiteX6" fmla="*/ 445293 w 516282"/>
                <a:gd name="connsiteY6" fmla="*/ 148431 h 387211"/>
                <a:gd name="connsiteX7" fmla="*/ 109710 w 516282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264595" y="290409"/>
                  </a:moveTo>
                  <a:lnTo>
                    <a:pt x="96803" y="96803"/>
                  </a:lnTo>
                  <a:lnTo>
                    <a:pt x="458201" y="135524"/>
                  </a:lnTo>
                  <a:lnTo>
                    <a:pt x="264595" y="290409"/>
                  </a:lnTo>
                  <a:close/>
                  <a:moveTo>
                    <a:pt x="109710" y="109710"/>
                  </a:moveTo>
                  <a:lnTo>
                    <a:pt x="264595" y="290409"/>
                  </a:lnTo>
                  <a:lnTo>
                    <a:pt x="445293" y="148431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8" name="Freeform: Shape 3237">
              <a:extLst>
                <a:ext uri="{FF2B5EF4-FFF2-40B4-BE49-F238E27FC236}">
                  <a16:creationId xmlns:a16="http://schemas.microsoft.com/office/drawing/2014/main" id="{861F9210-673F-4A91-8881-640CDD47540E}"/>
                </a:ext>
              </a:extLst>
            </p:cNvPr>
            <p:cNvSpPr/>
            <p:nvPr/>
          </p:nvSpPr>
          <p:spPr>
            <a:xfrm>
              <a:off x="11025333" y="3344109"/>
              <a:ext cx="1032565" cy="774424"/>
            </a:xfrm>
            <a:custGeom>
              <a:avLst/>
              <a:gdLst>
                <a:gd name="connsiteX0" fmla="*/ 432387 w 1032565"/>
                <a:gd name="connsiteY0" fmla="*/ 729249 h 774423"/>
                <a:gd name="connsiteX1" fmla="*/ 432387 w 1032565"/>
                <a:gd name="connsiteY1" fmla="*/ 729249 h 774423"/>
                <a:gd name="connsiteX2" fmla="*/ 96803 w 1032565"/>
                <a:gd name="connsiteY2" fmla="*/ 109710 h 774423"/>
                <a:gd name="connsiteX3" fmla="*/ 948670 w 1032565"/>
                <a:gd name="connsiteY3" fmla="*/ 96803 h 774423"/>
                <a:gd name="connsiteX4" fmla="*/ 948670 w 1032565"/>
                <a:gd name="connsiteY4" fmla="*/ 96803 h 774423"/>
                <a:gd name="connsiteX5" fmla="*/ 432387 w 1032565"/>
                <a:gd name="connsiteY5" fmla="*/ 729249 h 774423"/>
                <a:gd name="connsiteX6" fmla="*/ 109711 w 1032565"/>
                <a:gd name="connsiteY6" fmla="*/ 122617 h 774423"/>
                <a:gd name="connsiteX7" fmla="*/ 432387 w 1032565"/>
                <a:gd name="connsiteY7" fmla="*/ 716342 h 774423"/>
                <a:gd name="connsiteX8" fmla="*/ 948670 w 1032565"/>
                <a:gd name="connsiteY8" fmla="*/ 96803 h 774423"/>
                <a:gd name="connsiteX9" fmla="*/ 109711 w 1032565"/>
                <a:gd name="connsiteY9" fmla="*/ 12261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2565" h="774423">
                  <a:moveTo>
                    <a:pt x="432387" y="729249"/>
                  </a:moveTo>
                  <a:lnTo>
                    <a:pt x="432387" y="729249"/>
                  </a:lnTo>
                  <a:lnTo>
                    <a:pt x="96803" y="109710"/>
                  </a:lnTo>
                  <a:lnTo>
                    <a:pt x="948670" y="96803"/>
                  </a:lnTo>
                  <a:lnTo>
                    <a:pt x="948670" y="96803"/>
                  </a:lnTo>
                  <a:lnTo>
                    <a:pt x="432387" y="729249"/>
                  </a:lnTo>
                  <a:close/>
                  <a:moveTo>
                    <a:pt x="109711" y="122617"/>
                  </a:moveTo>
                  <a:lnTo>
                    <a:pt x="432387" y="716342"/>
                  </a:lnTo>
                  <a:lnTo>
                    <a:pt x="948670" y="96803"/>
                  </a:lnTo>
                  <a:lnTo>
                    <a:pt x="109711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39" name="Freeform: Shape 3238">
              <a:extLst>
                <a:ext uri="{FF2B5EF4-FFF2-40B4-BE49-F238E27FC236}">
                  <a16:creationId xmlns:a16="http://schemas.microsoft.com/office/drawing/2014/main" id="{0762BB50-8309-4887-845E-090D0ECBBD70}"/>
                </a:ext>
              </a:extLst>
            </p:cNvPr>
            <p:cNvSpPr/>
            <p:nvPr/>
          </p:nvSpPr>
          <p:spPr>
            <a:xfrm>
              <a:off x="11348009" y="3344109"/>
              <a:ext cx="774424" cy="774424"/>
            </a:xfrm>
            <a:custGeom>
              <a:avLst/>
              <a:gdLst>
                <a:gd name="connsiteX0" fmla="*/ 96803 w 774423"/>
                <a:gd name="connsiteY0" fmla="*/ 729249 h 774423"/>
                <a:gd name="connsiteX1" fmla="*/ 625993 w 774423"/>
                <a:gd name="connsiteY1" fmla="*/ 96803 h 774423"/>
                <a:gd name="connsiteX2" fmla="*/ 625993 w 774423"/>
                <a:gd name="connsiteY2" fmla="*/ 96803 h 774423"/>
                <a:gd name="connsiteX3" fmla="*/ 780878 w 774423"/>
                <a:gd name="connsiteY3" fmla="*/ 703435 h 774423"/>
                <a:gd name="connsiteX4" fmla="*/ 96803 w 774423"/>
                <a:gd name="connsiteY4" fmla="*/ 729249 h 774423"/>
                <a:gd name="connsiteX5" fmla="*/ 625993 w 774423"/>
                <a:gd name="connsiteY5" fmla="*/ 109710 h 774423"/>
                <a:gd name="connsiteX6" fmla="*/ 109711 w 774423"/>
                <a:gd name="connsiteY6" fmla="*/ 729249 h 774423"/>
                <a:gd name="connsiteX7" fmla="*/ 780878 w 774423"/>
                <a:gd name="connsiteY7" fmla="*/ 703435 h 774423"/>
                <a:gd name="connsiteX8" fmla="*/ 625993 w 774423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4423" h="774423">
                  <a:moveTo>
                    <a:pt x="96803" y="729249"/>
                  </a:moveTo>
                  <a:lnTo>
                    <a:pt x="625993" y="96803"/>
                  </a:lnTo>
                  <a:lnTo>
                    <a:pt x="625993" y="96803"/>
                  </a:lnTo>
                  <a:lnTo>
                    <a:pt x="780878" y="703435"/>
                  </a:lnTo>
                  <a:lnTo>
                    <a:pt x="96803" y="729249"/>
                  </a:lnTo>
                  <a:close/>
                  <a:moveTo>
                    <a:pt x="625993" y="109710"/>
                  </a:moveTo>
                  <a:lnTo>
                    <a:pt x="109711" y="729249"/>
                  </a:lnTo>
                  <a:lnTo>
                    <a:pt x="780878" y="703435"/>
                  </a:lnTo>
                  <a:lnTo>
                    <a:pt x="62599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0" name="Freeform: Shape 3239">
              <a:extLst>
                <a:ext uri="{FF2B5EF4-FFF2-40B4-BE49-F238E27FC236}">
                  <a16:creationId xmlns:a16="http://schemas.microsoft.com/office/drawing/2014/main" id="{0C42D758-3EFC-42B1-B07C-735B7D957C17}"/>
                </a:ext>
              </a:extLst>
            </p:cNvPr>
            <p:cNvSpPr/>
            <p:nvPr/>
          </p:nvSpPr>
          <p:spPr>
            <a:xfrm>
              <a:off x="11877200" y="3344109"/>
              <a:ext cx="1161636" cy="774424"/>
            </a:xfrm>
            <a:custGeom>
              <a:avLst/>
              <a:gdLst>
                <a:gd name="connsiteX0" fmla="*/ 251687 w 1161635"/>
                <a:gd name="connsiteY0" fmla="*/ 703435 h 774423"/>
                <a:gd name="connsiteX1" fmla="*/ 251687 w 1161635"/>
                <a:gd name="connsiteY1" fmla="*/ 703435 h 774423"/>
                <a:gd name="connsiteX2" fmla="*/ 96803 w 1161635"/>
                <a:gd name="connsiteY2" fmla="*/ 96803 h 774423"/>
                <a:gd name="connsiteX3" fmla="*/ 1090647 w 1161635"/>
                <a:gd name="connsiteY3" fmla="*/ 225874 h 774423"/>
                <a:gd name="connsiteX4" fmla="*/ 251687 w 1161635"/>
                <a:gd name="connsiteY4" fmla="*/ 703435 h 774423"/>
                <a:gd name="connsiteX5" fmla="*/ 96803 w 1161635"/>
                <a:gd name="connsiteY5" fmla="*/ 109710 h 774423"/>
                <a:gd name="connsiteX6" fmla="*/ 251687 w 1161635"/>
                <a:gd name="connsiteY6" fmla="*/ 703435 h 774423"/>
                <a:gd name="connsiteX7" fmla="*/ 1064833 w 1161635"/>
                <a:gd name="connsiteY7" fmla="*/ 225874 h 774423"/>
                <a:gd name="connsiteX8" fmla="*/ 96803 w 1161635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1635" h="774423">
                  <a:moveTo>
                    <a:pt x="251687" y="703435"/>
                  </a:moveTo>
                  <a:lnTo>
                    <a:pt x="251687" y="703435"/>
                  </a:lnTo>
                  <a:lnTo>
                    <a:pt x="96803" y="96803"/>
                  </a:lnTo>
                  <a:lnTo>
                    <a:pt x="1090647" y="225874"/>
                  </a:lnTo>
                  <a:lnTo>
                    <a:pt x="251687" y="703435"/>
                  </a:lnTo>
                  <a:close/>
                  <a:moveTo>
                    <a:pt x="96803" y="109710"/>
                  </a:moveTo>
                  <a:lnTo>
                    <a:pt x="251687" y="703435"/>
                  </a:lnTo>
                  <a:lnTo>
                    <a:pt x="1064833" y="225874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1" name="Freeform: Shape 3240">
              <a:extLst>
                <a:ext uri="{FF2B5EF4-FFF2-40B4-BE49-F238E27FC236}">
                  <a16:creationId xmlns:a16="http://schemas.microsoft.com/office/drawing/2014/main" id="{2D227D7F-2D8B-4F11-BE7B-F2C4CCD5B852}"/>
                </a:ext>
              </a:extLst>
            </p:cNvPr>
            <p:cNvSpPr/>
            <p:nvPr/>
          </p:nvSpPr>
          <p:spPr>
            <a:xfrm>
              <a:off x="11864292" y="2479336"/>
              <a:ext cx="645353" cy="1032565"/>
            </a:xfrm>
            <a:custGeom>
              <a:avLst/>
              <a:gdLst>
                <a:gd name="connsiteX0" fmla="*/ 96803 w 645353"/>
                <a:gd name="connsiteY0" fmla="*/ 974484 h 1032565"/>
                <a:gd name="connsiteX1" fmla="*/ 96803 w 645353"/>
                <a:gd name="connsiteY1" fmla="*/ 961576 h 1032565"/>
                <a:gd name="connsiteX2" fmla="*/ 419480 w 645353"/>
                <a:gd name="connsiteY2" fmla="*/ 96803 h 1032565"/>
                <a:gd name="connsiteX3" fmla="*/ 535643 w 645353"/>
                <a:gd name="connsiteY3" fmla="*/ 496922 h 1032565"/>
                <a:gd name="connsiteX4" fmla="*/ 535643 w 645353"/>
                <a:gd name="connsiteY4" fmla="*/ 496922 h 1032565"/>
                <a:gd name="connsiteX5" fmla="*/ 96803 w 645353"/>
                <a:gd name="connsiteY5" fmla="*/ 974484 h 1032565"/>
                <a:gd name="connsiteX6" fmla="*/ 432387 w 645353"/>
                <a:gd name="connsiteY6" fmla="*/ 122617 h 1032565"/>
                <a:gd name="connsiteX7" fmla="*/ 122618 w 645353"/>
                <a:gd name="connsiteY7" fmla="*/ 948669 h 1032565"/>
                <a:gd name="connsiteX8" fmla="*/ 548550 w 645353"/>
                <a:gd name="connsiteY8" fmla="*/ 496922 h 1032565"/>
                <a:gd name="connsiteX9" fmla="*/ 432387 w 645353"/>
                <a:gd name="connsiteY9" fmla="*/ 122617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1032565">
                  <a:moveTo>
                    <a:pt x="96803" y="974484"/>
                  </a:moveTo>
                  <a:lnTo>
                    <a:pt x="96803" y="961576"/>
                  </a:lnTo>
                  <a:lnTo>
                    <a:pt x="419480" y="96803"/>
                  </a:lnTo>
                  <a:lnTo>
                    <a:pt x="535643" y="496922"/>
                  </a:lnTo>
                  <a:lnTo>
                    <a:pt x="535643" y="496922"/>
                  </a:lnTo>
                  <a:lnTo>
                    <a:pt x="96803" y="974484"/>
                  </a:lnTo>
                  <a:close/>
                  <a:moveTo>
                    <a:pt x="432387" y="122617"/>
                  </a:moveTo>
                  <a:lnTo>
                    <a:pt x="122618" y="948669"/>
                  </a:lnTo>
                  <a:lnTo>
                    <a:pt x="548550" y="496922"/>
                  </a:lnTo>
                  <a:lnTo>
                    <a:pt x="432387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2" name="Freeform: Shape 3241">
              <a:extLst>
                <a:ext uri="{FF2B5EF4-FFF2-40B4-BE49-F238E27FC236}">
                  <a16:creationId xmlns:a16="http://schemas.microsoft.com/office/drawing/2014/main" id="{690159C6-5A6E-4F94-916C-D0126D55DDD6}"/>
                </a:ext>
              </a:extLst>
            </p:cNvPr>
            <p:cNvSpPr/>
            <p:nvPr/>
          </p:nvSpPr>
          <p:spPr>
            <a:xfrm>
              <a:off x="11877200" y="2879455"/>
              <a:ext cx="1161636" cy="774424"/>
            </a:xfrm>
            <a:custGeom>
              <a:avLst/>
              <a:gdLst>
                <a:gd name="connsiteX0" fmla="*/ 1090647 w 1161635"/>
                <a:gd name="connsiteY0" fmla="*/ 690528 h 774423"/>
                <a:gd name="connsiteX1" fmla="*/ 96803 w 1161635"/>
                <a:gd name="connsiteY1" fmla="*/ 561457 h 774423"/>
                <a:gd name="connsiteX2" fmla="*/ 535642 w 1161635"/>
                <a:gd name="connsiteY2" fmla="*/ 96803 h 774423"/>
                <a:gd name="connsiteX3" fmla="*/ 535642 w 1161635"/>
                <a:gd name="connsiteY3" fmla="*/ 96803 h 774423"/>
                <a:gd name="connsiteX4" fmla="*/ 1090647 w 1161635"/>
                <a:gd name="connsiteY4" fmla="*/ 690528 h 774423"/>
                <a:gd name="connsiteX5" fmla="*/ 96803 w 1161635"/>
                <a:gd name="connsiteY5" fmla="*/ 561457 h 774423"/>
                <a:gd name="connsiteX6" fmla="*/ 1064833 w 1161635"/>
                <a:gd name="connsiteY6" fmla="*/ 677621 h 774423"/>
                <a:gd name="connsiteX7" fmla="*/ 522736 w 1161635"/>
                <a:gd name="connsiteY7" fmla="*/ 109710 h 774423"/>
                <a:gd name="connsiteX8" fmla="*/ 96803 w 1161635"/>
                <a:gd name="connsiteY8" fmla="*/ 56145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1635" h="774423">
                  <a:moveTo>
                    <a:pt x="1090647" y="690528"/>
                  </a:moveTo>
                  <a:lnTo>
                    <a:pt x="96803" y="561457"/>
                  </a:lnTo>
                  <a:lnTo>
                    <a:pt x="535642" y="96803"/>
                  </a:lnTo>
                  <a:lnTo>
                    <a:pt x="535642" y="96803"/>
                  </a:lnTo>
                  <a:lnTo>
                    <a:pt x="1090647" y="690528"/>
                  </a:lnTo>
                  <a:close/>
                  <a:moveTo>
                    <a:pt x="96803" y="561457"/>
                  </a:moveTo>
                  <a:lnTo>
                    <a:pt x="1064833" y="677621"/>
                  </a:lnTo>
                  <a:lnTo>
                    <a:pt x="522736" y="109710"/>
                  </a:lnTo>
                  <a:lnTo>
                    <a:pt x="96803" y="5614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3" name="Freeform: Shape 3242">
              <a:extLst>
                <a:ext uri="{FF2B5EF4-FFF2-40B4-BE49-F238E27FC236}">
                  <a16:creationId xmlns:a16="http://schemas.microsoft.com/office/drawing/2014/main" id="{084E4B62-5AB6-42D1-AD0D-9770275E0835}"/>
                </a:ext>
              </a:extLst>
            </p:cNvPr>
            <p:cNvSpPr/>
            <p:nvPr/>
          </p:nvSpPr>
          <p:spPr>
            <a:xfrm>
              <a:off x="7772753" y="3408645"/>
              <a:ext cx="258141" cy="645353"/>
            </a:xfrm>
            <a:custGeom>
              <a:avLst/>
              <a:gdLst>
                <a:gd name="connsiteX0" fmla="*/ 251688 w 258141"/>
                <a:gd name="connsiteY0" fmla="*/ 574364 h 645353"/>
                <a:gd name="connsiteX1" fmla="*/ 122617 w 258141"/>
                <a:gd name="connsiteY1" fmla="*/ 509829 h 645353"/>
                <a:gd name="connsiteX2" fmla="*/ 122617 w 258141"/>
                <a:gd name="connsiteY2" fmla="*/ 509829 h 645353"/>
                <a:gd name="connsiteX3" fmla="*/ 96803 w 258141"/>
                <a:gd name="connsiteY3" fmla="*/ 96803 h 645353"/>
                <a:gd name="connsiteX4" fmla="*/ 251688 w 258141"/>
                <a:gd name="connsiteY4" fmla="*/ 574364 h 645353"/>
                <a:gd name="connsiteX5" fmla="*/ 122617 w 258141"/>
                <a:gd name="connsiteY5" fmla="*/ 496922 h 645353"/>
                <a:gd name="connsiteX6" fmla="*/ 238781 w 258141"/>
                <a:gd name="connsiteY6" fmla="*/ 561457 h 645353"/>
                <a:gd name="connsiteX7" fmla="*/ 109710 w 258141"/>
                <a:gd name="connsiteY7" fmla="*/ 148431 h 645353"/>
                <a:gd name="connsiteX8" fmla="*/ 122617 w 258141"/>
                <a:gd name="connsiteY8" fmla="*/ 496922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645353">
                  <a:moveTo>
                    <a:pt x="251688" y="574364"/>
                  </a:moveTo>
                  <a:lnTo>
                    <a:pt x="122617" y="509829"/>
                  </a:lnTo>
                  <a:lnTo>
                    <a:pt x="122617" y="509829"/>
                  </a:lnTo>
                  <a:lnTo>
                    <a:pt x="96803" y="96803"/>
                  </a:lnTo>
                  <a:lnTo>
                    <a:pt x="251688" y="574364"/>
                  </a:lnTo>
                  <a:close/>
                  <a:moveTo>
                    <a:pt x="122617" y="496922"/>
                  </a:moveTo>
                  <a:lnTo>
                    <a:pt x="238781" y="561457"/>
                  </a:lnTo>
                  <a:lnTo>
                    <a:pt x="109710" y="148431"/>
                  </a:lnTo>
                  <a:lnTo>
                    <a:pt x="122617" y="496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4" name="Freeform: Shape 3243">
              <a:extLst>
                <a:ext uri="{FF2B5EF4-FFF2-40B4-BE49-F238E27FC236}">
                  <a16:creationId xmlns:a16="http://schemas.microsoft.com/office/drawing/2014/main" id="{5A54E85A-A2E1-43D3-9D24-F17605A5B86C}"/>
                </a:ext>
              </a:extLst>
            </p:cNvPr>
            <p:cNvSpPr/>
            <p:nvPr/>
          </p:nvSpPr>
          <p:spPr>
            <a:xfrm>
              <a:off x="8147058" y="3305388"/>
              <a:ext cx="387212" cy="387212"/>
            </a:xfrm>
            <a:custGeom>
              <a:avLst/>
              <a:gdLst>
                <a:gd name="connsiteX0" fmla="*/ 316223 w 387211"/>
                <a:gd name="connsiteY0" fmla="*/ 380759 h 387211"/>
                <a:gd name="connsiteX1" fmla="*/ 96803 w 387211"/>
                <a:gd name="connsiteY1" fmla="*/ 238781 h 387211"/>
                <a:gd name="connsiteX2" fmla="*/ 109710 w 387211"/>
                <a:gd name="connsiteY2" fmla="*/ 96803 h 387211"/>
                <a:gd name="connsiteX3" fmla="*/ 316223 w 387211"/>
                <a:gd name="connsiteY3" fmla="*/ 380759 h 387211"/>
                <a:gd name="connsiteX4" fmla="*/ 96803 w 387211"/>
                <a:gd name="connsiteY4" fmla="*/ 225874 h 387211"/>
                <a:gd name="connsiteX5" fmla="*/ 290409 w 387211"/>
                <a:gd name="connsiteY5" fmla="*/ 354944 h 387211"/>
                <a:gd name="connsiteX6" fmla="*/ 109710 w 387211"/>
                <a:gd name="connsiteY6" fmla="*/ 109710 h 387211"/>
                <a:gd name="connsiteX7" fmla="*/ 96803 w 387211"/>
                <a:gd name="connsiteY7" fmla="*/ 22587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16223" y="380759"/>
                  </a:moveTo>
                  <a:lnTo>
                    <a:pt x="96803" y="238781"/>
                  </a:lnTo>
                  <a:lnTo>
                    <a:pt x="109710" y="96803"/>
                  </a:lnTo>
                  <a:lnTo>
                    <a:pt x="316223" y="380759"/>
                  </a:lnTo>
                  <a:close/>
                  <a:moveTo>
                    <a:pt x="96803" y="225874"/>
                  </a:moveTo>
                  <a:lnTo>
                    <a:pt x="290409" y="354944"/>
                  </a:lnTo>
                  <a:lnTo>
                    <a:pt x="109710" y="109710"/>
                  </a:lnTo>
                  <a:lnTo>
                    <a:pt x="96803" y="225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5" name="Freeform: Shape 3244">
              <a:extLst>
                <a:ext uri="{FF2B5EF4-FFF2-40B4-BE49-F238E27FC236}">
                  <a16:creationId xmlns:a16="http://schemas.microsoft.com/office/drawing/2014/main" id="{A8BA98CD-FB3E-480A-A0E0-D0E8DD99D2D8}"/>
                </a:ext>
              </a:extLst>
            </p:cNvPr>
            <p:cNvSpPr/>
            <p:nvPr/>
          </p:nvSpPr>
          <p:spPr>
            <a:xfrm>
              <a:off x="8456827" y="2660035"/>
              <a:ext cx="387212" cy="387212"/>
            </a:xfrm>
            <a:custGeom>
              <a:avLst/>
              <a:gdLst>
                <a:gd name="connsiteX0" fmla="*/ 96803 w 387211"/>
                <a:gd name="connsiteY0" fmla="*/ 406572 h 387211"/>
                <a:gd name="connsiteX1" fmla="*/ 290409 w 387211"/>
                <a:gd name="connsiteY1" fmla="*/ 96803 h 387211"/>
                <a:gd name="connsiteX2" fmla="*/ 406572 w 387211"/>
                <a:gd name="connsiteY2" fmla="*/ 290409 h 387211"/>
                <a:gd name="connsiteX3" fmla="*/ 96803 w 387211"/>
                <a:gd name="connsiteY3" fmla="*/ 406572 h 387211"/>
                <a:gd name="connsiteX4" fmla="*/ 290409 w 387211"/>
                <a:gd name="connsiteY4" fmla="*/ 96803 h 387211"/>
                <a:gd name="connsiteX5" fmla="*/ 109710 w 387211"/>
                <a:gd name="connsiteY5" fmla="*/ 393665 h 387211"/>
                <a:gd name="connsiteX6" fmla="*/ 393665 w 387211"/>
                <a:gd name="connsiteY6" fmla="*/ 277502 h 387211"/>
                <a:gd name="connsiteX7" fmla="*/ 290409 w 387211"/>
                <a:gd name="connsiteY7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96803" y="406572"/>
                  </a:moveTo>
                  <a:lnTo>
                    <a:pt x="290409" y="96803"/>
                  </a:lnTo>
                  <a:lnTo>
                    <a:pt x="406572" y="290409"/>
                  </a:lnTo>
                  <a:lnTo>
                    <a:pt x="96803" y="406572"/>
                  </a:lnTo>
                  <a:close/>
                  <a:moveTo>
                    <a:pt x="290409" y="96803"/>
                  </a:moveTo>
                  <a:lnTo>
                    <a:pt x="109710" y="393665"/>
                  </a:lnTo>
                  <a:lnTo>
                    <a:pt x="393665" y="277502"/>
                  </a:lnTo>
                  <a:lnTo>
                    <a:pt x="290409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6" name="Freeform: Shape 3245">
              <a:extLst>
                <a:ext uri="{FF2B5EF4-FFF2-40B4-BE49-F238E27FC236}">
                  <a16:creationId xmlns:a16="http://schemas.microsoft.com/office/drawing/2014/main" id="{8070E5DD-2EA4-484A-A739-C52AC5D60896}"/>
                </a:ext>
              </a:extLst>
            </p:cNvPr>
            <p:cNvSpPr/>
            <p:nvPr/>
          </p:nvSpPr>
          <p:spPr>
            <a:xfrm>
              <a:off x="15478270" y="2634221"/>
              <a:ext cx="258141" cy="516283"/>
            </a:xfrm>
            <a:custGeom>
              <a:avLst/>
              <a:gdLst>
                <a:gd name="connsiteX0" fmla="*/ 212967 w 258141"/>
                <a:gd name="connsiteY0" fmla="*/ 471108 h 516282"/>
                <a:gd name="connsiteX1" fmla="*/ 96803 w 258141"/>
                <a:gd name="connsiteY1" fmla="*/ 251688 h 516282"/>
                <a:gd name="connsiteX2" fmla="*/ 96803 w 258141"/>
                <a:gd name="connsiteY2" fmla="*/ 251688 h 516282"/>
                <a:gd name="connsiteX3" fmla="*/ 161338 w 258141"/>
                <a:gd name="connsiteY3" fmla="*/ 96803 h 516282"/>
                <a:gd name="connsiteX4" fmla="*/ 212967 w 258141"/>
                <a:gd name="connsiteY4" fmla="*/ 471108 h 516282"/>
                <a:gd name="connsiteX5" fmla="*/ 96803 w 258141"/>
                <a:gd name="connsiteY5" fmla="*/ 264595 h 516282"/>
                <a:gd name="connsiteX6" fmla="*/ 200060 w 258141"/>
                <a:gd name="connsiteY6" fmla="*/ 445294 h 516282"/>
                <a:gd name="connsiteX7" fmla="*/ 161338 w 258141"/>
                <a:gd name="connsiteY7" fmla="*/ 135524 h 516282"/>
                <a:gd name="connsiteX8" fmla="*/ 96803 w 258141"/>
                <a:gd name="connsiteY8" fmla="*/ 26459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516282">
                  <a:moveTo>
                    <a:pt x="212967" y="471108"/>
                  </a:moveTo>
                  <a:lnTo>
                    <a:pt x="96803" y="251688"/>
                  </a:lnTo>
                  <a:lnTo>
                    <a:pt x="96803" y="251688"/>
                  </a:lnTo>
                  <a:lnTo>
                    <a:pt x="161338" y="96803"/>
                  </a:lnTo>
                  <a:lnTo>
                    <a:pt x="212967" y="471108"/>
                  </a:lnTo>
                  <a:close/>
                  <a:moveTo>
                    <a:pt x="96803" y="264595"/>
                  </a:moveTo>
                  <a:lnTo>
                    <a:pt x="200060" y="445294"/>
                  </a:lnTo>
                  <a:lnTo>
                    <a:pt x="161338" y="135524"/>
                  </a:lnTo>
                  <a:lnTo>
                    <a:pt x="96803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7" name="Freeform: Shape 3246">
              <a:extLst>
                <a:ext uri="{FF2B5EF4-FFF2-40B4-BE49-F238E27FC236}">
                  <a16:creationId xmlns:a16="http://schemas.microsoft.com/office/drawing/2014/main" id="{C5A88B64-DC0C-411D-8735-F8E4A382261A}"/>
                </a:ext>
              </a:extLst>
            </p:cNvPr>
            <p:cNvSpPr/>
            <p:nvPr/>
          </p:nvSpPr>
          <p:spPr>
            <a:xfrm>
              <a:off x="14419891" y="7345299"/>
              <a:ext cx="645353" cy="774424"/>
            </a:xfrm>
            <a:custGeom>
              <a:avLst/>
              <a:gdLst>
                <a:gd name="connsiteX0" fmla="*/ 225874 w 645353"/>
                <a:gd name="connsiteY0" fmla="*/ 780878 h 774423"/>
                <a:gd name="connsiteX1" fmla="*/ 96803 w 645353"/>
                <a:gd name="connsiteY1" fmla="*/ 96803 h 774423"/>
                <a:gd name="connsiteX2" fmla="*/ 561457 w 645353"/>
                <a:gd name="connsiteY2" fmla="*/ 406573 h 774423"/>
                <a:gd name="connsiteX3" fmla="*/ 561457 w 645353"/>
                <a:gd name="connsiteY3" fmla="*/ 406573 h 774423"/>
                <a:gd name="connsiteX4" fmla="*/ 225874 w 645353"/>
                <a:gd name="connsiteY4" fmla="*/ 780878 h 774423"/>
                <a:gd name="connsiteX5" fmla="*/ 109710 w 645353"/>
                <a:gd name="connsiteY5" fmla="*/ 109710 h 774423"/>
                <a:gd name="connsiteX6" fmla="*/ 238781 w 645353"/>
                <a:gd name="connsiteY6" fmla="*/ 767970 h 774423"/>
                <a:gd name="connsiteX7" fmla="*/ 561457 w 645353"/>
                <a:gd name="connsiteY7" fmla="*/ 406573 h 774423"/>
                <a:gd name="connsiteX8" fmla="*/ 109710 w 645353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774423">
                  <a:moveTo>
                    <a:pt x="225874" y="780878"/>
                  </a:moveTo>
                  <a:lnTo>
                    <a:pt x="96803" y="96803"/>
                  </a:lnTo>
                  <a:lnTo>
                    <a:pt x="561457" y="406573"/>
                  </a:lnTo>
                  <a:lnTo>
                    <a:pt x="561457" y="406573"/>
                  </a:lnTo>
                  <a:lnTo>
                    <a:pt x="225874" y="780878"/>
                  </a:lnTo>
                  <a:close/>
                  <a:moveTo>
                    <a:pt x="109710" y="109710"/>
                  </a:moveTo>
                  <a:lnTo>
                    <a:pt x="238781" y="767970"/>
                  </a:lnTo>
                  <a:lnTo>
                    <a:pt x="561457" y="406573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8" name="Freeform: Shape 3247">
              <a:extLst>
                <a:ext uri="{FF2B5EF4-FFF2-40B4-BE49-F238E27FC236}">
                  <a16:creationId xmlns:a16="http://schemas.microsoft.com/office/drawing/2014/main" id="{966C789F-7E5C-46C3-AFEB-FBBB52C66449}"/>
                </a:ext>
              </a:extLst>
            </p:cNvPr>
            <p:cNvSpPr/>
            <p:nvPr/>
          </p:nvSpPr>
          <p:spPr>
            <a:xfrm>
              <a:off x="14548962" y="7642162"/>
              <a:ext cx="516283" cy="645353"/>
            </a:xfrm>
            <a:custGeom>
              <a:avLst/>
              <a:gdLst>
                <a:gd name="connsiteX0" fmla="*/ 303316 w 516282"/>
                <a:gd name="connsiteY0" fmla="*/ 664714 h 645353"/>
                <a:gd name="connsiteX1" fmla="*/ 303316 w 516282"/>
                <a:gd name="connsiteY1" fmla="*/ 664714 h 645353"/>
                <a:gd name="connsiteX2" fmla="*/ 96803 w 516282"/>
                <a:gd name="connsiteY2" fmla="*/ 484015 h 645353"/>
                <a:gd name="connsiteX3" fmla="*/ 445293 w 516282"/>
                <a:gd name="connsiteY3" fmla="*/ 96803 h 645353"/>
                <a:gd name="connsiteX4" fmla="*/ 303316 w 516282"/>
                <a:gd name="connsiteY4" fmla="*/ 664714 h 645353"/>
                <a:gd name="connsiteX5" fmla="*/ 109710 w 516282"/>
                <a:gd name="connsiteY5" fmla="*/ 484015 h 645353"/>
                <a:gd name="connsiteX6" fmla="*/ 303316 w 516282"/>
                <a:gd name="connsiteY6" fmla="*/ 651807 h 645353"/>
                <a:gd name="connsiteX7" fmla="*/ 432386 w 516282"/>
                <a:gd name="connsiteY7" fmla="*/ 122617 h 645353"/>
                <a:gd name="connsiteX8" fmla="*/ 109710 w 516282"/>
                <a:gd name="connsiteY8" fmla="*/ 484015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645353">
                  <a:moveTo>
                    <a:pt x="303316" y="664714"/>
                  </a:moveTo>
                  <a:lnTo>
                    <a:pt x="303316" y="664714"/>
                  </a:lnTo>
                  <a:lnTo>
                    <a:pt x="96803" y="484015"/>
                  </a:lnTo>
                  <a:lnTo>
                    <a:pt x="445293" y="96803"/>
                  </a:lnTo>
                  <a:lnTo>
                    <a:pt x="303316" y="664714"/>
                  </a:lnTo>
                  <a:close/>
                  <a:moveTo>
                    <a:pt x="109710" y="484015"/>
                  </a:moveTo>
                  <a:lnTo>
                    <a:pt x="303316" y="651807"/>
                  </a:lnTo>
                  <a:lnTo>
                    <a:pt x="432386" y="122617"/>
                  </a:lnTo>
                  <a:lnTo>
                    <a:pt x="109710" y="4840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49" name="Freeform: Shape 3248">
              <a:extLst>
                <a:ext uri="{FF2B5EF4-FFF2-40B4-BE49-F238E27FC236}">
                  <a16:creationId xmlns:a16="http://schemas.microsoft.com/office/drawing/2014/main" id="{15A823CD-9AE2-4E9C-93AC-752950F6D3F8}"/>
                </a:ext>
              </a:extLst>
            </p:cNvPr>
            <p:cNvSpPr/>
            <p:nvPr/>
          </p:nvSpPr>
          <p:spPr>
            <a:xfrm>
              <a:off x="14755475" y="7642162"/>
              <a:ext cx="516283" cy="774424"/>
            </a:xfrm>
            <a:custGeom>
              <a:avLst/>
              <a:gdLst>
                <a:gd name="connsiteX0" fmla="*/ 432386 w 516282"/>
                <a:gd name="connsiteY0" fmla="*/ 703435 h 774423"/>
                <a:gd name="connsiteX1" fmla="*/ 96803 w 516282"/>
                <a:gd name="connsiteY1" fmla="*/ 651807 h 774423"/>
                <a:gd name="connsiteX2" fmla="*/ 96803 w 516282"/>
                <a:gd name="connsiteY2" fmla="*/ 651807 h 774423"/>
                <a:gd name="connsiteX3" fmla="*/ 238781 w 516282"/>
                <a:gd name="connsiteY3" fmla="*/ 96803 h 774423"/>
                <a:gd name="connsiteX4" fmla="*/ 432386 w 516282"/>
                <a:gd name="connsiteY4" fmla="*/ 703435 h 774423"/>
                <a:gd name="connsiteX5" fmla="*/ 96803 w 516282"/>
                <a:gd name="connsiteY5" fmla="*/ 651807 h 774423"/>
                <a:gd name="connsiteX6" fmla="*/ 419480 w 516282"/>
                <a:gd name="connsiteY6" fmla="*/ 703435 h 774423"/>
                <a:gd name="connsiteX7" fmla="*/ 238781 w 516282"/>
                <a:gd name="connsiteY7" fmla="*/ 122617 h 774423"/>
                <a:gd name="connsiteX8" fmla="*/ 96803 w 516282"/>
                <a:gd name="connsiteY8" fmla="*/ 65180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774423">
                  <a:moveTo>
                    <a:pt x="432386" y="703435"/>
                  </a:moveTo>
                  <a:lnTo>
                    <a:pt x="96803" y="651807"/>
                  </a:lnTo>
                  <a:lnTo>
                    <a:pt x="96803" y="651807"/>
                  </a:lnTo>
                  <a:lnTo>
                    <a:pt x="238781" y="96803"/>
                  </a:lnTo>
                  <a:lnTo>
                    <a:pt x="432386" y="703435"/>
                  </a:lnTo>
                  <a:close/>
                  <a:moveTo>
                    <a:pt x="96803" y="651807"/>
                  </a:moveTo>
                  <a:lnTo>
                    <a:pt x="419480" y="703435"/>
                  </a:lnTo>
                  <a:lnTo>
                    <a:pt x="238781" y="122617"/>
                  </a:lnTo>
                  <a:lnTo>
                    <a:pt x="96803" y="6518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0" name="Freeform: Shape 3249">
              <a:extLst>
                <a:ext uri="{FF2B5EF4-FFF2-40B4-BE49-F238E27FC236}">
                  <a16:creationId xmlns:a16="http://schemas.microsoft.com/office/drawing/2014/main" id="{407C41D4-DB92-4494-AC83-2CB6399A010B}"/>
                </a:ext>
              </a:extLst>
            </p:cNvPr>
            <p:cNvSpPr/>
            <p:nvPr/>
          </p:nvSpPr>
          <p:spPr>
            <a:xfrm>
              <a:off x="14729661" y="8184258"/>
              <a:ext cx="516283" cy="258141"/>
            </a:xfrm>
            <a:custGeom>
              <a:avLst/>
              <a:gdLst>
                <a:gd name="connsiteX0" fmla="*/ 303316 w 516282"/>
                <a:gd name="connsiteY0" fmla="*/ 187153 h 258141"/>
                <a:gd name="connsiteX1" fmla="*/ 303316 w 516282"/>
                <a:gd name="connsiteY1" fmla="*/ 187153 h 258141"/>
                <a:gd name="connsiteX2" fmla="*/ 96803 w 516282"/>
                <a:gd name="connsiteY2" fmla="*/ 96803 h 258141"/>
                <a:gd name="connsiteX3" fmla="*/ 471108 w 516282"/>
                <a:gd name="connsiteY3" fmla="*/ 148431 h 258141"/>
                <a:gd name="connsiteX4" fmla="*/ 303316 w 516282"/>
                <a:gd name="connsiteY4" fmla="*/ 187153 h 258141"/>
                <a:gd name="connsiteX5" fmla="*/ 148431 w 516282"/>
                <a:gd name="connsiteY5" fmla="*/ 122617 h 258141"/>
                <a:gd name="connsiteX6" fmla="*/ 303316 w 516282"/>
                <a:gd name="connsiteY6" fmla="*/ 187153 h 258141"/>
                <a:gd name="connsiteX7" fmla="*/ 432386 w 516282"/>
                <a:gd name="connsiteY7" fmla="*/ 161338 h 258141"/>
                <a:gd name="connsiteX8" fmla="*/ 148431 w 516282"/>
                <a:gd name="connsiteY8" fmla="*/ 12261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258141">
                  <a:moveTo>
                    <a:pt x="303316" y="187153"/>
                  </a:moveTo>
                  <a:lnTo>
                    <a:pt x="303316" y="187153"/>
                  </a:lnTo>
                  <a:lnTo>
                    <a:pt x="96803" y="96803"/>
                  </a:lnTo>
                  <a:lnTo>
                    <a:pt x="471108" y="148431"/>
                  </a:lnTo>
                  <a:lnTo>
                    <a:pt x="303316" y="187153"/>
                  </a:lnTo>
                  <a:close/>
                  <a:moveTo>
                    <a:pt x="148431" y="122617"/>
                  </a:moveTo>
                  <a:lnTo>
                    <a:pt x="303316" y="187153"/>
                  </a:lnTo>
                  <a:lnTo>
                    <a:pt x="432386" y="161338"/>
                  </a:lnTo>
                  <a:lnTo>
                    <a:pt x="148431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1" name="Freeform: Shape 3250">
              <a:extLst>
                <a:ext uri="{FF2B5EF4-FFF2-40B4-BE49-F238E27FC236}">
                  <a16:creationId xmlns:a16="http://schemas.microsoft.com/office/drawing/2014/main" id="{903C2B9D-65EC-46F3-BFB0-92AAB5DC4C36}"/>
                </a:ext>
              </a:extLst>
            </p:cNvPr>
            <p:cNvSpPr/>
            <p:nvPr/>
          </p:nvSpPr>
          <p:spPr>
            <a:xfrm>
              <a:off x="14884545" y="7655069"/>
              <a:ext cx="516283" cy="774424"/>
            </a:xfrm>
            <a:custGeom>
              <a:avLst/>
              <a:gdLst>
                <a:gd name="connsiteX0" fmla="*/ 290409 w 516282"/>
                <a:gd name="connsiteY0" fmla="*/ 703435 h 774423"/>
                <a:gd name="connsiteX1" fmla="*/ 96803 w 516282"/>
                <a:gd name="connsiteY1" fmla="*/ 96803 h 774423"/>
                <a:gd name="connsiteX2" fmla="*/ 109710 w 516282"/>
                <a:gd name="connsiteY2" fmla="*/ 96803 h 774423"/>
                <a:gd name="connsiteX3" fmla="*/ 522737 w 516282"/>
                <a:gd name="connsiteY3" fmla="*/ 393665 h 774423"/>
                <a:gd name="connsiteX4" fmla="*/ 290409 w 516282"/>
                <a:gd name="connsiteY4" fmla="*/ 703435 h 774423"/>
                <a:gd name="connsiteX5" fmla="*/ 109710 w 516282"/>
                <a:gd name="connsiteY5" fmla="*/ 109710 h 774423"/>
                <a:gd name="connsiteX6" fmla="*/ 290409 w 516282"/>
                <a:gd name="connsiteY6" fmla="*/ 690528 h 774423"/>
                <a:gd name="connsiteX7" fmla="*/ 509830 w 516282"/>
                <a:gd name="connsiteY7" fmla="*/ 393665 h 774423"/>
                <a:gd name="connsiteX8" fmla="*/ 109710 w 516282"/>
                <a:gd name="connsiteY8" fmla="*/ 109710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774423">
                  <a:moveTo>
                    <a:pt x="290409" y="703435"/>
                  </a:moveTo>
                  <a:lnTo>
                    <a:pt x="96803" y="96803"/>
                  </a:lnTo>
                  <a:lnTo>
                    <a:pt x="109710" y="96803"/>
                  </a:lnTo>
                  <a:lnTo>
                    <a:pt x="522737" y="393665"/>
                  </a:lnTo>
                  <a:lnTo>
                    <a:pt x="290409" y="703435"/>
                  </a:lnTo>
                  <a:close/>
                  <a:moveTo>
                    <a:pt x="109710" y="109710"/>
                  </a:moveTo>
                  <a:lnTo>
                    <a:pt x="290409" y="690528"/>
                  </a:lnTo>
                  <a:lnTo>
                    <a:pt x="509830" y="393665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2" name="Freeform: Shape 3251">
              <a:extLst>
                <a:ext uri="{FF2B5EF4-FFF2-40B4-BE49-F238E27FC236}">
                  <a16:creationId xmlns:a16="http://schemas.microsoft.com/office/drawing/2014/main" id="{62BF5740-8A4C-4A37-B4BB-E4DCBB6C4A7A}"/>
                </a:ext>
              </a:extLst>
            </p:cNvPr>
            <p:cNvSpPr/>
            <p:nvPr/>
          </p:nvSpPr>
          <p:spPr>
            <a:xfrm>
              <a:off x="15078151" y="7939024"/>
              <a:ext cx="387212" cy="516283"/>
            </a:xfrm>
            <a:custGeom>
              <a:avLst/>
              <a:gdLst>
                <a:gd name="connsiteX0" fmla="*/ 96803 w 387211"/>
                <a:gd name="connsiteY0" fmla="*/ 419480 h 516282"/>
                <a:gd name="connsiteX1" fmla="*/ 329131 w 387211"/>
                <a:gd name="connsiteY1" fmla="*/ 96803 h 516282"/>
                <a:gd name="connsiteX2" fmla="*/ 264595 w 387211"/>
                <a:gd name="connsiteY2" fmla="*/ 380759 h 516282"/>
                <a:gd name="connsiteX3" fmla="*/ 96803 w 387211"/>
                <a:gd name="connsiteY3" fmla="*/ 419480 h 516282"/>
                <a:gd name="connsiteX4" fmla="*/ 316224 w 387211"/>
                <a:gd name="connsiteY4" fmla="*/ 122617 h 516282"/>
                <a:gd name="connsiteX5" fmla="*/ 109710 w 387211"/>
                <a:gd name="connsiteY5" fmla="*/ 406572 h 516282"/>
                <a:gd name="connsiteX6" fmla="*/ 251688 w 387211"/>
                <a:gd name="connsiteY6" fmla="*/ 367851 h 516282"/>
                <a:gd name="connsiteX7" fmla="*/ 316224 w 387211"/>
                <a:gd name="connsiteY7" fmla="*/ 12261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96803" y="419480"/>
                  </a:moveTo>
                  <a:lnTo>
                    <a:pt x="329131" y="96803"/>
                  </a:lnTo>
                  <a:lnTo>
                    <a:pt x="264595" y="380759"/>
                  </a:lnTo>
                  <a:lnTo>
                    <a:pt x="96803" y="419480"/>
                  </a:lnTo>
                  <a:close/>
                  <a:moveTo>
                    <a:pt x="316224" y="122617"/>
                  </a:moveTo>
                  <a:lnTo>
                    <a:pt x="109710" y="406572"/>
                  </a:lnTo>
                  <a:lnTo>
                    <a:pt x="251688" y="367851"/>
                  </a:lnTo>
                  <a:lnTo>
                    <a:pt x="316224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3" name="Freeform: Shape 3252">
              <a:extLst>
                <a:ext uri="{FF2B5EF4-FFF2-40B4-BE49-F238E27FC236}">
                  <a16:creationId xmlns:a16="http://schemas.microsoft.com/office/drawing/2014/main" id="{EB4E1F84-E6EB-4439-9319-8621C848C117}"/>
                </a:ext>
              </a:extLst>
            </p:cNvPr>
            <p:cNvSpPr/>
            <p:nvPr/>
          </p:nvSpPr>
          <p:spPr>
            <a:xfrm>
              <a:off x="14884545" y="7642162"/>
              <a:ext cx="645353" cy="387212"/>
            </a:xfrm>
            <a:custGeom>
              <a:avLst/>
              <a:gdLst>
                <a:gd name="connsiteX0" fmla="*/ 522737 w 645353"/>
                <a:gd name="connsiteY0" fmla="*/ 406572 h 387211"/>
                <a:gd name="connsiteX1" fmla="*/ 522737 w 645353"/>
                <a:gd name="connsiteY1" fmla="*/ 406572 h 387211"/>
                <a:gd name="connsiteX2" fmla="*/ 96803 w 645353"/>
                <a:gd name="connsiteY2" fmla="*/ 109710 h 387211"/>
                <a:gd name="connsiteX3" fmla="*/ 625992 w 645353"/>
                <a:gd name="connsiteY3" fmla="*/ 96803 h 387211"/>
                <a:gd name="connsiteX4" fmla="*/ 625992 w 645353"/>
                <a:gd name="connsiteY4" fmla="*/ 96803 h 387211"/>
                <a:gd name="connsiteX5" fmla="*/ 522737 w 645353"/>
                <a:gd name="connsiteY5" fmla="*/ 406572 h 387211"/>
                <a:gd name="connsiteX6" fmla="*/ 109710 w 645353"/>
                <a:gd name="connsiteY6" fmla="*/ 109710 h 387211"/>
                <a:gd name="connsiteX7" fmla="*/ 509830 w 645353"/>
                <a:gd name="connsiteY7" fmla="*/ 393665 h 387211"/>
                <a:gd name="connsiteX8" fmla="*/ 613086 w 645353"/>
                <a:gd name="connsiteY8" fmla="*/ 96803 h 387211"/>
                <a:gd name="connsiteX9" fmla="*/ 109710 w 645353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387211">
                  <a:moveTo>
                    <a:pt x="522737" y="406572"/>
                  </a:moveTo>
                  <a:lnTo>
                    <a:pt x="522737" y="406572"/>
                  </a:lnTo>
                  <a:lnTo>
                    <a:pt x="96803" y="109710"/>
                  </a:lnTo>
                  <a:lnTo>
                    <a:pt x="625992" y="96803"/>
                  </a:lnTo>
                  <a:lnTo>
                    <a:pt x="625992" y="96803"/>
                  </a:lnTo>
                  <a:lnTo>
                    <a:pt x="522737" y="406572"/>
                  </a:lnTo>
                  <a:close/>
                  <a:moveTo>
                    <a:pt x="109710" y="109710"/>
                  </a:moveTo>
                  <a:lnTo>
                    <a:pt x="509830" y="393665"/>
                  </a:lnTo>
                  <a:lnTo>
                    <a:pt x="613086" y="96803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4" name="Freeform: Shape 3253">
              <a:extLst>
                <a:ext uri="{FF2B5EF4-FFF2-40B4-BE49-F238E27FC236}">
                  <a16:creationId xmlns:a16="http://schemas.microsoft.com/office/drawing/2014/main" id="{CF613347-E68C-4460-B385-F8648C24F436}"/>
                </a:ext>
              </a:extLst>
            </p:cNvPr>
            <p:cNvSpPr/>
            <p:nvPr/>
          </p:nvSpPr>
          <p:spPr>
            <a:xfrm>
              <a:off x="14884545" y="7216228"/>
              <a:ext cx="645353" cy="516283"/>
            </a:xfrm>
            <a:custGeom>
              <a:avLst/>
              <a:gdLst>
                <a:gd name="connsiteX0" fmla="*/ 96803 w 645353"/>
                <a:gd name="connsiteY0" fmla="*/ 535643 h 516282"/>
                <a:gd name="connsiteX1" fmla="*/ 380759 w 645353"/>
                <a:gd name="connsiteY1" fmla="*/ 96803 h 516282"/>
                <a:gd name="connsiteX2" fmla="*/ 380759 w 645353"/>
                <a:gd name="connsiteY2" fmla="*/ 96803 h 516282"/>
                <a:gd name="connsiteX3" fmla="*/ 625992 w 645353"/>
                <a:gd name="connsiteY3" fmla="*/ 509829 h 516282"/>
                <a:gd name="connsiteX4" fmla="*/ 96803 w 645353"/>
                <a:gd name="connsiteY4" fmla="*/ 535643 h 516282"/>
                <a:gd name="connsiteX5" fmla="*/ 380759 w 645353"/>
                <a:gd name="connsiteY5" fmla="*/ 109710 h 516282"/>
                <a:gd name="connsiteX6" fmla="*/ 109710 w 645353"/>
                <a:gd name="connsiteY6" fmla="*/ 522737 h 516282"/>
                <a:gd name="connsiteX7" fmla="*/ 625992 w 645353"/>
                <a:gd name="connsiteY7" fmla="*/ 509829 h 516282"/>
                <a:gd name="connsiteX8" fmla="*/ 380759 w 645353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516282">
                  <a:moveTo>
                    <a:pt x="96803" y="535643"/>
                  </a:moveTo>
                  <a:lnTo>
                    <a:pt x="380759" y="96803"/>
                  </a:lnTo>
                  <a:lnTo>
                    <a:pt x="380759" y="96803"/>
                  </a:lnTo>
                  <a:lnTo>
                    <a:pt x="625992" y="509829"/>
                  </a:lnTo>
                  <a:lnTo>
                    <a:pt x="96803" y="535643"/>
                  </a:lnTo>
                  <a:close/>
                  <a:moveTo>
                    <a:pt x="380759" y="109710"/>
                  </a:moveTo>
                  <a:lnTo>
                    <a:pt x="109710" y="522737"/>
                  </a:lnTo>
                  <a:lnTo>
                    <a:pt x="625992" y="509829"/>
                  </a:lnTo>
                  <a:lnTo>
                    <a:pt x="380759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5" name="Freeform: Shape 3254">
              <a:extLst>
                <a:ext uri="{FF2B5EF4-FFF2-40B4-BE49-F238E27FC236}">
                  <a16:creationId xmlns:a16="http://schemas.microsoft.com/office/drawing/2014/main" id="{5EBF11A7-EFC3-4862-BCDA-0AC72E3027CE}"/>
                </a:ext>
              </a:extLst>
            </p:cNvPr>
            <p:cNvSpPr/>
            <p:nvPr/>
          </p:nvSpPr>
          <p:spPr>
            <a:xfrm>
              <a:off x="14884545" y="7216228"/>
              <a:ext cx="387212" cy="645353"/>
            </a:xfrm>
            <a:custGeom>
              <a:avLst/>
              <a:gdLst>
                <a:gd name="connsiteX0" fmla="*/ 96803 w 387211"/>
                <a:gd name="connsiteY0" fmla="*/ 548550 h 645353"/>
                <a:gd name="connsiteX1" fmla="*/ 122618 w 387211"/>
                <a:gd name="connsiteY1" fmla="*/ 187153 h 645353"/>
                <a:gd name="connsiteX2" fmla="*/ 122618 w 387211"/>
                <a:gd name="connsiteY2" fmla="*/ 187153 h 645353"/>
                <a:gd name="connsiteX3" fmla="*/ 393666 w 387211"/>
                <a:gd name="connsiteY3" fmla="*/ 96803 h 645353"/>
                <a:gd name="connsiteX4" fmla="*/ 96803 w 387211"/>
                <a:gd name="connsiteY4" fmla="*/ 548550 h 645353"/>
                <a:gd name="connsiteX5" fmla="*/ 122618 w 387211"/>
                <a:gd name="connsiteY5" fmla="*/ 200060 h 645353"/>
                <a:gd name="connsiteX6" fmla="*/ 96803 w 387211"/>
                <a:gd name="connsiteY6" fmla="*/ 535643 h 645353"/>
                <a:gd name="connsiteX7" fmla="*/ 367851 w 387211"/>
                <a:gd name="connsiteY7" fmla="*/ 122617 h 645353"/>
                <a:gd name="connsiteX8" fmla="*/ 122618 w 387211"/>
                <a:gd name="connsiteY8" fmla="*/ 20006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645353">
                  <a:moveTo>
                    <a:pt x="96803" y="548550"/>
                  </a:moveTo>
                  <a:lnTo>
                    <a:pt x="122618" y="187153"/>
                  </a:lnTo>
                  <a:lnTo>
                    <a:pt x="122618" y="187153"/>
                  </a:lnTo>
                  <a:lnTo>
                    <a:pt x="393666" y="96803"/>
                  </a:lnTo>
                  <a:lnTo>
                    <a:pt x="96803" y="548550"/>
                  </a:lnTo>
                  <a:close/>
                  <a:moveTo>
                    <a:pt x="122618" y="200060"/>
                  </a:moveTo>
                  <a:lnTo>
                    <a:pt x="96803" y="535643"/>
                  </a:lnTo>
                  <a:lnTo>
                    <a:pt x="367851" y="122617"/>
                  </a:lnTo>
                  <a:lnTo>
                    <a:pt x="122618" y="2000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6" name="Freeform: Shape 3255">
              <a:extLst>
                <a:ext uri="{FF2B5EF4-FFF2-40B4-BE49-F238E27FC236}">
                  <a16:creationId xmlns:a16="http://schemas.microsoft.com/office/drawing/2014/main" id="{40DA50E6-FCCB-4917-BEF4-020F46DFD8AE}"/>
                </a:ext>
              </a:extLst>
            </p:cNvPr>
            <p:cNvSpPr/>
            <p:nvPr/>
          </p:nvSpPr>
          <p:spPr>
            <a:xfrm>
              <a:off x="14794196" y="6970994"/>
              <a:ext cx="258141" cy="774424"/>
            </a:xfrm>
            <a:custGeom>
              <a:avLst/>
              <a:gdLst>
                <a:gd name="connsiteX0" fmla="*/ 187152 w 258141"/>
                <a:gd name="connsiteY0" fmla="*/ 780877 h 774423"/>
                <a:gd name="connsiteX1" fmla="*/ 96803 w 258141"/>
                <a:gd name="connsiteY1" fmla="*/ 96803 h 774423"/>
                <a:gd name="connsiteX2" fmla="*/ 96803 w 258141"/>
                <a:gd name="connsiteY2" fmla="*/ 96803 h 774423"/>
                <a:gd name="connsiteX3" fmla="*/ 212967 w 258141"/>
                <a:gd name="connsiteY3" fmla="*/ 432386 h 774423"/>
                <a:gd name="connsiteX4" fmla="*/ 187152 w 258141"/>
                <a:gd name="connsiteY4" fmla="*/ 780877 h 774423"/>
                <a:gd name="connsiteX5" fmla="*/ 187152 w 258141"/>
                <a:gd name="connsiteY5" fmla="*/ 780877 h 774423"/>
                <a:gd name="connsiteX6" fmla="*/ 109710 w 258141"/>
                <a:gd name="connsiteY6" fmla="*/ 135524 h 774423"/>
                <a:gd name="connsiteX7" fmla="*/ 187152 w 258141"/>
                <a:gd name="connsiteY7" fmla="*/ 755063 h 774423"/>
                <a:gd name="connsiteX8" fmla="*/ 200059 w 258141"/>
                <a:gd name="connsiteY8" fmla="*/ 445294 h 774423"/>
                <a:gd name="connsiteX9" fmla="*/ 109710 w 258141"/>
                <a:gd name="connsiteY9" fmla="*/ 135524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774423">
                  <a:moveTo>
                    <a:pt x="187152" y="780877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212967" y="432386"/>
                  </a:lnTo>
                  <a:lnTo>
                    <a:pt x="187152" y="780877"/>
                  </a:lnTo>
                  <a:lnTo>
                    <a:pt x="187152" y="780877"/>
                  </a:lnTo>
                  <a:close/>
                  <a:moveTo>
                    <a:pt x="109710" y="135524"/>
                  </a:moveTo>
                  <a:lnTo>
                    <a:pt x="187152" y="755063"/>
                  </a:lnTo>
                  <a:lnTo>
                    <a:pt x="200059" y="445294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7" name="Freeform: Shape 3256">
              <a:extLst>
                <a:ext uri="{FF2B5EF4-FFF2-40B4-BE49-F238E27FC236}">
                  <a16:creationId xmlns:a16="http://schemas.microsoft.com/office/drawing/2014/main" id="{C4E2297E-0958-42A2-B514-7ED8BECB3706}"/>
                </a:ext>
              </a:extLst>
            </p:cNvPr>
            <p:cNvSpPr/>
            <p:nvPr/>
          </p:nvSpPr>
          <p:spPr>
            <a:xfrm>
              <a:off x="14432798" y="6958087"/>
              <a:ext cx="645353" cy="774424"/>
            </a:xfrm>
            <a:custGeom>
              <a:avLst/>
              <a:gdLst>
                <a:gd name="connsiteX0" fmla="*/ 561457 w 645353"/>
                <a:gd name="connsiteY0" fmla="*/ 793785 h 774423"/>
                <a:gd name="connsiteX1" fmla="*/ 96803 w 645353"/>
                <a:gd name="connsiteY1" fmla="*/ 484015 h 774423"/>
                <a:gd name="connsiteX2" fmla="*/ 96803 w 645353"/>
                <a:gd name="connsiteY2" fmla="*/ 484015 h 774423"/>
                <a:gd name="connsiteX3" fmla="*/ 471108 w 645353"/>
                <a:gd name="connsiteY3" fmla="*/ 96803 h 774423"/>
                <a:gd name="connsiteX4" fmla="*/ 561457 w 645353"/>
                <a:gd name="connsiteY4" fmla="*/ 793785 h 774423"/>
                <a:gd name="connsiteX5" fmla="*/ 96803 w 645353"/>
                <a:gd name="connsiteY5" fmla="*/ 496922 h 774423"/>
                <a:gd name="connsiteX6" fmla="*/ 548550 w 645353"/>
                <a:gd name="connsiteY6" fmla="*/ 793785 h 774423"/>
                <a:gd name="connsiteX7" fmla="*/ 458201 w 645353"/>
                <a:gd name="connsiteY7" fmla="*/ 122617 h 774423"/>
                <a:gd name="connsiteX8" fmla="*/ 96803 w 645353"/>
                <a:gd name="connsiteY8" fmla="*/ 496922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774423">
                  <a:moveTo>
                    <a:pt x="561457" y="793785"/>
                  </a:moveTo>
                  <a:lnTo>
                    <a:pt x="96803" y="484015"/>
                  </a:lnTo>
                  <a:lnTo>
                    <a:pt x="96803" y="484015"/>
                  </a:lnTo>
                  <a:lnTo>
                    <a:pt x="471108" y="96803"/>
                  </a:lnTo>
                  <a:lnTo>
                    <a:pt x="561457" y="793785"/>
                  </a:lnTo>
                  <a:close/>
                  <a:moveTo>
                    <a:pt x="96803" y="496922"/>
                  </a:moveTo>
                  <a:lnTo>
                    <a:pt x="548550" y="793785"/>
                  </a:lnTo>
                  <a:lnTo>
                    <a:pt x="458201" y="122617"/>
                  </a:lnTo>
                  <a:lnTo>
                    <a:pt x="96803" y="49692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8" name="Freeform: Shape 3257">
              <a:extLst>
                <a:ext uri="{FF2B5EF4-FFF2-40B4-BE49-F238E27FC236}">
                  <a16:creationId xmlns:a16="http://schemas.microsoft.com/office/drawing/2014/main" id="{94BB7544-35E9-4E5C-A925-7F4D5AEF72EB}"/>
                </a:ext>
              </a:extLst>
            </p:cNvPr>
            <p:cNvSpPr/>
            <p:nvPr/>
          </p:nvSpPr>
          <p:spPr>
            <a:xfrm>
              <a:off x="14419891" y="6932273"/>
              <a:ext cx="516283" cy="516283"/>
            </a:xfrm>
            <a:custGeom>
              <a:avLst/>
              <a:gdLst>
                <a:gd name="connsiteX0" fmla="*/ 96803 w 516282"/>
                <a:gd name="connsiteY0" fmla="*/ 535643 h 516282"/>
                <a:gd name="connsiteX1" fmla="*/ 303316 w 516282"/>
                <a:gd name="connsiteY1" fmla="*/ 96803 h 516282"/>
                <a:gd name="connsiteX2" fmla="*/ 484015 w 516282"/>
                <a:gd name="connsiteY2" fmla="*/ 148431 h 516282"/>
                <a:gd name="connsiteX3" fmla="*/ 484015 w 516282"/>
                <a:gd name="connsiteY3" fmla="*/ 148431 h 516282"/>
                <a:gd name="connsiteX4" fmla="*/ 96803 w 516282"/>
                <a:gd name="connsiteY4" fmla="*/ 535643 h 516282"/>
                <a:gd name="connsiteX5" fmla="*/ 303316 w 516282"/>
                <a:gd name="connsiteY5" fmla="*/ 96803 h 516282"/>
                <a:gd name="connsiteX6" fmla="*/ 122617 w 516282"/>
                <a:gd name="connsiteY6" fmla="*/ 496922 h 516282"/>
                <a:gd name="connsiteX7" fmla="*/ 471108 w 516282"/>
                <a:gd name="connsiteY7" fmla="*/ 135524 h 516282"/>
                <a:gd name="connsiteX8" fmla="*/ 303316 w 516282"/>
                <a:gd name="connsiteY8" fmla="*/ 9680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96803" y="535643"/>
                  </a:moveTo>
                  <a:lnTo>
                    <a:pt x="303316" y="96803"/>
                  </a:lnTo>
                  <a:lnTo>
                    <a:pt x="484015" y="148431"/>
                  </a:lnTo>
                  <a:lnTo>
                    <a:pt x="484015" y="148431"/>
                  </a:lnTo>
                  <a:lnTo>
                    <a:pt x="96803" y="535643"/>
                  </a:lnTo>
                  <a:close/>
                  <a:moveTo>
                    <a:pt x="303316" y="96803"/>
                  </a:moveTo>
                  <a:lnTo>
                    <a:pt x="122617" y="496922"/>
                  </a:lnTo>
                  <a:lnTo>
                    <a:pt x="471108" y="135524"/>
                  </a:lnTo>
                  <a:lnTo>
                    <a:pt x="303316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59" name="Freeform: Shape 3258">
              <a:extLst>
                <a:ext uri="{FF2B5EF4-FFF2-40B4-BE49-F238E27FC236}">
                  <a16:creationId xmlns:a16="http://schemas.microsoft.com/office/drawing/2014/main" id="{C9A593D1-2754-4110-9679-CBF5EA7A1BD9}"/>
                </a:ext>
              </a:extLst>
            </p:cNvPr>
            <p:cNvSpPr/>
            <p:nvPr/>
          </p:nvSpPr>
          <p:spPr>
            <a:xfrm>
              <a:off x="14303727" y="6661225"/>
              <a:ext cx="516283" cy="387212"/>
            </a:xfrm>
            <a:custGeom>
              <a:avLst/>
              <a:gdLst>
                <a:gd name="connsiteX0" fmla="*/ 419480 w 516282"/>
                <a:gd name="connsiteY0" fmla="*/ 367852 h 387211"/>
                <a:gd name="connsiteX1" fmla="*/ 96803 w 516282"/>
                <a:gd name="connsiteY1" fmla="*/ 161338 h 387211"/>
                <a:gd name="connsiteX2" fmla="*/ 406573 w 516282"/>
                <a:gd name="connsiteY2" fmla="*/ 96803 h 387211"/>
                <a:gd name="connsiteX3" fmla="*/ 419480 w 516282"/>
                <a:gd name="connsiteY3" fmla="*/ 367852 h 387211"/>
                <a:gd name="connsiteX4" fmla="*/ 122618 w 516282"/>
                <a:gd name="connsiteY4" fmla="*/ 161338 h 387211"/>
                <a:gd name="connsiteX5" fmla="*/ 419480 w 516282"/>
                <a:gd name="connsiteY5" fmla="*/ 354944 h 387211"/>
                <a:gd name="connsiteX6" fmla="*/ 406573 w 516282"/>
                <a:gd name="connsiteY6" fmla="*/ 96803 h 387211"/>
                <a:gd name="connsiteX7" fmla="*/ 122618 w 516282"/>
                <a:gd name="connsiteY7" fmla="*/ 16133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19480" y="367852"/>
                  </a:moveTo>
                  <a:lnTo>
                    <a:pt x="96803" y="161338"/>
                  </a:lnTo>
                  <a:lnTo>
                    <a:pt x="406573" y="96803"/>
                  </a:lnTo>
                  <a:lnTo>
                    <a:pt x="419480" y="367852"/>
                  </a:lnTo>
                  <a:close/>
                  <a:moveTo>
                    <a:pt x="122618" y="161338"/>
                  </a:moveTo>
                  <a:lnTo>
                    <a:pt x="419480" y="354944"/>
                  </a:lnTo>
                  <a:lnTo>
                    <a:pt x="406573" y="96803"/>
                  </a:lnTo>
                  <a:lnTo>
                    <a:pt x="122618" y="161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0" name="Freeform: Shape 3259">
              <a:extLst>
                <a:ext uri="{FF2B5EF4-FFF2-40B4-BE49-F238E27FC236}">
                  <a16:creationId xmlns:a16="http://schemas.microsoft.com/office/drawing/2014/main" id="{8E171138-3D2B-4D34-B13C-CE07310CD8A4}"/>
                </a:ext>
              </a:extLst>
            </p:cNvPr>
            <p:cNvSpPr/>
            <p:nvPr/>
          </p:nvSpPr>
          <p:spPr>
            <a:xfrm>
              <a:off x="14239192" y="6829016"/>
              <a:ext cx="387212" cy="1161636"/>
            </a:xfrm>
            <a:custGeom>
              <a:avLst/>
              <a:gdLst>
                <a:gd name="connsiteX0" fmla="*/ 161338 w 387211"/>
                <a:gd name="connsiteY0" fmla="*/ 1142276 h 1161635"/>
                <a:gd name="connsiteX1" fmla="*/ 96803 w 387211"/>
                <a:gd name="connsiteY1" fmla="*/ 96803 h 1161635"/>
                <a:gd name="connsiteX2" fmla="*/ 290409 w 387211"/>
                <a:gd name="connsiteY2" fmla="*/ 625993 h 1161635"/>
                <a:gd name="connsiteX3" fmla="*/ 290409 w 387211"/>
                <a:gd name="connsiteY3" fmla="*/ 625993 h 1161635"/>
                <a:gd name="connsiteX4" fmla="*/ 161338 w 387211"/>
                <a:gd name="connsiteY4" fmla="*/ 1142276 h 1161635"/>
                <a:gd name="connsiteX5" fmla="*/ 109710 w 387211"/>
                <a:gd name="connsiteY5" fmla="*/ 135525 h 1161635"/>
                <a:gd name="connsiteX6" fmla="*/ 174245 w 387211"/>
                <a:gd name="connsiteY6" fmla="*/ 1103554 h 1161635"/>
                <a:gd name="connsiteX7" fmla="*/ 290409 w 387211"/>
                <a:gd name="connsiteY7" fmla="*/ 625993 h 1161635"/>
                <a:gd name="connsiteX8" fmla="*/ 109710 w 387211"/>
                <a:gd name="connsiteY8" fmla="*/ 135525 h 1161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1161635">
                  <a:moveTo>
                    <a:pt x="161338" y="1142276"/>
                  </a:moveTo>
                  <a:lnTo>
                    <a:pt x="96803" y="96803"/>
                  </a:lnTo>
                  <a:lnTo>
                    <a:pt x="290409" y="625993"/>
                  </a:lnTo>
                  <a:lnTo>
                    <a:pt x="290409" y="625993"/>
                  </a:lnTo>
                  <a:lnTo>
                    <a:pt x="161338" y="1142276"/>
                  </a:lnTo>
                  <a:close/>
                  <a:moveTo>
                    <a:pt x="109710" y="135525"/>
                  </a:moveTo>
                  <a:lnTo>
                    <a:pt x="174245" y="1103554"/>
                  </a:lnTo>
                  <a:lnTo>
                    <a:pt x="290409" y="625993"/>
                  </a:lnTo>
                  <a:lnTo>
                    <a:pt x="109710" y="1355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1" name="Freeform: Shape 3260">
              <a:extLst>
                <a:ext uri="{FF2B5EF4-FFF2-40B4-BE49-F238E27FC236}">
                  <a16:creationId xmlns:a16="http://schemas.microsoft.com/office/drawing/2014/main" id="{7A7FA7FD-DA2D-42D3-892A-EAF30563A1CB}"/>
                </a:ext>
              </a:extLst>
            </p:cNvPr>
            <p:cNvSpPr/>
            <p:nvPr/>
          </p:nvSpPr>
          <p:spPr>
            <a:xfrm>
              <a:off x="14239192" y="6725760"/>
              <a:ext cx="516283" cy="387212"/>
            </a:xfrm>
            <a:custGeom>
              <a:avLst/>
              <a:gdLst>
                <a:gd name="connsiteX0" fmla="*/ 496922 w 516282"/>
                <a:gd name="connsiteY0" fmla="*/ 303316 h 387211"/>
                <a:gd name="connsiteX1" fmla="*/ 96803 w 516282"/>
                <a:gd name="connsiteY1" fmla="*/ 212967 h 387211"/>
                <a:gd name="connsiteX2" fmla="*/ 174245 w 516282"/>
                <a:gd name="connsiteY2" fmla="*/ 96803 h 387211"/>
                <a:gd name="connsiteX3" fmla="*/ 496922 w 516282"/>
                <a:gd name="connsiteY3" fmla="*/ 303316 h 387211"/>
                <a:gd name="connsiteX4" fmla="*/ 109710 w 516282"/>
                <a:gd name="connsiteY4" fmla="*/ 212967 h 387211"/>
                <a:gd name="connsiteX5" fmla="*/ 471108 w 516282"/>
                <a:gd name="connsiteY5" fmla="*/ 290409 h 387211"/>
                <a:gd name="connsiteX6" fmla="*/ 187153 w 516282"/>
                <a:gd name="connsiteY6" fmla="*/ 96803 h 387211"/>
                <a:gd name="connsiteX7" fmla="*/ 109710 w 516282"/>
                <a:gd name="connsiteY7" fmla="*/ 21296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496922" y="303316"/>
                  </a:moveTo>
                  <a:lnTo>
                    <a:pt x="96803" y="212967"/>
                  </a:lnTo>
                  <a:lnTo>
                    <a:pt x="174245" y="96803"/>
                  </a:lnTo>
                  <a:lnTo>
                    <a:pt x="496922" y="303316"/>
                  </a:lnTo>
                  <a:close/>
                  <a:moveTo>
                    <a:pt x="109710" y="212967"/>
                  </a:moveTo>
                  <a:lnTo>
                    <a:pt x="471108" y="290409"/>
                  </a:lnTo>
                  <a:lnTo>
                    <a:pt x="187153" y="96803"/>
                  </a:lnTo>
                  <a:lnTo>
                    <a:pt x="109710" y="2129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2" name="Freeform: Shape 3261">
              <a:extLst>
                <a:ext uri="{FF2B5EF4-FFF2-40B4-BE49-F238E27FC236}">
                  <a16:creationId xmlns:a16="http://schemas.microsoft.com/office/drawing/2014/main" id="{1967BA97-1A94-4CA3-A344-1B70BD30269A}"/>
                </a:ext>
              </a:extLst>
            </p:cNvPr>
            <p:cNvSpPr/>
            <p:nvPr/>
          </p:nvSpPr>
          <p:spPr>
            <a:xfrm>
              <a:off x="14239192" y="6829016"/>
              <a:ext cx="516283" cy="645353"/>
            </a:xfrm>
            <a:custGeom>
              <a:avLst/>
              <a:gdLst>
                <a:gd name="connsiteX0" fmla="*/ 290409 w 516282"/>
                <a:gd name="connsiteY0" fmla="*/ 625993 h 645353"/>
                <a:gd name="connsiteX1" fmla="*/ 96803 w 516282"/>
                <a:gd name="connsiteY1" fmla="*/ 96803 h 645353"/>
                <a:gd name="connsiteX2" fmla="*/ 484015 w 516282"/>
                <a:gd name="connsiteY2" fmla="*/ 187153 h 645353"/>
                <a:gd name="connsiteX3" fmla="*/ 290409 w 516282"/>
                <a:gd name="connsiteY3" fmla="*/ 625993 h 645353"/>
                <a:gd name="connsiteX4" fmla="*/ 109710 w 516282"/>
                <a:gd name="connsiteY4" fmla="*/ 109710 h 645353"/>
                <a:gd name="connsiteX5" fmla="*/ 290409 w 516282"/>
                <a:gd name="connsiteY5" fmla="*/ 613086 h 645353"/>
                <a:gd name="connsiteX6" fmla="*/ 484015 w 516282"/>
                <a:gd name="connsiteY6" fmla="*/ 200060 h 645353"/>
                <a:gd name="connsiteX7" fmla="*/ 109710 w 516282"/>
                <a:gd name="connsiteY7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290409" y="625993"/>
                  </a:moveTo>
                  <a:lnTo>
                    <a:pt x="96803" y="96803"/>
                  </a:lnTo>
                  <a:lnTo>
                    <a:pt x="484015" y="187153"/>
                  </a:lnTo>
                  <a:lnTo>
                    <a:pt x="290409" y="625993"/>
                  </a:lnTo>
                  <a:close/>
                  <a:moveTo>
                    <a:pt x="109710" y="109710"/>
                  </a:moveTo>
                  <a:lnTo>
                    <a:pt x="290409" y="613086"/>
                  </a:lnTo>
                  <a:lnTo>
                    <a:pt x="484015" y="20006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3" name="Freeform: Shape 3262">
              <a:extLst>
                <a:ext uri="{FF2B5EF4-FFF2-40B4-BE49-F238E27FC236}">
                  <a16:creationId xmlns:a16="http://schemas.microsoft.com/office/drawing/2014/main" id="{9A04F686-B9D8-4578-8C39-56E787E2A6B1}"/>
                </a:ext>
              </a:extLst>
            </p:cNvPr>
            <p:cNvSpPr/>
            <p:nvPr/>
          </p:nvSpPr>
          <p:spPr>
            <a:xfrm>
              <a:off x="14097214" y="6841924"/>
              <a:ext cx="258141" cy="645353"/>
            </a:xfrm>
            <a:custGeom>
              <a:avLst/>
              <a:gdLst>
                <a:gd name="connsiteX0" fmla="*/ 135525 w 258141"/>
                <a:gd name="connsiteY0" fmla="*/ 561457 h 645353"/>
                <a:gd name="connsiteX1" fmla="*/ 96803 w 258141"/>
                <a:gd name="connsiteY1" fmla="*/ 96803 h 645353"/>
                <a:gd name="connsiteX2" fmla="*/ 251687 w 258141"/>
                <a:gd name="connsiteY2" fmla="*/ 96803 h 645353"/>
                <a:gd name="connsiteX3" fmla="*/ 251687 w 258141"/>
                <a:gd name="connsiteY3" fmla="*/ 96803 h 645353"/>
                <a:gd name="connsiteX4" fmla="*/ 135525 w 258141"/>
                <a:gd name="connsiteY4" fmla="*/ 561457 h 645353"/>
                <a:gd name="connsiteX5" fmla="*/ 96803 w 258141"/>
                <a:gd name="connsiteY5" fmla="*/ 109710 h 645353"/>
                <a:gd name="connsiteX6" fmla="*/ 135525 w 258141"/>
                <a:gd name="connsiteY6" fmla="*/ 522736 h 645353"/>
                <a:gd name="connsiteX7" fmla="*/ 238781 w 258141"/>
                <a:gd name="connsiteY7" fmla="*/ 96803 h 645353"/>
                <a:gd name="connsiteX8" fmla="*/ 96803 w 258141"/>
                <a:gd name="connsiteY8" fmla="*/ 10971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645353">
                  <a:moveTo>
                    <a:pt x="135525" y="561457"/>
                  </a:moveTo>
                  <a:lnTo>
                    <a:pt x="96803" y="96803"/>
                  </a:lnTo>
                  <a:lnTo>
                    <a:pt x="251687" y="96803"/>
                  </a:lnTo>
                  <a:lnTo>
                    <a:pt x="251687" y="96803"/>
                  </a:lnTo>
                  <a:lnTo>
                    <a:pt x="135525" y="561457"/>
                  </a:lnTo>
                  <a:close/>
                  <a:moveTo>
                    <a:pt x="96803" y="109710"/>
                  </a:moveTo>
                  <a:lnTo>
                    <a:pt x="135525" y="522736"/>
                  </a:lnTo>
                  <a:lnTo>
                    <a:pt x="238781" y="96803"/>
                  </a:lnTo>
                  <a:lnTo>
                    <a:pt x="96803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4" name="Freeform: Shape 3263">
              <a:extLst>
                <a:ext uri="{FF2B5EF4-FFF2-40B4-BE49-F238E27FC236}">
                  <a16:creationId xmlns:a16="http://schemas.microsoft.com/office/drawing/2014/main" id="{E9728BA4-FC66-4754-9B6B-90BD9CFF1EED}"/>
                </a:ext>
              </a:extLst>
            </p:cNvPr>
            <p:cNvSpPr/>
            <p:nvPr/>
          </p:nvSpPr>
          <p:spPr>
            <a:xfrm>
              <a:off x="14135936" y="6829016"/>
              <a:ext cx="258141" cy="1161636"/>
            </a:xfrm>
            <a:custGeom>
              <a:avLst/>
              <a:gdLst>
                <a:gd name="connsiteX0" fmla="*/ 277501 w 258141"/>
                <a:gd name="connsiteY0" fmla="*/ 1142276 h 1161635"/>
                <a:gd name="connsiteX1" fmla="*/ 96803 w 258141"/>
                <a:gd name="connsiteY1" fmla="*/ 561458 h 1161635"/>
                <a:gd name="connsiteX2" fmla="*/ 96803 w 258141"/>
                <a:gd name="connsiteY2" fmla="*/ 561458 h 1161635"/>
                <a:gd name="connsiteX3" fmla="*/ 200059 w 258141"/>
                <a:gd name="connsiteY3" fmla="*/ 96803 h 1161635"/>
                <a:gd name="connsiteX4" fmla="*/ 200059 w 258141"/>
                <a:gd name="connsiteY4" fmla="*/ 122617 h 1161635"/>
                <a:gd name="connsiteX5" fmla="*/ 277501 w 258141"/>
                <a:gd name="connsiteY5" fmla="*/ 1142276 h 1161635"/>
                <a:gd name="connsiteX6" fmla="*/ 96803 w 258141"/>
                <a:gd name="connsiteY6" fmla="*/ 561458 h 1161635"/>
                <a:gd name="connsiteX7" fmla="*/ 251687 w 258141"/>
                <a:gd name="connsiteY7" fmla="*/ 1090647 h 1161635"/>
                <a:gd name="connsiteX8" fmla="*/ 187152 w 258141"/>
                <a:gd name="connsiteY8" fmla="*/ 135525 h 1161635"/>
                <a:gd name="connsiteX9" fmla="*/ 96803 w 258141"/>
                <a:gd name="connsiteY9" fmla="*/ 561458 h 1161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1161635">
                  <a:moveTo>
                    <a:pt x="277501" y="1142276"/>
                  </a:moveTo>
                  <a:lnTo>
                    <a:pt x="96803" y="561458"/>
                  </a:lnTo>
                  <a:lnTo>
                    <a:pt x="96803" y="561458"/>
                  </a:lnTo>
                  <a:lnTo>
                    <a:pt x="200059" y="96803"/>
                  </a:lnTo>
                  <a:lnTo>
                    <a:pt x="200059" y="122617"/>
                  </a:lnTo>
                  <a:lnTo>
                    <a:pt x="277501" y="1142276"/>
                  </a:lnTo>
                  <a:close/>
                  <a:moveTo>
                    <a:pt x="96803" y="561458"/>
                  </a:moveTo>
                  <a:lnTo>
                    <a:pt x="251687" y="1090647"/>
                  </a:lnTo>
                  <a:lnTo>
                    <a:pt x="187152" y="135525"/>
                  </a:lnTo>
                  <a:lnTo>
                    <a:pt x="96803" y="5614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5" name="Freeform: Shape 3264">
              <a:extLst>
                <a:ext uri="{FF2B5EF4-FFF2-40B4-BE49-F238E27FC236}">
                  <a16:creationId xmlns:a16="http://schemas.microsoft.com/office/drawing/2014/main" id="{7B1596DF-2449-414B-ABC0-32634D9FB581}"/>
                </a:ext>
              </a:extLst>
            </p:cNvPr>
            <p:cNvSpPr/>
            <p:nvPr/>
          </p:nvSpPr>
          <p:spPr>
            <a:xfrm>
              <a:off x="13955237" y="6841924"/>
              <a:ext cx="387212" cy="645353"/>
            </a:xfrm>
            <a:custGeom>
              <a:avLst/>
              <a:gdLst>
                <a:gd name="connsiteX0" fmla="*/ 290409 w 387211"/>
                <a:gd name="connsiteY0" fmla="*/ 561457 h 645353"/>
                <a:gd name="connsiteX1" fmla="*/ 96803 w 387211"/>
                <a:gd name="connsiteY1" fmla="*/ 212966 h 645353"/>
                <a:gd name="connsiteX2" fmla="*/ 251687 w 387211"/>
                <a:gd name="connsiteY2" fmla="*/ 96803 h 645353"/>
                <a:gd name="connsiteX3" fmla="*/ 290409 w 387211"/>
                <a:gd name="connsiteY3" fmla="*/ 561457 h 645353"/>
                <a:gd name="connsiteX4" fmla="*/ 96803 w 387211"/>
                <a:gd name="connsiteY4" fmla="*/ 212966 h 645353"/>
                <a:gd name="connsiteX5" fmla="*/ 277502 w 387211"/>
                <a:gd name="connsiteY5" fmla="*/ 535643 h 645353"/>
                <a:gd name="connsiteX6" fmla="*/ 238781 w 387211"/>
                <a:gd name="connsiteY6" fmla="*/ 109710 h 645353"/>
                <a:gd name="connsiteX7" fmla="*/ 96803 w 387211"/>
                <a:gd name="connsiteY7" fmla="*/ 212966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645353">
                  <a:moveTo>
                    <a:pt x="290409" y="561457"/>
                  </a:moveTo>
                  <a:lnTo>
                    <a:pt x="96803" y="212966"/>
                  </a:lnTo>
                  <a:lnTo>
                    <a:pt x="251687" y="96803"/>
                  </a:lnTo>
                  <a:lnTo>
                    <a:pt x="290409" y="561457"/>
                  </a:lnTo>
                  <a:close/>
                  <a:moveTo>
                    <a:pt x="96803" y="212966"/>
                  </a:moveTo>
                  <a:lnTo>
                    <a:pt x="277502" y="535643"/>
                  </a:lnTo>
                  <a:lnTo>
                    <a:pt x="238781" y="109710"/>
                  </a:lnTo>
                  <a:lnTo>
                    <a:pt x="96803" y="21296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6" name="Freeform: Shape 3265">
              <a:extLst>
                <a:ext uri="{FF2B5EF4-FFF2-40B4-BE49-F238E27FC236}">
                  <a16:creationId xmlns:a16="http://schemas.microsoft.com/office/drawing/2014/main" id="{94E44BA9-6F9F-4DD6-A1A8-3575FCEB7934}"/>
                </a:ext>
              </a:extLst>
            </p:cNvPr>
            <p:cNvSpPr/>
            <p:nvPr/>
          </p:nvSpPr>
          <p:spPr>
            <a:xfrm>
              <a:off x="13877795" y="6945180"/>
              <a:ext cx="387212" cy="516283"/>
            </a:xfrm>
            <a:custGeom>
              <a:avLst/>
              <a:gdLst>
                <a:gd name="connsiteX0" fmla="*/ 367851 w 387211"/>
                <a:gd name="connsiteY0" fmla="*/ 445294 h 516282"/>
                <a:gd name="connsiteX1" fmla="*/ 96803 w 387211"/>
                <a:gd name="connsiteY1" fmla="*/ 303316 h 516282"/>
                <a:gd name="connsiteX2" fmla="*/ 187152 w 387211"/>
                <a:gd name="connsiteY2" fmla="*/ 96803 h 516282"/>
                <a:gd name="connsiteX3" fmla="*/ 367851 w 387211"/>
                <a:gd name="connsiteY3" fmla="*/ 445294 h 516282"/>
                <a:gd name="connsiteX4" fmla="*/ 96803 w 387211"/>
                <a:gd name="connsiteY4" fmla="*/ 303316 h 516282"/>
                <a:gd name="connsiteX5" fmla="*/ 354944 w 387211"/>
                <a:gd name="connsiteY5" fmla="*/ 432386 h 516282"/>
                <a:gd name="connsiteX6" fmla="*/ 174245 w 387211"/>
                <a:gd name="connsiteY6" fmla="*/ 109710 h 516282"/>
                <a:gd name="connsiteX7" fmla="*/ 96803 w 387211"/>
                <a:gd name="connsiteY7" fmla="*/ 303316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367851" y="445294"/>
                  </a:moveTo>
                  <a:lnTo>
                    <a:pt x="96803" y="303316"/>
                  </a:lnTo>
                  <a:lnTo>
                    <a:pt x="187152" y="96803"/>
                  </a:lnTo>
                  <a:lnTo>
                    <a:pt x="367851" y="445294"/>
                  </a:lnTo>
                  <a:close/>
                  <a:moveTo>
                    <a:pt x="96803" y="303316"/>
                  </a:moveTo>
                  <a:lnTo>
                    <a:pt x="354944" y="432386"/>
                  </a:lnTo>
                  <a:lnTo>
                    <a:pt x="174245" y="109710"/>
                  </a:lnTo>
                  <a:lnTo>
                    <a:pt x="96803" y="3033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7" name="Freeform: Shape 3266">
              <a:extLst>
                <a:ext uri="{FF2B5EF4-FFF2-40B4-BE49-F238E27FC236}">
                  <a16:creationId xmlns:a16="http://schemas.microsoft.com/office/drawing/2014/main" id="{1B46FD5F-7DEB-43C2-B317-0552A6FDD3E3}"/>
                </a:ext>
              </a:extLst>
            </p:cNvPr>
            <p:cNvSpPr/>
            <p:nvPr/>
          </p:nvSpPr>
          <p:spPr>
            <a:xfrm>
              <a:off x="13864887" y="7151693"/>
              <a:ext cx="645353" cy="903494"/>
            </a:xfrm>
            <a:custGeom>
              <a:avLst/>
              <a:gdLst>
                <a:gd name="connsiteX0" fmla="*/ 548550 w 645353"/>
                <a:gd name="connsiteY0" fmla="*/ 819599 h 903494"/>
                <a:gd name="connsiteX1" fmla="*/ 96803 w 645353"/>
                <a:gd name="connsiteY1" fmla="*/ 96803 h 903494"/>
                <a:gd name="connsiteX2" fmla="*/ 367852 w 645353"/>
                <a:gd name="connsiteY2" fmla="*/ 238781 h 903494"/>
                <a:gd name="connsiteX3" fmla="*/ 367852 w 645353"/>
                <a:gd name="connsiteY3" fmla="*/ 238781 h 903494"/>
                <a:gd name="connsiteX4" fmla="*/ 548550 w 645353"/>
                <a:gd name="connsiteY4" fmla="*/ 819599 h 903494"/>
                <a:gd name="connsiteX5" fmla="*/ 109711 w 645353"/>
                <a:gd name="connsiteY5" fmla="*/ 109710 h 903494"/>
                <a:gd name="connsiteX6" fmla="*/ 522737 w 645353"/>
                <a:gd name="connsiteY6" fmla="*/ 780878 h 903494"/>
                <a:gd name="connsiteX7" fmla="*/ 367852 w 645353"/>
                <a:gd name="connsiteY7" fmla="*/ 251688 h 903494"/>
                <a:gd name="connsiteX8" fmla="*/ 109711 w 645353"/>
                <a:gd name="connsiteY8" fmla="*/ 109710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903494">
                  <a:moveTo>
                    <a:pt x="548550" y="819599"/>
                  </a:moveTo>
                  <a:lnTo>
                    <a:pt x="96803" y="96803"/>
                  </a:lnTo>
                  <a:lnTo>
                    <a:pt x="367852" y="238781"/>
                  </a:lnTo>
                  <a:lnTo>
                    <a:pt x="367852" y="238781"/>
                  </a:lnTo>
                  <a:lnTo>
                    <a:pt x="548550" y="819599"/>
                  </a:lnTo>
                  <a:close/>
                  <a:moveTo>
                    <a:pt x="109711" y="109710"/>
                  </a:moveTo>
                  <a:lnTo>
                    <a:pt x="522737" y="780878"/>
                  </a:lnTo>
                  <a:lnTo>
                    <a:pt x="367852" y="251688"/>
                  </a:lnTo>
                  <a:lnTo>
                    <a:pt x="10971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8" name="Freeform: Shape 3267">
              <a:extLst>
                <a:ext uri="{FF2B5EF4-FFF2-40B4-BE49-F238E27FC236}">
                  <a16:creationId xmlns:a16="http://schemas.microsoft.com/office/drawing/2014/main" id="{A0C97C77-3B31-4024-A8E3-441636E1495B}"/>
                </a:ext>
              </a:extLst>
            </p:cNvPr>
            <p:cNvSpPr/>
            <p:nvPr/>
          </p:nvSpPr>
          <p:spPr>
            <a:xfrm>
              <a:off x="13864887" y="7138786"/>
              <a:ext cx="516283" cy="1032565"/>
            </a:xfrm>
            <a:custGeom>
              <a:avLst/>
              <a:gdLst>
                <a:gd name="connsiteX0" fmla="*/ 238781 w 516282"/>
                <a:gd name="connsiteY0" fmla="*/ 935762 h 1032565"/>
                <a:gd name="connsiteX1" fmla="*/ 238781 w 516282"/>
                <a:gd name="connsiteY1" fmla="*/ 935762 h 1032565"/>
                <a:gd name="connsiteX2" fmla="*/ 96803 w 516282"/>
                <a:gd name="connsiteY2" fmla="*/ 96803 h 1032565"/>
                <a:gd name="connsiteX3" fmla="*/ 535643 w 516282"/>
                <a:gd name="connsiteY3" fmla="*/ 806692 h 1032565"/>
                <a:gd name="connsiteX4" fmla="*/ 238781 w 516282"/>
                <a:gd name="connsiteY4" fmla="*/ 935762 h 1032565"/>
                <a:gd name="connsiteX5" fmla="*/ 109711 w 516282"/>
                <a:gd name="connsiteY5" fmla="*/ 122617 h 1032565"/>
                <a:gd name="connsiteX6" fmla="*/ 238781 w 516282"/>
                <a:gd name="connsiteY6" fmla="*/ 922855 h 1032565"/>
                <a:gd name="connsiteX7" fmla="*/ 535643 w 516282"/>
                <a:gd name="connsiteY7" fmla="*/ 806692 h 1032565"/>
                <a:gd name="connsiteX8" fmla="*/ 109711 w 516282"/>
                <a:gd name="connsiteY8" fmla="*/ 122617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1032565">
                  <a:moveTo>
                    <a:pt x="238781" y="935762"/>
                  </a:moveTo>
                  <a:lnTo>
                    <a:pt x="238781" y="935762"/>
                  </a:lnTo>
                  <a:lnTo>
                    <a:pt x="96803" y="96803"/>
                  </a:lnTo>
                  <a:lnTo>
                    <a:pt x="535643" y="806692"/>
                  </a:lnTo>
                  <a:lnTo>
                    <a:pt x="238781" y="935762"/>
                  </a:lnTo>
                  <a:close/>
                  <a:moveTo>
                    <a:pt x="109711" y="122617"/>
                  </a:moveTo>
                  <a:lnTo>
                    <a:pt x="238781" y="922855"/>
                  </a:lnTo>
                  <a:lnTo>
                    <a:pt x="535643" y="806692"/>
                  </a:lnTo>
                  <a:lnTo>
                    <a:pt x="109711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69" name="Freeform: Shape 3268">
              <a:extLst>
                <a:ext uri="{FF2B5EF4-FFF2-40B4-BE49-F238E27FC236}">
                  <a16:creationId xmlns:a16="http://schemas.microsoft.com/office/drawing/2014/main" id="{F0D1803D-AF7D-437A-AD1D-2A725D11B714}"/>
                </a:ext>
              </a:extLst>
            </p:cNvPr>
            <p:cNvSpPr/>
            <p:nvPr/>
          </p:nvSpPr>
          <p:spPr>
            <a:xfrm>
              <a:off x="13516397" y="7267857"/>
              <a:ext cx="258141" cy="516283"/>
            </a:xfrm>
            <a:custGeom>
              <a:avLst/>
              <a:gdLst>
                <a:gd name="connsiteX0" fmla="*/ 122617 w 258141"/>
                <a:gd name="connsiteY0" fmla="*/ 458201 h 516282"/>
                <a:gd name="connsiteX1" fmla="*/ 96803 w 258141"/>
                <a:gd name="connsiteY1" fmla="*/ 200059 h 516282"/>
                <a:gd name="connsiteX2" fmla="*/ 96803 w 258141"/>
                <a:gd name="connsiteY2" fmla="*/ 200059 h 516282"/>
                <a:gd name="connsiteX3" fmla="*/ 161338 w 258141"/>
                <a:gd name="connsiteY3" fmla="*/ 96803 h 516282"/>
                <a:gd name="connsiteX4" fmla="*/ 122617 w 258141"/>
                <a:gd name="connsiteY4" fmla="*/ 458201 h 516282"/>
                <a:gd name="connsiteX5" fmla="*/ 122617 w 258141"/>
                <a:gd name="connsiteY5" fmla="*/ 458201 h 516282"/>
                <a:gd name="connsiteX6" fmla="*/ 96803 w 258141"/>
                <a:gd name="connsiteY6" fmla="*/ 200059 h 516282"/>
                <a:gd name="connsiteX7" fmla="*/ 122617 w 258141"/>
                <a:gd name="connsiteY7" fmla="*/ 432386 h 516282"/>
                <a:gd name="connsiteX8" fmla="*/ 148431 w 258141"/>
                <a:gd name="connsiteY8" fmla="*/ 122617 h 516282"/>
                <a:gd name="connsiteX9" fmla="*/ 96803 w 258141"/>
                <a:gd name="connsiteY9" fmla="*/ 200059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516282">
                  <a:moveTo>
                    <a:pt x="122617" y="458201"/>
                  </a:moveTo>
                  <a:lnTo>
                    <a:pt x="96803" y="200059"/>
                  </a:lnTo>
                  <a:lnTo>
                    <a:pt x="96803" y="200059"/>
                  </a:lnTo>
                  <a:lnTo>
                    <a:pt x="161338" y="96803"/>
                  </a:lnTo>
                  <a:lnTo>
                    <a:pt x="122617" y="458201"/>
                  </a:lnTo>
                  <a:lnTo>
                    <a:pt x="122617" y="458201"/>
                  </a:lnTo>
                  <a:close/>
                  <a:moveTo>
                    <a:pt x="96803" y="200059"/>
                  </a:moveTo>
                  <a:lnTo>
                    <a:pt x="122617" y="432386"/>
                  </a:lnTo>
                  <a:lnTo>
                    <a:pt x="148431" y="122617"/>
                  </a:lnTo>
                  <a:lnTo>
                    <a:pt x="96803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0" name="Freeform: Shape 3269">
              <a:extLst>
                <a:ext uri="{FF2B5EF4-FFF2-40B4-BE49-F238E27FC236}">
                  <a16:creationId xmlns:a16="http://schemas.microsoft.com/office/drawing/2014/main" id="{EE8CE05B-9450-4AAF-90E2-78F1D13601C0}"/>
                </a:ext>
              </a:extLst>
            </p:cNvPr>
            <p:cNvSpPr/>
            <p:nvPr/>
          </p:nvSpPr>
          <p:spPr>
            <a:xfrm>
              <a:off x="13542210" y="7138786"/>
              <a:ext cx="516283" cy="645353"/>
            </a:xfrm>
            <a:custGeom>
              <a:avLst/>
              <a:gdLst>
                <a:gd name="connsiteX0" fmla="*/ 96803 w 516282"/>
                <a:gd name="connsiteY0" fmla="*/ 600179 h 645353"/>
                <a:gd name="connsiteX1" fmla="*/ 122618 w 516282"/>
                <a:gd name="connsiteY1" fmla="*/ 225874 h 645353"/>
                <a:gd name="connsiteX2" fmla="*/ 432387 w 516282"/>
                <a:gd name="connsiteY2" fmla="*/ 96803 h 645353"/>
                <a:gd name="connsiteX3" fmla="*/ 96803 w 516282"/>
                <a:gd name="connsiteY3" fmla="*/ 600179 h 645353"/>
                <a:gd name="connsiteX4" fmla="*/ 122618 w 516282"/>
                <a:gd name="connsiteY4" fmla="*/ 238780 h 645353"/>
                <a:gd name="connsiteX5" fmla="*/ 96803 w 516282"/>
                <a:gd name="connsiteY5" fmla="*/ 587271 h 645353"/>
                <a:gd name="connsiteX6" fmla="*/ 419480 w 516282"/>
                <a:gd name="connsiteY6" fmla="*/ 122617 h 645353"/>
                <a:gd name="connsiteX7" fmla="*/ 122618 w 516282"/>
                <a:gd name="connsiteY7" fmla="*/ 238780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645353">
                  <a:moveTo>
                    <a:pt x="96803" y="600179"/>
                  </a:moveTo>
                  <a:lnTo>
                    <a:pt x="122618" y="225874"/>
                  </a:lnTo>
                  <a:lnTo>
                    <a:pt x="432387" y="96803"/>
                  </a:lnTo>
                  <a:lnTo>
                    <a:pt x="96803" y="600179"/>
                  </a:lnTo>
                  <a:close/>
                  <a:moveTo>
                    <a:pt x="122618" y="238780"/>
                  </a:moveTo>
                  <a:lnTo>
                    <a:pt x="96803" y="587271"/>
                  </a:lnTo>
                  <a:lnTo>
                    <a:pt x="419480" y="122617"/>
                  </a:lnTo>
                  <a:lnTo>
                    <a:pt x="122618" y="2387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1" name="Freeform: Shape 3270">
              <a:extLst>
                <a:ext uri="{FF2B5EF4-FFF2-40B4-BE49-F238E27FC236}">
                  <a16:creationId xmlns:a16="http://schemas.microsoft.com/office/drawing/2014/main" id="{607A8A7D-816A-4A67-97D8-30465EB33A81}"/>
                </a:ext>
              </a:extLst>
            </p:cNvPr>
            <p:cNvSpPr/>
            <p:nvPr/>
          </p:nvSpPr>
          <p:spPr>
            <a:xfrm>
              <a:off x="13529303" y="7603440"/>
              <a:ext cx="645353" cy="516283"/>
            </a:xfrm>
            <a:custGeom>
              <a:avLst/>
              <a:gdLst>
                <a:gd name="connsiteX0" fmla="*/ 406573 w 645353"/>
                <a:gd name="connsiteY0" fmla="*/ 471108 h 516282"/>
                <a:gd name="connsiteX1" fmla="*/ 406573 w 645353"/>
                <a:gd name="connsiteY1" fmla="*/ 471108 h 516282"/>
                <a:gd name="connsiteX2" fmla="*/ 96803 w 645353"/>
                <a:gd name="connsiteY2" fmla="*/ 96803 h 516282"/>
                <a:gd name="connsiteX3" fmla="*/ 587272 w 645353"/>
                <a:gd name="connsiteY3" fmla="*/ 458201 h 516282"/>
                <a:gd name="connsiteX4" fmla="*/ 406573 w 645353"/>
                <a:gd name="connsiteY4" fmla="*/ 471108 h 516282"/>
                <a:gd name="connsiteX5" fmla="*/ 122618 w 645353"/>
                <a:gd name="connsiteY5" fmla="*/ 135525 h 516282"/>
                <a:gd name="connsiteX6" fmla="*/ 393666 w 645353"/>
                <a:gd name="connsiteY6" fmla="*/ 458201 h 516282"/>
                <a:gd name="connsiteX7" fmla="*/ 561457 w 645353"/>
                <a:gd name="connsiteY7" fmla="*/ 445294 h 516282"/>
                <a:gd name="connsiteX8" fmla="*/ 122618 w 645353"/>
                <a:gd name="connsiteY8" fmla="*/ 13552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516282">
                  <a:moveTo>
                    <a:pt x="406573" y="471108"/>
                  </a:moveTo>
                  <a:lnTo>
                    <a:pt x="406573" y="471108"/>
                  </a:lnTo>
                  <a:lnTo>
                    <a:pt x="96803" y="96803"/>
                  </a:lnTo>
                  <a:lnTo>
                    <a:pt x="587272" y="458201"/>
                  </a:lnTo>
                  <a:lnTo>
                    <a:pt x="406573" y="471108"/>
                  </a:lnTo>
                  <a:close/>
                  <a:moveTo>
                    <a:pt x="122618" y="135525"/>
                  </a:moveTo>
                  <a:lnTo>
                    <a:pt x="393666" y="458201"/>
                  </a:lnTo>
                  <a:lnTo>
                    <a:pt x="561457" y="445294"/>
                  </a:lnTo>
                  <a:lnTo>
                    <a:pt x="122618" y="1355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2" name="Freeform: Shape 3271">
              <a:extLst>
                <a:ext uri="{FF2B5EF4-FFF2-40B4-BE49-F238E27FC236}">
                  <a16:creationId xmlns:a16="http://schemas.microsoft.com/office/drawing/2014/main" id="{7BE720EA-4942-4D88-83AA-4AFE69DE7171}"/>
                </a:ext>
              </a:extLst>
            </p:cNvPr>
            <p:cNvSpPr/>
            <p:nvPr/>
          </p:nvSpPr>
          <p:spPr>
            <a:xfrm>
              <a:off x="13529303" y="7138786"/>
              <a:ext cx="645353" cy="1032565"/>
            </a:xfrm>
            <a:custGeom>
              <a:avLst/>
              <a:gdLst>
                <a:gd name="connsiteX0" fmla="*/ 574365 w 645353"/>
                <a:gd name="connsiteY0" fmla="*/ 935762 h 1032565"/>
                <a:gd name="connsiteX1" fmla="*/ 574365 w 645353"/>
                <a:gd name="connsiteY1" fmla="*/ 935762 h 1032565"/>
                <a:gd name="connsiteX2" fmla="*/ 96803 w 645353"/>
                <a:gd name="connsiteY2" fmla="*/ 587271 h 1032565"/>
                <a:gd name="connsiteX3" fmla="*/ 96803 w 645353"/>
                <a:gd name="connsiteY3" fmla="*/ 587271 h 1032565"/>
                <a:gd name="connsiteX4" fmla="*/ 432386 w 645353"/>
                <a:gd name="connsiteY4" fmla="*/ 96803 h 1032565"/>
                <a:gd name="connsiteX5" fmla="*/ 432386 w 645353"/>
                <a:gd name="connsiteY5" fmla="*/ 109710 h 1032565"/>
                <a:gd name="connsiteX6" fmla="*/ 574365 w 645353"/>
                <a:gd name="connsiteY6" fmla="*/ 935762 h 1032565"/>
                <a:gd name="connsiteX7" fmla="*/ 109710 w 645353"/>
                <a:gd name="connsiteY7" fmla="*/ 587271 h 1032565"/>
                <a:gd name="connsiteX8" fmla="*/ 574365 w 645353"/>
                <a:gd name="connsiteY8" fmla="*/ 922855 h 1032565"/>
                <a:gd name="connsiteX9" fmla="*/ 445294 w 645353"/>
                <a:gd name="connsiteY9" fmla="*/ 122617 h 1032565"/>
                <a:gd name="connsiteX10" fmla="*/ 109710 w 645353"/>
                <a:gd name="connsiteY10" fmla="*/ 587271 h 10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5353" h="1032565">
                  <a:moveTo>
                    <a:pt x="574365" y="935762"/>
                  </a:moveTo>
                  <a:lnTo>
                    <a:pt x="574365" y="935762"/>
                  </a:lnTo>
                  <a:lnTo>
                    <a:pt x="96803" y="587271"/>
                  </a:lnTo>
                  <a:lnTo>
                    <a:pt x="96803" y="587271"/>
                  </a:lnTo>
                  <a:lnTo>
                    <a:pt x="432386" y="96803"/>
                  </a:lnTo>
                  <a:lnTo>
                    <a:pt x="432386" y="109710"/>
                  </a:lnTo>
                  <a:lnTo>
                    <a:pt x="574365" y="935762"/>
                  </a:lnTo>
                  <a:close/>
                  <a:moveTo>
                    <a:pt x="109710" y="587271"/>
                  </a:moveTo>
                  <a:lnTo>
                    <a:pt x="574365" y="922855"/>
                  </a:lnTo>
                  <a:lnTo>
                    <a:pt x="445294" y="122617"/>
                  </a:lnTo>
                  <a:lnTo>
                    <a:pt x="109710" y="5872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3" name="Freeform: Shape 3272">
              <a:extLst>
                <a:ext uri="{FF2B5EF4-FFF2-40B4-BE49-F238E27FC236}">
                  <a16:creationId xmlns:a16="http://schemas.microsoft.com/office/drawing/2014/main" id="{7774BB96-3BC6-4186-92BC-19B64B04956B}"/>
                </a:ext>
              </a:extLst>
            </p:cNvPr>
            <p:cNvSpPr/>
            <p:nvPr/>
          </p:nvSpPr>
          <p:spPr>
            <a:xfrm>
              <a:off x="13542210" y="7629254"/>
              <a:ext cx="387212" cy="516283"/>
            </a:xfrm>
            <a:custGeom>
              <a:avLst/>
              <a:gdLst>
                <a:gd name="connsiteX0" fmla="*/ 406573 w 387211"/>
                <a:gd name="connsiteY0" fmla="*/ 458201 h 516282"/>
                <a:gd name="connsiteX1" fmla="*/ 161338 w 387211"/>
                <a:gd name="connsiteY1" fmla="*/ 316223 h 516282"/>
                <a:gd name="connsiteX2" fmla="*/ 161338 w 387211"/>
                <a:gd name="connsiteY2" fmla="*/ 316223 h 516282"/>
                <a:gd name="connsiteX3" fmla="*/ 96803 w 387211"/>
                <a:gd name="connsiteY3" fmla="*/ 96803 h 516282"/>
                <a:gd name="connsiteX4" fmla="*/ 406573 w 387211"/>
                <a:gd name="connsiteY4" fmla="*/ 458201 h 516282"/>
                <a:gd name="connsiteX5" fmla="*/ 161338 w 387211"/>
                <a:gd name="connsiteY5" fmla="*/ 303316 h 516282"/>
                <a:gd name="connsiteX6" fmla="*/ 380759 w 387211"/>
                <a:gd name="connsiteY6" fmla="*/ 432387 h 516282"/>
                <a:gd name="connsiteX7" fmla="*/ 109711 w 387211"/>
                <a:gd name="connsiteY7" fmla="*/ 109710 h 516282"/>
                <a:gd name="connsiteX8" fmla="*/ 161338 w 387211"/>
                <a:gd name="connsiteY8" fmla="*/ 303316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516282">
                  <a:moveTo>
                    <a:pt x="406573" y="458201"/>
                  </a:moveTo>
                  <a:lnTo>
                    <a:pt x="161338" y="316223"/>
                  </a:lnTo>
                  <a:lnTo>
                    <a:pt x="161338" y="316223"/>
                  </a:lnTo>
                  <a:lnTo>
                    <a:pt x="96803" y="96803"/>
                  </a:lnTo>
                  <a:lnTo>
                    <a:pt x="406573" y="458201"/>
                  </a:lnTo>
                  <a:close/>
                  <a:moveTo>
                    <a:pt x="161338" y="303316"/>
                  </a:moveTo>
                  <a:lnTo>
                    <a:pt x="380759" y="432387"/>
                  </a:lnTo>
                  <a:lnTo>
                    <a:pt x="109711" y="109710"/>
                  </a:lnTo>
                  <a:lnTo>
                    <a:pt x="161338" y="3033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4" name="Freeform: Shape 3273">
              <a:extLst>
                <a:ext uri="{FF2B5EF4-FFF2-40B4-BE49-F238E27FC236}">
                  <a16:creationId xmlns:a16="http://schemas.microsoft.com/office/drawing/2014/main" id="{91ADDA91-D331-4B6F-8B83-4F6EE4CAFACF}"/>
                </a:ext>
              </a:extLst>
            </p:cNvPr>
            <p:cNvSpPr/>
            <p:nvPr/>
          </p:nvSpPr>
          <p:spPr>
            <a:xfrm>
              <a:off x="13568025" y="7822860"/>
              <a:ext cx="258141" cy="387212"/>
            </a:xfrm>
            <a:custGeom>
              <a:avLst/>
              <a:gdLst>
                <a:gd name="connsiteX0" fmla="*/ 251687 w 258141"/>
                <a:gd name="connsiteY0" fmla="*/ 329130 h 387211"/>
                <a:gd name="connsiteX1" fmla="*/ 96803 w 258141"/>
                <a:gd name="connsiteY1" fmla="*/ 277502 h 387211"/>
                <a:gd name="connsiteX2" fmla="*/ 135524 w 258141"/>
                <a:gd name="connsiteY2" fmla="*/ 96803 h 387211"/>
                <a:gd name="connsiteX3" fmla="*/ 251687 w 258141"/>
                <a:gd name="connsiteY3" fmla="*/ 329130 h 387211"/>
                <a:gd name="connsiteX4" fmla="*/ 96803 w 258141"/>
                <a:gd name="connsiteY4" fmla="*/ 277502 h 387211"/>
                <a:gd name="connsiteX5" fmla="*/ 225874 w 258141"/>
                <a:gd name="connsiteY5" fmla="*/ 316223 h 387211"/>
                <a:gd name="connsiteX6" fmla="*/ 122617 w 258141"/>
                <a:gd name="connsiteY6" fmla="*/ 122617 h 387211"/>
                <a:gd name="connsiteX7" fmla="*/ 96803 w 258141"/>
                <a:gd name="connsiteY7" fmla="*/ 277502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51687" y="329130"/>
                  </a:moveTo>
                  <a:lnTo>
                    <a:pt x="96803" y="277502"/>
                  </a:lnTo>
                  <a:lnTo>
                    <a:pt x="135524" y="96803"/>
                  </a:lnTo>
                  <a:lnTo>
                    <a:pt x="251687" y="329130"/>
                  </a:lnTo>
                  <a:close/>
                  <a:moveTo>
                    <a:pt x="96803" y="277502"/>
                  </a:moveTo>
                  <a:lnTo>
                    <a:pt x="225874" y="316223"/>
                  </a:lnTo>
                  <a:lnTo>
                    <a:pt x="122617" y="122617"/>
                  </a:lnTo>
                  <a:lnTo>
                    <a:pt x="96803" y="2775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5" name="Freeform: Shape 3274">
              <a:extLst>
                <a:ext uri="{FF2B5EF4-FFF2-40B4-BE49-F238E27FC236}">
                  <a16:creationId xmlns:a16="http://schemas.microsoft.com/office/drawing/2014/main" id="{6F5D9C86-F672-408E-8E89-035C5D0832E4}"/>
                </a:ext>
              </a:extLst>
            </p:cNvPr>
            <p:cNvSpPr/>
            <p:nvPr/>
          </p:nvSpPr>
          <p:spPr>
            <a:xfrm>
              <a:off x="13593839" y="7822860"/>
              <a:ext cx="387212" cy="387212"/>
            </a:xfrm>
            <a:custGeom>
              <a:avLst/>
              <a:gdLst>
                <a:gd name="connsiteX0" fmla="*/ 212967 w 387211"/>
                <a:gd name="connsiteY0" fmla="*/ 329130 h 387211"/>
                <a:gd name="connsiteX1" fmla="*/ 96803 w 387211"/>
                <a:gd name="connsiteY1" fmla="*/ 96803 h 387211"/>
                <a:gd name="connsiteX2" fmla="*/ 342037 w 387211"/>
                <a:gd name="connsiteY2" fmla="*/ 238781 h 387211"/>
                <a:gd name="connsiteX3" fmla="*/ 212967 w 387211"/>
                <a:gd name="connsiteY3" fmla="*/ 329130 h 387211"/>
                <a:gd name="connsiteX4" fmla="*/ 109710 w 387211"/>
                <a:gd name="connsiteY4" fmla="*/ 122617 h 387211"/>
                <a:gd name="connsiteX5" fmla="*/ 212967 w 387211"/>
                <a:gd name="connsiteY5" fmla="*/ 329130 h 387211"/>
                <a:gd name="connsiteX6" fmla="*/ 329131 w 387211"/>
                <a:gd name="connsiteY6" fmla="*/ 251688 h 387211"/>
                <a:gd name="connsiteX7" fmla="*/ 109710 w 387211"/>
                <a:gd name="connsiteY7" fmla="*/ 122617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212967" y="329130"/>
                  </a:moveTo>
                  <a:lnTo>
                    <a:pt x="96803" y="96803"/>
                  </a:lnTo>
                  <a:lnTo>
                    <a:pt x="342037" y="238781"/>
                  </a:lnTo>
                  <a:lnTo>
                    <a:pt x="212967" y="329130"/>
                  </a:lnTo>
                  <a:close/>
                  <a:moveTo>
                    <a:pt x="109710" y="122617"/>
                  </a:moveTo>
                  <a:lnTo>
                    <a:pt x="212967" y="329130"/>
                  </a:lnTo>
                  <a:lnTo>
                    <a:pt x="329131" y="251688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6" name="Freeform: Shape 3275">
              <a:extLst>
                <a:ext uri="{FF2B5EF4-FFF2-40B4-BE49-F238E27FC236}">
                  <a16:creationId xmlns:a16="http://schemas.microsoft.com/office/drawing/2014/main" id="{CA621F76-FA86-45EC-802D-F5D8FE5CA4FA}"/>
                </a:ext>
              </a:extLst>
            </p:cNvPr>
            <p:cNvSpPr/>
            <p:nvPr/>
          </p:nvSpPr>
          <p:spPr>
            <a:xfrm>
              <a:off x="13697096" y="7964838"/>
              <a:ext cx="516283" cy="258141"/>
            </a:xfrm>
            <a:custGeom>
              <a:avLst/>
              <a:gdLst>
                <a:gd name="connsiteX0" fmla="*/ 96803 w 516282"/>
                <a:gd name="connsiteY0" fmla="*/ 200059 h 258141"/>
                <a:gd name="connsiteX1" fmla="*/ 238781 w 516282"/>
                <a:gd name="connsiteY1" fmla="*/ 109710 h 258141"/>
                <a:gd name="connsiteX2" fmla="*/ 445293 w 516282"/>
                <a:gd name="connsiteY2" fmla="*/ 96803 h 258141"/>
                <a:gd name="connsiteX3" fmla="*/ 96803 w 516282"/>
                <a:gd name="connsiteY3" fmla="*/ 200059 h 258141"/>
                <a:gd name="connsiteX4" fmla="*/ 238781 w 516282"/>
                <a:gd name="connsiteY4" fmla="*/ 109710 h 258141"/>
                <a:gd name="connsiteX5" fmla="*/ 135524 w 516282"/>
                <a:gd name="connsiteY5" fmla="*/ 174245 h 258141"/>
                <a:gd name="connsiteX6" fmla="*/ 380758 w 516282"/>
                <a:gd name="connsiteY6" fmla="*/ 96803 h 258141"/>
                <a:gd name="connsiteX7" fmla="*/ 238781 w 516282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96803" y="200059"/>
                  </a:moveTo>
                  <a:lnTo>
                    <a:pt x="238781" y="109710"/>
                  </a:lnTo>
                  <a:lnTo>
                    <a:pt x="445293" y="96803"/>
                  </a:lnTo>
                  <a:lnTo>
                    <a:pt x="96803" y="200059"/>
                  </a:lnTo>
                  <a:close/>
                  <a:moveTo>
                    <a:pt x="238781" y="109710"/>
                  </a:moveTo>
                  <a:lnTo>
                    <a:pt x="135524" y="174245"/>
                  </a:lnTo>
                  <a:lnTo>
                    <a:pt x="380758" y="96803"/>
                  </a:lnTo>
                  <a:lnTo>
                    <a:pt x="23878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7" name="Freeform: Shape 3276">
              <a:extLst>
                <a:ext uri="{FF2B5EF4-FFF2-40B4-BE49-F238E27FC236}">
                  <a16:creationId xmlns:a16="http://schemas.microsoft.com/office/drawing/2014/main" id="{858203B7-7D62-4484-9AEC-9CCD03B423AA}"/>
                </a:ext>
              </a:extLst>
            </p:cNvPr>
            <p:cNvSpPr/>
            <p:nvPr/>
          </p:nvSpPr>
          <p:spPr>
            <a:xfrm>
              <a:off x="14987802" y="8403678"/>
              <a:ext cx="258141" cy="258141"/>
            </a:xfrm>
            <a:custGeom>
              <a:avLst/>
              <a:gdLst>
                <a:gd name="connsiteX0" fmla="*/ 187152 w 258141"/>
                <a:gd name="connsiteY0" fmla="*/ 264595 h 258141"/>
                <a:gd name="connsiteX1" fmla="*/ 96803 w 258141"/>
                <a:gd name="connsiteY1" fmla="*/ 96803 h 258141"/>
                <a:gd name="connsiteX2" fmla="*/ 277502 w 258141"/>
                <a:gd name="connsiteY2" fmla="*/ 96803 h 258141"/>
                <a:gd name="connsiteX3" fmla="*/ 187152 w 258141"/>
                <a:gd name="connsiteY3" fmla="*/ 264595 h 258141"/>
                <a:gd name="connsiteX4" fmla="*/ 109710 w 258141"/>
                <a:gd name="connsiteY4" fmla="*/ 109710 h 258141"/>
                <a:gd name="connsiteX5" fmla="*/ 187152 w 258141"/>
                <a:gd name="connsiteY5" fmla="*/ 251688 h 258141"/>
                <a:gd name="connsiteX6" fmla="*/ 264594 w 258141"/>
                <a:gd name="connsiteY6" fmla="*/ 109710 h 258141"/>
                <a:gd name="connsiteX7" fmla="*/ 109710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87152" y="264595"/>
                  </a:moveTo>
                  <a:lnTo>
                    <a:pt x="96803" y="96803"/>
                  </a:lnTo>
                  <a:lnTo>
                    <a:pt x="277502" y="96803"/>
                  </a:lnTo>
                  <a:lnTo>
                    <a:pt x="187152" y="264595"/>
                  </a:lnTo>
                  <a:close/>
                  <a:moveTo>
                    <a:pt x="109710" y="109710"/>
                  </a:moveTo>
                  <a:lnTo>
                    <a:pt x="187152" y="251688"/>
                  </a:lnTo>
                  <a:lnTo>
                    <a:pt x="264594" y="10971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8" name="Freeform: Shape 3277">
              <a:extLst>
                <a:ext uri="{FF2B5EF4-FFF2-40B4-BE49-F238E27FC236}">
                  <a16:creationId xmlns:a16="http://schemas.microsoft.com/office/drawing/2014/main" id="{474041CC-A401-4546-9A03-7467BB33603C}"/>
                </a:ext>
              </a:extLst>
            </p:cNvPr>
            <p:cNvSpPr/>
            <p:nvPr/>
          </p:nvSpPr>
          <p:spPr>
            <a:xfrm>
              <a:off x="16304322" y="8003560"/>
              <a:ext cx="258141" cy="516283"/>
            </a:xfrm>
            <a:custGeom>
              <a:avLst/>
              <a:gdLst>
                <a:gd name="connsiteX0" fmla="*/ 96803 w 258141"/>
                <a:gd name="connsiteY0" fmla="*/ 496922 h 516282"/>
                <a:gd name="connsiteX1" fmla="*/ 135525 w 258141"/>
                <a:gd name="connsiteY1" fmla="*/ 96803 h 516282"/>
                <a:gd name="connsiteX2" fmla="*/ 174245 w 258141"/>
                <a:gd name="connsiteY2" fmla="*/ 393665 h 516282"/>
                <a:gd name="connsiteX3" fmla="*/ 96803 w 258141"/>
                <a:gd name="connsiteY3" fmla="*/ 496922 h 516282"/>
                <a:gd name="connsiteX4" fmla="*/ 148431 w 258141"/>
                <a:gd name="connsiteY4" fmla="*/ 148431 h 516282"/>
                <a:gd name="connsiteX5" fmla="*/ 122618 w 258141"/>
                <a:gd name="connsiteY5" fmla="*/ 471108 h 516282"/>
                <a:gd name="connsiteX6" fmla="*/ 187153 w 258141"/>
                <a:gd name="connsiteY6" fmla="*/ 380759 h 516282"/>
                <a:gd name="connsiteX7" fmla="*/ 148431 w 258141"/>
                <a:gd name="connsiteY7" fmla="*/ 14843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96803" y="496922"/>
                  </a:moveTo>
                  <a:lnTo>
                    <a:pt x="135525" y="96803"/>
                  </a:lnTo>
                  <a:lnTo>
                    <a:pt x="174245" y="393665"/>
                  </a:lnTo>
                  <a:lnTo>
                    <a:pt x="96803" y="496922"/>
                  </a:lnTo>
                  <a:close/>
                  <a:moveTo>
                    <a:pt x="148431" y="148431"/>
                  </a:moveTo>
                  <a:lnTo>
                    <a:pt x="122618" y="471108"/>
                  </a:lnTo>
                  <a:lnTo>
                    <a:pt x="187153" y="380759"/>
                  </a:lnTo>
                  <a:lnTo>
                    <a:pt x="148431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79" name="Freeform: Shape 3278">
              <a:extLst>
                <a:ext uri="{FF2B5EF4-FFF2-40B4-BE49-F238E27FC236}">
                  <a16:creationId xmlns:a16="http://schemas.microsoft.com/office/drawing/2014/main" id="{CB1B0465-D1F1-493F-949B-884C5ADE50E1}"/>
                </a:ext>
              </a:extLst>
            </p:cNvPr>
            <p:cNvSpPr/>
            <p:nvPr/>
          </p:nvSpPr>
          <p:spPr>
            <a:xfrm>
              <a:off x="16343044" y="8016466"/>
              <a:ext cx="387212" cy="387212"/>
            </a:xfrm>
            <a:custGeom>
              <a:avLst/>
              <a:gdLst>
                <a:gd name="connsiteX0" fmla="*/ 135524 w 387211"/>
                <a:gd name="connsiteY0" fmla="*/ 367852 h 387211"/>
                <a:gd name="connsiteX1" fmla="*/ 96803 w 387211"/>
                <a:gd name="connsiteY1" fmla="*/ 96803 h 387211"/>
                <a:gd name="connsiteX2" fmla="*/ 354944 w 387211"/>
                <a:gd name="connsiteY2" fmla="*/ 354944 h 387211"/>
                <a:gd name="connsiteX3" fmla="*/ 135524 w 387211"/>
                <a:gd name="connsiteY3" fmla="*/ 367852 h 387211"/>
                <a:gd name="connsiteX4" fmla="*/ 109710 w 387211"/>
                <a:gd name="connsiteY4" fmla="*/ 109710 h 387211"/>
                <a:gd name="connsiteX5" fmla="*/ 148431 w 387211"/>
                <a:gd name="connsiteY5" fmla="*/ 367852 h 387211"/>
                <a:gd name="connsiteX6" fmla="*/ 354944 w 387211"/>
                <a:gd name="connsiteY6" fmla="*/ 342037 h 387211"/>
                <a:gd name="connsiteX7" fmla="*/ 109710 w 387211"/>
                <a:gd name="connsiteY7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35524" y="367852"/>
                  </a:moveTo>
                  <a:lnTo>
                    <a:pt x="96803" y="96803"/>
                  </a:lnTo>
                  <a:lnTo>
                    <a:pt x="354944" y="354944"/>
                  </a:lnTo>
                  <a:lnTo>
                    <a:pt x="135524" y="367852"/>
                  </a:lnTo>
                  <a:close/>
                  <a:moveTo>
                    <a:pt x="109710" y="109710"/>
                  </a:moveTo>
                  <a:lnTo>
                    <a:pt x="148431" y="367852"/>
                  </a:lnTo>
                  <a:lnTo>
                    <a:pt x="354944" y="342037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0" name="Freeform: Shape 3279">
              <a:extLst>
                <a:ext uri="{FF2B5EF4-FFF2-40B4-BE49-F238E27FC236}">
                  <a16:creationId xmlns:a16="http://schemas.microsoft.com/office/drawing/2014/main" id="{94AB3296-B857-4989-9216-65FDBE219BB8}"/>
                </a:ext>
              </a:extLst>
            </p:cNvPr>
            <p:cNvSpPr/>
            <p:nvPr/>
          </p:nvSpPr>
          <p:spPr>
            <a:xfrm>
              <a:off x="16304322" y="8287515"/>
              <a:ext cx="258141" cy="258141"/>
            </a:xfrm>
            <a:custGeom>
              <a:avLst/>
              <a:gdLst>
                <a:gd name="connsiteX0" fmla="*/ 264595 w 258141"/>
                <a:gd name="connsiteY0" fmla="*/ 251687 h 258141"/>
                <a:gd name="connsiteX1" fmla="*/ 96803 w 258141"/>
                <a:gd name="connsiteY1" fmla="*/ 200059 h 258141"/>
                <a:gd name="connsiteX2" fmla="*/ 174245 w 258141"/>
                <a:gd name="connsiteY2" fmla="*/ 96803 h 258141"/>
                <a:gd name="connsiteX3" fmla="*/ 264595 w 258141"/>
                <a:gd name="connsiteY3" fmla="*/ 251687 h 258141"/>
                <a:gd name="connsiteX4" fmla="*/ 109710 w 258141"/>
                <a:gd name="connsiteY4" fmla="*/ 200059 h 258141"/>
                <a:gd name="connsiteX5" fmla="*/ 251688 w 258141"/>
                <a:gd name="connsiteY5" fmla="*/ 251687 h 258141"/>
                <a:gd name="connsiteX6" fmla="*/ 174245 w 258141"/>
                <a:gd name="connsiteY6" fmla="*/ 109710 h 258141"/>
                <a:gd name="connsiteX7" fmla="*/ 109710 w 258141"/>
                <a:gd name="connsiteY7" fmla="*/ 200059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264595" y="251687"/>
                  </a:moveTo>
                  <a:lnTo>
                    <a:pt x="96803" y="200059"/>
                  </a:lnTo>
                  <a:lnTo>
                    <a:pt x="174245" y="96803"/>
                  </a:lnTo>
                  <a:lnTo>
                    <a:pt x="264595" y="251687"/>
                  </a:lnTo>
                  <a:close/>
                  <a:moveTo>
                    <a:pt x="109710" y="200059"/>
                  </a:moveTo>
                  <a:lnTo>
                    <a:pt x="251688" y="251687"/>
                  </a:lnTo>
                  <a:lnTo>
                    <a:pt x="174245" y="109710"/>
                  </a:lnTo>
                  <a:lnTo>
                    <a:pt x="109710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1" name="Freeform: Shape 3280">
              <a:extLst>
                <a:ext uri="{FF2B5EF4-FFF2-40B4-BE49-F238E27FC236}">
                  <a16:creationId xmlns:a16="http://schemas.microsoft.com/office/drawing/2014/main" id="{4588ADC4-F4FD-4EB4-B1B0-6919D6A5BA02}"/>
                </a:ext>
              </a:extLst>
            </p:cNvPr>
            <p:cNvSpPr/>
            <p:nvPr/>
          </p:nvSpPr>
          <p:spPr>
            <a:xfrm>
              <a:off x="16381765" y="8261701"/>
              <a:ext cx="387212" cy="258141"/>
            </a:xfrm>
            <a:custGeom>
              <a:avLst/>
              <a:gdLst>
                <a:gd name="connsiteX0" fmla="*/ 187153 w 387211"/>
                <a:gd name="connsiteY0" fmla="*/ 277502 h 258141"/>
                <a:gd name="connsiteX1" fmla="*/ 96803 w 387211"/>
                <a:gd name="connsiteY1" fmla="*/ 122617 h 258141"/>
                <a:gd name="connsiteX2" fmla="*/ 316224 w 387211"/>
                <a:gd name="connsiteY2" fmla="*/ 96803 h 258141"/>
                <a:gd name="connsiteX3" fmla="*/ 187153 w 387211"/>
                <a:gd name="connsiteY3" fmla="*/ 277502 h 258141"/>
                <a:gd name="connsiteX4" fmla="*/ 109711 w 387211"/>
                <a:gd name="connsiteY4" fmla="*/ 122617 h 258141"/>
                <a:gd name="connsiteX5" fmla="*/ 187153 w 387211"/>
                <a:gd name="connsiteY5" fmla="*/ 264595 h 258141"/>
                <a:gd name="connsiteX6" fmla="*/ 303317 w 387211"/>
                <a:gd name="connsiteY6" fmla="*/ 96803 h 258141"/>
                <a:gd name="connsiteX7" fmla="*/ 109711 w 387211"/>
                <a:gd name="connsiteY7" fmla="*/ 12261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187153" y="277502"/>
                  </a:moveTo>
                  <a:lnTo>
                    <a:pt x="96803" y="122617"/>
                  </a:lnTo>
                  <a:lnTo>
                    <a:pt x="316224" y="96803"/>
                  </a:lnTo>
                  <a:lnTo>
                    <a:pt x="187153" y="277502"/>
                  </a:lnTo>
                  <a:close/>
                  <a:moveTo>
                    <a:pt x="109711" y="122617"/>
                  </a:moveTo>
                  <a:lnTo>
                    <a:pt x="187153" y="264595"/>
                  </a:lnTo>
                  <a:lnTo>
                    <a:pt x="303317" y="96803"/>
                  </a:lnTo>
                  <a:lnTo>
                    <a:pt x="109711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2" name="Freeform: Shape 3281">
              <a:extLst>
                <a:ext uri="{FF2B5EF4-FFF2-40B4-BE49-F238E27FC236}">
                  <a16:creationId xmlns:a16="http://schemas.microsoft.com/office/drawing/2014/main" id="{F4D808EC-F34F-4EC1-8E50-CD1BA23382DF}"/>
                </a:ext>
              </a:extLst>
            </p:cNvPr>
            <p:cNvSpPr/>
            <p:nvPr/>
          </p:nvSpPr>
          <p:spPr>
            <a:xfrm>
              <a:off x="16020367" y="8377864"/>
              <a:ext cx="387212" cy="516283"/>
            </a:xfrm>
            <a:custGeom>
              <a:avLst/>
              <a:gdLst>
                <a:gd name="connsiteX0" fmla="*/ 251687 w 387211"/>
                <a:gd name="connsiteY0" fmla="*/ 471108 h 516282"/>
                <a:gd name="connsiteX1" fmla="*/ 251687 w 387211"/>
                <a:gd name="connsiteY1" fmla="*/ 471108 h 516282"/>
                <a:gd name="connsiteX2" fmla="*/ 96803 w 387211"/>
                <a:gd name="connsiteY2" fmla="*/ 432387 h 516282"/>
                <a:gd name="connsiteX3" fmla="*/ 406573 w 387211"/>
                <a:gd name="connsiteY3" fmla="*/ 96803 h 516282"/>
                <a:gd name="connsiteX4" fmla="*/ 251687 w 387211"/>
                <a:gd name="connsiteY4" fmla="*/ 471108 h 516282"/>
                <a:gd name="connsiteX5" fmla="*/ 96803 w 387211"/>
                <a:gd name="connsiteY5" fmla="*/ 432387 h 516282"/>
                <a:gd name="connsiteX6" fmla="*/ 238781 w 387211"/>
                <a:gd name="connsiteY6" fmla="*/ 471108 h 516282"/>
                <a:gd name="connsiteX7" fmla="*/ 380758 w 387211"/>
                <a:gd name="connsiteY7" fmla="*/ 122617 h 516282"/>
                <a:gd name="connsiteX8" fmla="*/ 96803 w 387211"/>
                <a:gd name="connsiteY8" fmla="*/ 432387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516282">
                  <a:moveTo>
                    <a:pt x="251687" y="471108"/>
                  </a:moveTo>
                  <a:lnTo>
                    <a:pt x="251687" y="471108"/>
                  </a:lnTo>
                  <a:lnTo>
                    <a:pt x="96803" y="432387"/>
                  </a:lnTo>
                  <a:lnTo>
                    <a:pt x="406573" y="96803"/>
                  </a:lnTo>
                  <a:lnTo>
                    <a:pt x="251687" y="471108"/>
                  </a:lnTo>
                  <a:close/>
                  <a:moveTo>
                    <a:pt x="96803" y="432387"/>
                  </a:moveTo>
                  <a:lnTo>
                    <a:pt x="238781" y="471108"/>
                  </a:lnTo>
                  <a:lnTo>
                    <a:pt x="380758" y="122617"/>
                  </a:lnTo>
                  <a:lnTo>
                    <a:pt x="96803" y="4323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3" name="Freeform: Shape 3282">
              <a:extLst>
                <a:ext uri="{FF2B5EF4-FFF2-40B4-BE49-F238E27FC236}">
                  <a16:creationId xmlns:a16="http://schemas.microsoft.com/office/drawing/2014/main" id="{37BF74C3-A13D-4A57-853A-A28AC8F5EF43}"/>
                </a:ext>
              </a:extLst>
            </p:cNvPr>
            <p:cNvSpPr/>
            <p:nvPr/>
          </p:nvSpPr>
          <p:spPr>
            <a:xfrm>
              <a:off x="16162345" y="8377864"/>
              <a:ext cx="516283" cy="516283"/>
            </a:xfrm>
            <a:custGeom>
              <a:avLst/>
              <a:gdLst>
                <a:gd name="connsiteX0" fmla="*/ 96803 w 516282"/>
                <a:gd name="connsiteY0" fmla="*/ 484015 h 516282"/>
                <a:gd name="connsiteX1" fmla="*/ 251687 w 516282"/>
                <a:gd name="connsiteY1" fmla="*/ 96803 h 516282"/>
                <a:gd name="connsiteX2" fmla="*/ 419480 w 516282"/>
                <a:gd name="connsiteY2" fmla="*/ 148431 h 516282"/>
                <a:gd name="connsiteX3" fmla="*/ 419480 w 516282"/>
                <a:gd name="connsiteY3" fmla="*/ 148431 h 516282"/>
                <a:gd name="connsiteX4" fmla="*/ 96803 w 516282"/>
                <a:gd name="connsiteY4" fmla="*/ 484015 h 516282"/>
                <a:gd name="connsiteX5" fmla="*/ 251687 w 516282"/>
                <a:gd name="connsiteY5" fmla="*/ 109710 h 516282"/>
                <a:gd name="connsiteX6" fmla="*/ 109710 w 516282"/>
                <a:gd name="connsiteY6" fmla="*/ 458201 h 516282"/>
                <a:gd name="connsiteX7" fmla="*/ 393666 w 516282"/>
                <a:gd name="connsiteY7" fmla="*/ 161338 h 516282"/>
                <a:gd name="connsiteX8" fmla="*/ 251687 w 516282"/>
                <a:gd name="connsiteY8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96803" y="484015"/>
                  </a:moveTo>
                  <a:lnTo>
                    <a:pt x="251687" y="96803"/>
                  </a:lnTo>
                  <a:lnTo>
                    <a:pt x="419480" y="148431"/>
                  </a:lnTo>
                  <a:lnTo>
                    <a:pt x="419480" y="148431"/>
                  </a:lnTo>
                  <a:lnTo>
                    <a:pt x="96803" y="484015"/>
                  </a:lnTo>
                  <a:close/>
                  <a:moveTo>
                    <a:pt x="251687" y="109710"/>
                  </a:moveTo>
                  <a:lnTo>
                    <a:pt x="109710" y="458201"/>
                  </a:lnTo>
                  <a:lnTo>
                    <a:pt x="393666" y="161338"/>
                  </a:lnTo>
                  <a:lnTo>
                    <a:pt x="251687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4" name="Freeform: Shape 3283">
              <a:extLst>
                <a:ext uri="{FF2B5EF4-FFF2-40B4-BE49-F238E27FC236}">
                  <a16:creationId xmlns:a16="http://schemas.microsoft.com/office/drawing/2014/main" id="{6C74A48B-3823-4C08-8155-07F8FB05E233}"/>
                </a:ext>
              </a:extLst>
            </p:cNvPr>
            <p:cNvSpPr/>
            <p:nvPr/>
          </p:nvSpPr>
          <p:spPr>
            <a:xfrm>
              <a:off x="12638716" y="5641567"/>
              <a:ext cx="645353" cy="903494"/>
            </a:xfrm>
            <a:custGeom>
              <a:avLst/>
              <a:gdLst>
                <a:gd name="connsiteX0" fmla="*/ 561458 w 645353"/>
                <a:gd name="connsiteY0" fmla="*/ 819598 h 903494"/>
                <a:gd name="connsiteX1" fmla="*/ 96803 w 645353"/>
                <a:gd name="connsiteY1" fmla="*/ 96803 h 903494"/>
                <a:gd name="connsiteX2" fmla="*/ 458201 w 645353"/>
                <a:gd name="connsiteY2" fmla="*/ 393665 h 903494"/>
                <a:gd name="connsiteX3" fmla="*/ 458201 w 645353"/>
                <a:gd name="connsiteY3" fmla="*/ 393665 h 903494"/>
                <a:gd name="connsiteX4" fmla="*/ 561458 w 645353"/>
                <a:gd name="connsiteY4" fmla="*/ 819598 h 903494"/>
                <a:gd name="connsiteX5" fmla="*/ 122618 w 645353"/>
                <a:gd name="connsiteY5" fmla="*/ 135524 h 903494"/>
                <a:gd name="connsiteX6" fmla="*/ 548550 w 645353"/>
                <a:gd name="connsiteY6" fmla="*/ 793784 h 903494"/>
                <a:gd name="connsiteX7" fmla="*/ 458201 w 645353"/>
                <a:gd name="connsiteY7" fmla="*/ 406572 h 903494"/>
                <a:gd name="connsiteX8" fmla="*/ 122618 w 645353"/>
                <a:gd name="connsiteY8" fmla="*/ 135524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353" h="903494">
                  <a:moveTo>
                    <a:pt x="561458" y="819598"/>
                  </a:moveTo>
                  <a:lnTo>
                    <a:pt x="96803" y="96803"/>
                  </a:lnTo>
                  <a:lnTo>
                    <a:pt x="458201" y="393665"/>
                  </a:lnTo>
                  <a:lnTo>
                    <a:pt x="458201" y="393665"/>
                  </a:lnTo>
                  <a:lnTo>
                    <a:pt x="561458" y="819598"/>
                  </a:lnTo>
                  <a:close/>
                  <a:moveTo>
                    <a:pt x="122618" y="135524"/>
                  </a:moveTo>
                  <a:lnTo>
                    <a:pt x="548550" y="793784"/>
                  </a:lnTo>
                  <a:lnTo>
                    <a:pt x="458201" y="406572"/>
                  </a:lnTo>
                  <a:lnTo>
                    <a:pt x="122618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5" name="Freeform: Shape 3284">
              <a:extLst>
                <a:ext uri="{FF2B5EF4-FFF2-40B4-BE49-F238E27FC236}">
                  <a16:creationId xmlns:a16="http://schemas.microsoft.com/office/drawing/2014/main" id="{A561A8E2-2B44-4E9A-B7DA-E3AF23875362}"/>
                </a:ext>
              </a:extLst>
            </p:cNvPr>
            <p:cNvSpPr/>
            <p:nvPr/>
          </p:nvSpPr>
          <p:spPr>
            <a:xfrm>
              <a:off x="12638716" y="5654474"/>
              <a:ext cx="516283" cy="387212"/>
            </a:xfrm>
            <a:custGeom>
              <a:avLst/>
              <a:gdLst>
                <a:gd name="connsiteX0" fmla="*/ 458201 w 516282"/>
                <a:gd name="connsiteY0" fmla="*/ 393665 h 387211"/>
                <a:gd name="connsiteX1" fmla="*/ 96803 w 516282"/>
                <a:gd name="connsiteY1" fmla="*/ 96803 h 387211"/>
                <a:gd name="connsiteX2" fmla="*/ 200060 w 516282"/>
                <a:gd name="connsiteY2" fmla="*/ 122617 h 387211"/>
                <a:gd name="connsiteX3" fmla="*/ 200060 w 516282"/>
                <a:gd name="connsiteY3" fmla="*/ 122617 h 387211"/>
                <a:gd name="connsiteX4" fmla="*/ 458201 w 516282"/>
                <a:gd name="connsiteY4" fmla="*/ 393665 h 387211"/>
                <a:gd name="connsiteX5" fmla="*/ 458201 w 516282"/>
                <a:gd name="connsiteY5" fmla="*/ 393665 h 387211"/>
                <a:gd name="connsiteX6" fmla="*/ 122618 w 516282"/>
                <a:gd name="connsiteY6" fmla="*/ 109710 h 387211"/>
                <a:gd name="connsiteX7" fmla="*/ 406573 w 516282"/>
                <a:gd name="connsiteY7" fmla="*/ 342037 h 387211"/>
                <a:gd name="connsiteX8" fmla="*/ 187153 w 516282"/>
                <a:gd name="connsiteY8" fmla="*/ 122617 h 387211"/>
                <a:gd name="connsiteX9" fmla="*/ 122618 w 516282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16282" h="387211">
                  <a:moveTo>
                    <a:pt x="458201" y="393665"/>
                  </a:moveTo>
                  <a:lnTo>
                    <a:pt x="96803" y="96803"/>
                  </a:lnTo>
                  <a:lnTo>
                    <a:pt x="200060" y="122617"/>
                  </a:lnTo>
                  <a:lnTo>
                    <a:pt x="200060" y="122617"/>
                  </a:lnTo>
                  <a:lnTo>
                    <a:pt x="458201" y="393665"/>
                  </a:lnTo>
                  <a:lnTo>
                    <a:pt x="458201" y="393665"/>
                  </a:lnTo>
                  <a:close/>
                  <a:moveTo>
                    <a:pt x="122618" y="109710"/>
                  </a:moveTo>
                  <a:lnTo>
                    <a:pt x="406573" y="342037"/>
                  </a:lnTo>
                  <a:lnTo>
                    <a:pt x="187153" y="122617"/>
                  </a:lnTo>
                  <a:lnTo>
                    <a:pt x="122618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6" name="Freeform: Shape 3285">
              <a:extLst>
                <a:ext uri="{FF2B5EF4-FFF2-40B4-BE49-F238E27FC236}">
                  <a16:creationId xmlns:a16="http://schemas.microsoft.com/office/drawing/2014/main" id="{0E690940-344E-4F6E-965B-E3C5FF462547}"/>
                </a:ext>
              </a:extLst>
            </p:cNvPr>
            <p:cNvSpPr/>
            <p:nvPr/>
          </p:nvSpPr>
          <p:spPr>
            <a:xfrm>
              <a:off x="13296977" y="5848080"/>
              <a:ext cx="516283" cy="516283"/>
            </a:xfrm>
            <a:custGeom>
              <a:avLst/>
              <a:gdLst>
                <a:gd name="connsiteX0" fmla="*/ 161338 w 516282"/>
                <a:gd name="connsiteY0" fmla="*/ 419480 h 516282"/>
                <a:gd name="connsiteX1" fmla="*/ 96803 w 516282"/>
                <a:gd name="connsiteY1" fmla="*/ 96803 h 516282"/>
                <a:gd name="connsiteX2" fmla="*/ 509829 w 516282"/>
                <a:gd name="connsiteY2" fmla="*/ 96803 h 516282"/>
                <a:gd name="connsiteX3" fmla="*/ 161338 w 516282"/>
                <a:gd name="connsiteY3" fmla="*/ 419480 h 516282"/>
                <a:gd name="connsiteX4" fmla="*/ 109710 w 516282"/>
                <a:gd name="connsiteY4" fmla="*/ 109710 h 516282"/>
                <a:gd name="connsiteX5" fmla="*/ 161338 w 516282"/>
                <a:gd name="connsiteY5" fmla="*/ 419480 h 516282"/>
                <a:gd name="connsiteX6" fmla="*/ 496922 w 516282"/>
                <a:gd name="connsiteY6" fmla="*/ 109710 h 516282"/>
                <a:gd name="connsiteX7" fmla="*/ 109710 w 516282"/>
                <a:gd name="connsiteY7" fmla="*/ 109710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516282">
                  <a:moveTo>
                    <a:pt x="161338" y="419480"/>
                  </a:moveTo>
                  <a:lnTo>
                    <a:pt x="96803" y="96803"/>
                  </a:lnTo>
                  <a:lnTo>
                    <a:pt x="509829" y="96803"/>
                  </a:lnTo>
                  <a:lnTo>
                    <a:pt x="161338" y="419480"/>
                  </a:lnTo>
                  <a:close/>
                  <a:moveTo>
                    <a:pt x="109710" y="109710"/>
                  </a:moveTo>
                  <a:lnTo>
                    <a:pt x="161338" y="419480"/>
                  </a:lnTo>
                  <a:lnTo>
                    <a:pt x="496922" y="10971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7" name="Freeform: Shape 3286">
              <a:extLst>
                <a:ext uri="{FF2B5EF4-FFF2-40B4-BE49-F238E27FC236}">
                  <a16:creationId xmlns:a16="http://schemas.microsoft.com/office/drawing/2014/main" id="{AA7DB693-FE77-405F-85F2-CE1A064995F6}"/>
                </a:ext>
              </a:extLst>
            </p:cNvPr>
            <p:cNvSpPr/>
            <p:nvPr/>
          </p:nvSpPr>
          <p:spPr>
            <a:xfrm>
              <a:off x="13296977" y="5564124"/>
              <a:ext cx="516283" cy="387212"/>
            </a:xfrm>
            <a:custGeom>
              <a:avLst/>
              <a:gdLst>
                <a:gd name="connsiteX0" fmla="*/ 509829 w 516282"/>
                <a:gd name="connsiteY0" fmla="*/ 393665 h 387211"/>
                <a:gd name="connsiteX1" fmla="*/ 96803 w 516282"/>
                <a:gd name="connsiteY1" fmla="*/ 393665 h 387211"/>
                <a:gd name="connsiteX2" fmla="*/ 458200 w 516282"/>
                <a:gd name="connsiteY2" fmla="*/ 96803 h 387211"/>
                <a:gd name="connsiteX3" fmla="*/ 509829 w 516282"/>
                <a:gd name="connsiteY3" fmla="*/ 393665 h 387211"/>
                <a:gd name="connsiteX4" fmla="*/ 109710 w 516282"/>
                <a:gd name="connsiteY4" fmla="*/ 380759 h 387211"/>
                <a:gd name="connsiteX5" fmla="*/ 496922 w 516282"/>
                <a:gd name="connsiteY5" fmla="*/ 380759 h 387211"/>
                <a:gd name="connsiteX6" fmla="*/ 458200 w 516282"/>
                <a:gd name="connsiteY6" fmla="*/ 109710 h 387211"/>
                <a:gd name="connsiteX7" fmla="*/ 109710 w 516282"/>
                <a:gd name="connsiteY7" fmla="*/ 38075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387211">
                  <a:moveTo>
                    <a:pt x="509829" y="393665"/>
                  </a:moveTo>
                  <a:lnTo>
                    <a:pt x="96803" y="393665"/>
                  </a:lnTo>
                  <a:lnTo>
                    <a:pt x="458200" y="96803"/>
                  </a:lnTo>
                  <a:lnTo>
                    <a:pt x="509829" y="393665"/>
                  </a:lnTo>
                  <a:close/>
                  <a:moveTo>
                    <a:pt x="109710" y="380759"/>
                  </a:moveTo>
                  <a:lnTo>
                    <a:pt x="496922" y="380759"/>
                  </a:lnTo>
                  <a:lnTo>
                    <a:pt x="458200" y="109710"/>
                  </a:lnTo>
                  <a:lnTo>
                    <a:pt x="109710" y="3807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8" name="Freeform: Shape 3287">
              <a:extLst>
                <a:ext uri="{FF2B5EF4-FFF2-40B4-BE49-F238E27FC236}">
                  <a16:creationId xmlns:a16="http://schemas.microsoft.com/office/drawing/2014/main" id="{6874DCB1-9A6A-4CC1-ADDF-8F2ABAA397A9}"/>
                </a:ext>
              </a:extLst>
            </p:cNvPr>
            <p:cNvSpPr/>
            <p:nvPr/>
          </p:nvSpPr>
          <p:spPr>
            <a:xfrm>
              <a:off x="13348604" y="5848080"/>
              <a:ext cx="516283" cy="516283"/>
            </a:xfrm>
            <a:custGeom>
              <a:avLst/>
              <a:gdLst>
                <a:gd name="connsiteX0" fmla="*/ 406573 w 516282"/>
                <a:gd name="connsiteY0" fmla="*/ 471108 h 516282"/>
                <a:gd name="connsiteX1" fmla="*/ 96803 w 516282"/>
                <a:gd name="connsiteY1" fmla="*/ 419480 h 516282"/>
                <a:gd name="connsiteX2" fmla="*/ 458201 w 516282"/>
                <a:gd name="connsiteY2" fmla="*/ 96803 h 516282"/>
                <a:gd name="connsiteX3" fmla="*/ 458201 w 516282"/>
                <a:gd name="connsiteY3" fmla="*/ 109710 h 516282"/>
                <a:gd name="connsiteX4" fmla="*/ 406573 w 516282"/>
                <a:gd name="connsiteY4" fmla="*/ 471108 h 516282"/>
                <a:gd name="connsiteX5" fmla="*/ 122618 w 516282"/>
                <a:gd name="connsiteY5" fmla="*/ 406573 h 516282"/>
                <a:gd name="connsiteX6" fmla="*/ 406573 w 516282"/>
                <a:gd name="connsiteY6" fmla="*/ 458201 h 516282"/>
                <a:gd name="connsiteX7" fmla="*/ 458201 w 516282"/>
                <a:gd name="connsiteY7" fmla="*/ 109710 h 516282"/>
                <a:gd name="connsiteX8" fmla="*/ 122618 w 516282"/>
                <a:gd name="connsiteY8" fmla="*/ 406573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516282">
                  <a:moveTo>
                    <a:pt x="406573" y="471108"/>
                  </a:moveTo>
                  <a:lnTo>
                    <a:pt x="96803" y="419480"/>
                  </a:lnTo>
                  <a:lnTo>
                    <a:pt x="458201" y="96803"/>
                  </a:lnTo>
                  <a:lnTo>
                    <a:pt x="458201" y="109710"/>
                  </a:lnTo>
                  <a:lnTo>
                    <a:pt x="406573" y="471108"/>
                  </a:lnTo>
                  <a:close/>
                  <a:moveTo>
                    <a:pt x="122618" y="406573"/>
                  </a:moveTo>
                  <a:lnTo>
                    <a:pt x="406573" y="458201"/>
                  </a:lnTo>
                  <a:lnTo>
                    <a:pt x="458201" y="109710"/>
                  </a:lnTo>
                  <a:lnTo>
                    <a:pt x="122618" y="406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89" name="Freeform: Shape 3288">
              <a:extLst>
                <a:ext uri="{FF2B5EF4-FFF2-40B4-BE49-F238E27FC236}">
                  <a16:creationId xmlns:a16="http://schemas.microsoft.com/office/drawing/2014/main" id="{CFBEEA89-1298-4C57-B6A1-B1261AAAF6A5}"/>
                </a:ext>
              </a:extLst>
            </p:cNvPr>
            <p:cNvSpPr/>
            <p:nvPr/>
          </p:nvSpPr>
          <p:spPr>
            <a:xfrm>
              <a:off x="14652219" y="6286920"/>
              <a:ext cx="387212" cy="387212"/>
            </a:xfrm>
            <a:custGeom>
              <a:avLst/>
              <a:gdLst>
                <a:gd name="connsiteX0" fmla="*/ 329130 w 387211"/>
                <a:gd name="connsiteY0" fmla="*/ 342037 h 387211"/>
                <a:gd name="connsiteX1" fmla="*/ 109710 w 387211"/>
                <a:gd name="connsiteY1" fmla="*/ 264595 h 387211"/>
                <a:gd name="connsiteX2" fmla="*/ 109710 w 387211"/>
                <a:gd name="connsiteY2" fmla="*/ 264595 h 387211"/>
                <a:gd name="connsiteX3" fmla="*/ 96803 w 387211"/>
                <a:gd name="connsiteY3" fmla="*/ 96803 h 387211"/>
                <a:gd name="connsiteX4" fmla="*/ 329130 w 387211"/>
                <a:gd name="connsiteY4" fmla="*/ 342037 h 387211"/>
                <a:gd name="connsiteX5" fmla="*/ 122617 w 387211"/>
                <a:gd name="connsiteY5" fmla="*/ 264595 h 387211"/>
                <a:gd name="connsiteX6" fmla="*/ 316223 w 387211"/>
                <a:gd name="connsiteY6" fmla="*/ 329130 h 387211"/>
                <a:gd name="connsiteX7" fmla="*/ 109710 w 387211"/>
                <a:gd name="connsiteY7" fmla="*/ 109710 h 387211"/>
                <a:gd name="connsiteX8" fmla="*/ 122617 w 387211"/>
                <a:gd name="connsiteY8" fmla="*/ 26459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387211">
                  <a:moveTo>
                    <a:pt x="329130" y="342037"/>
                  </a:moveTo>
                  <a:lnTo>
                    <a:pt x="109710" y="264595"/>
                  </a:lnTo>
                  <a:lnTo>
                    <a:pt x="109710" y="264595"/>
                  </a:lnTo>
                  <a:lnTo>
                    <a:pt x="96803" y="96803"/>
                  </a:lnTo>
                  <a:lnTo>
                    <a:pt x="329130" y="342037"/>
                  </a:lnTo>
                  <a:close/>
                  <a:moveTo>
                    <a:pt x="122617" y="264595"/>
                  </a:moveTo>
                  <a:lnTo>
                    <a:pt x="316223" y="329130"/>
                  </a:lnTo>
                  <a:lnTo>
                    <a:pt x="109710" y="109710"/>
                  </a:lnTo>
                  <a:lnTo>
                    <a:pt x="122617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0" name="Freeform: Shape 3289">
              <a:extLst>
                <a:ext uri="{FF2B5EF4-FFF2-40B4-BE49-F238E27FC236}">
                  <a16:creationId xmlns:a16="http://schemas.microsoft.com/office/drawing/2014/main" id="{5E353509-630C-443A-8E04-9E1A53C29DCC}"/>
                </a:ext>
              </a:extLst>
            </p:cNvPr>
            <p:cNvSpPr/>
            <p:nvPr/>
          </p:nvSpPr>
          <p:spPr>
            <a:xfrm>
              <a:off x="14652219" y="6286920"/>
              <a:ext cx="516283" cy="387212"/>
            </a:xfrm>
            <a:custGeom>
              <a:avLst/>
              <a:gdLst>
                <a:gd name="connsiteX0" fmla="*/ 316223 w 516282"/>
                <a:gd name="connsiteY0" fmla="*/ 342037 h 387211"/>
                <a:gd name="connsiteX1" fmla="*/ 316223 w 516282"/>
                <a:gd name="connsiteY1" fmla="*/ 342037 h 387211"/>
                <a:gd name="connsiteX2" fmla="*/ 96803 w 516282"/>
                <a:gd name="connsiteY2" fmla="*/ 96803 h 387211"/>
                <a:gd name="connsiteX3" fmla="*/ 471107 w 516282"/>
                <a:gd name="connsiteY3" fmla="*/ 225874 h 387211"/>
                <a:gd name="connsiteX4" fmla="*/ 316223 w 516282"/>
                <a:gd name="connsiteY4" fmla="*/ 342037 h 387211"/>
                <a:gd name="connsiteX5" fmla="*/ 109710 w 516282"/>
                <a:gd name="connsiteY5" fmla="*/ 109710 h 387211"/>
                <a:gd name="connsiteX6" fmla="*/ 316223 w 516282"/>
                <a:gd name="connsiteY6" fmla="*/ 342037 h 387211"/>
                <a:gd name="connsiteX7" fmla="*/ 445293 w 516282"/>
                <a:gd name="connsiteY7" fmla="*/ 238780 h 387211"/>
                <a:gd name="connsiteX8" fmla="*/ 109710 w 516282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316223" y="342037"/>
                  </a:moveTo>
                  <a:lnTo>
                    <a:pt x="316223" y="342037"/>
                  </a:lnTo>
                  <a:lnTo>
                    <a:pt x="96803" y="96803"/>
                  </a:lnTo>
                  <a:lnTo>
                    <a:pt x="471107" y="225874"/>
                  </a:lnTo>
                  <a:lnTo>
                    <a:pt x="316223" y="342037"/>
                  </a:lnTo>
                  <a:close/>
                  <a:moveTo>
                    <a:pt x="109710" y="109710"/>
                  </a:moveTo>
                  <a:lnTo>
                    <a:pt x="316223" y="342037"/>
                  </a:lnTo>
                  <a:lnTo>
                    <a:pt x="445293" y="23878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1" name="Freeform: Shape 3290">
              <a:extLst>
                <a:ext uri="{FF2B5EF4-FFF2-40B4-BE49-F238E27FC236}">
                  <a16:creationId xmlns:a16="http://schemas.microsoft.com/office/drawing/2014/main" id="{E45AEDAB-2515-4AEA-917A-0D508057FBD9}"/>
                </a:ext>
              </a:extLst>
            </p:cNvPr>
            <p:cNvSpPr/>
            <p:nvPr/>
          </p:nvSpPr>
          <p:spPr>
            <a:xfrm>
              <a:off x="14639311" y="6261106"/>
              <a:ext cx="516283" cy="258141"/>
            </a:xfrm>
            <a:custGeom>
              <a:avLst/>
              <a:gdLst>
                <a:gd name="connsiteX0" fmla="*/ 471108 w 516282"/>
                <a:gd name="connsiteY0" fmla="*/ 251688 h 258141"/>
                <a:gd name="connsiteX1" fmla="*/ 96803 w 516282"/>
                <a:gd name="connsiteY1" fmla="*/ 122617 h 258141"/>
                <a:gd name="connsiteX2" fmla="*/ 522737 w 516282"/>
                <a:gd name="connsiteY2" fmla="*/ 96803 h 258141"/>
                <a:gd name="connsiteX3" fmla="*/ 471108 w 516282"/>
                <a:gd name="connsiteY3" fmla="*/ 251688 h 258141"/>
                <a:gd name="connsiteX4" fmla="*/ 135525 w 516282"/>
                <a:gd name="connsiteY4" fmla="*/ 122617 h 258141"/>
                <a:gd name="connsiteX5" fmla="*/ 471108 w 516282"/>
                <a:gd name="connsiteY5" fmla="*/ 238780 h 258141"/>
                <a:gd name="connsiteX6" fmla="*/ 522737 w 516282"/>
                <a:gd name="connsiteY6" fmla="*/ 109710 h 258141"/>
                <a:gd name="connsiteX7" fmla="*/ 135525 w 516282"/>
                <a:gd name="connsiteY7" fmla="*/ 12261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282" h="258141">
                  <a:moveTo>
                    <a:pt x="471108" y="251688"/>
                  </a:moveTo>
                  <a:lnTo>
                    <a:pt x="96803" y="122617"/>
                  </a:lnTo>
                  <a:lnTo>
                    <a:pt x="522737" y="96803"/>
                  </a:lnTo>
                  <a:lnTo>
                    <a:pt x="471108" y="251688"/>
                  </a:lnTo>
                  <a:close/>
                  <a:moveTo>
                    <a:pt x="135525" y="122617"/>
                  </a:moveTo>
                  <a:lnTo>
                    <a:pt x="471108" y="238780"/>
                  </a:lnTo>
                  <a:lnTo>
                    <a:pt x="522737" y="109710"/>
                  </a:lnTo>
                  <a:lnTo>
                    <a:pt x="135525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2" name="Freeform: Shape 3291">
              <a:extLst>
                <a:ext uri="{FF2B5EF4-FFF2-40B4-BE49-F238E27FC236}">
                  <a16:creationId xmlns:a16="http://schemas.microsoft.com/office/drawing/2014/main" id="{9235B7DC-3DDB-4A46-AC8F-D7EA70EFE905}"/>
                </a:ext>
              </a:extLst>
            </p:cNvPr>
            <p:cNvSpPr/>
            <p:nvPr/>
          </p:nvSpPr>
          <p:spPr>
            <a:xfrm>
              <a:off x="15013616" y="6261106"/>
              <a:ext cx="258141" cy="516283"/>
            </a:xfrm>
            <a:custGeom>
              <a:avLst/>
              <a:gdLst>
                <a:gd name="connsiteX0" fmla="*/ 225874 w 258141"/>
                <a:gd name="connsiteY0" fmla="*/ 419480 h 516282"/>
                <a:gd name="connsiteX1" fmla="*/ 96803 w 258141"/>
                <a:gd name="connsiteY1" fmla="*/ 251688 h 516282"/>
                <a:gd name="connsiteX2" fmla="*/ 148431 w 258141"/>
                <a:gd name="connsiteY2" fmla="*/ 96803 h 516282"/>
                <a:gd name="connsiteX3" fmla="*/ 225874 w 258141"/>
                <a:gd name="connsiteY3" fmla="*/ 419480 h 516282"/>
                <a:gd name="connsiteX4" fmla="*/ 96803 w 258141"/>
                <a:gd name="connsiteY4" fmla="*/ 251688 h 516282"/>
                <a:gd name="connsiteX5" fmla="*/ 212967 w 258141"/>
                <a:gd name="connsiteY5" fmla="*/ 393665 h 516282"/>
                <a:gd name="connsiteX6" fmla="*/ 148431 w 258141"/>
                <a:gd name="connsiteY6" fmla="*/ 122617 h 516282"/>
                <a:gd name="connsiteX7" fmla="*/ 96803 w 258141"/>
                <a:gd name="connsiteY7" fmla="*/ 251688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225874" y="419480"/>
                  </a:moveTo>
                  <a:lnTo>
                    <a:pt x="96803" y="251688"/>
                  </a:lnTo>
                  <a:lnTo>
                    <a:pt x="148431" y="96803"/>
                  </a:lnTo>
                  <a:lnTo>
                    <a:pt x="225874" y="419480"/>
                  </a:lnTo>
                  <a:close/>
                  <a:moveTo>
                    <a:pt x="96803" y="251688"/>
                  </a:moveTo>
                  <a:lnTo>
                    <a:pt x="212967" y="393665"/>
                  </a:lnTo>
                  <a:lnTo>
                    <a:pt x="148431" y="122617"/>
                  </a:lnTo>
                  <a:lnTo>
                    <a:pt x="96803" y="2516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3" name="Freeform: Shape 3292">
              <a:extLst>
                <a:ext uri="{FF2B5EF4-FFF2-40B4-BE49-F238E27FC236}">
                  <a16:creationId xmlns:a16="http://schemas.microsoft.com/office/drawing/2014/main" id="{C1A9B32E-56BE-4950-80E5-2EF9FA47C4FE}"/>
                </a:ext>
              </a:extLst>
            </p:cNvPr>
            <p:cNvSpPr/>
            <p:nvPr/>
          </p:nvSpPr>
          <p:spPr>
            <a:xfrm>
              <a:off x="15052337" y="6261106"/>
              <a:ext cx="387212" cy="516283"/>
            </a:xfrm>
            <a:custGeom>
              <a:avLst/>
              <a:gdLst>
                <a:gd name="connsiteX0" fmla="*/ 303316 w 387211"/>
                <a:gd name="connsiteY0" fmla="*/ 432386 h 516282"/>
                <a:gd name="connsiteX1" fmla="*/ 174245 w 387211"/>
                <a:gd name="connsiteY1" fmla="*/ 406572 h 516282"/>
                <a:gd name="connsiteX2" fmla="*/ 174245 w 387211"/>
                <a:gd name="connsiteY2" fmla="*/ 406572 h 516282"/>
                <a:gd name="connsiteX3" fmla="*/ 96803 w 387211"/>
                <a:gd name="connsiteY3" fmla="*/ 96803 h 516282"/>
                <a:gd name="connsiteX4" fmla="*/ 303316 w 387211"/>
                <a:gd name="connsiteY4" fmla="*/ 432386 h 516282"/>
                <a:gd name="connsiteX5" fmla="*/ 187152 w 387211"/>
                <a:gd name="connsiteY5" fmla="*/ 393665 h 516282"/>
                <a:gd name="connsiteX6" fmla="*/ 303316 w 387211"/>
                <a:gd name="connsiteY6" fmla="*/ 419480 h 516282"/>
                <a:gd name="connsiteX7" fmla="*/ 135524 w 387211"/>
                <a:gd name="connsiteY7" fmla="*/ 122617 h 516282"/>
                <a:gd name="connsiteX8" fmla="*/ 187152 w 387211"/>
                <a:gd name="connsiteY8" fmla="*/ 39366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516282">
                  <a:moveTo>
                    <a:pt x="303316" y="432386"/>
                  </a:moveTo>
                  <a:lnTo>
                    <a:pt x="174245" y="406572"/>
                  </a:lnTo>
                  <a:lnTo>
                    <a:pt x="174245" y="406572"/>
                  </a:lnTo>
                  <a:lnTo>
                    <a:pt x="96803" y="96803"/>
                  </a:lnTo>
                  <a:lnTo>
                    <a:pt x="303316" y="432386"/>
                  </a:lnTo>
                  <a:close/>
                  <a:moveTo>
                    <a:pt x="187152" y="393665"/>
                  </a:moveTo>
                  <a:lnTo>
                    <a:pt x="303316" y="419480"/>
                  </a:lnTo>
                  <a:lnTo>
                    <a:pt x="135524" y="122617"/>
                  </a:lnTo>
                  <a:lnTo>
                    <a:pt x="187152" y="39366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4" name="Freeform: Shape 3293">
              <a:extLst>
                <a:ext uri="{FF2B5EF4-FFF2-40B4-BE49-F238E27FC236}">
                  <a16:creationId xmlns:a16="http://schemas.microsoft.com/office/drawing/2014/main" id="{50750D6A-B0CE-44B2-8A8F-182C36525B6B}"/>
                </a:ext>
              </a:extLst>
            </p:cNvPr>
            <p:cNvSpPr/>
            <p:nvPr/>
          </p:nvSpPr>
          <p:spPr>
            <a:xfrm>
              <a:off x="14652219" y="6067500"/>
              <a:ext cx="516283" cy="387212"/>
            </a:xfrm>
            <a:custGeom>
              <a:avLst/>
              <a:gdLst>
                <a:gd name="connsiteX0" fmla="*/ 96803 w 516282"/>
                <a:gd name="connsiteY0" fmla="*/ 316223 h 387211"/>
                <a:gd name="connsiteX1" fmla="*/ 96803 w 516282"/>
                <a:gd name="connsiteY1" fmla="*/ 96803 h 387211"/>
                <a:gd name="connsiteX2" fmla="*/ 96803 w 516282"/>
                <a:gd name="connsiteY2" fmla="*/ 96803 h 387211"/>
                <a:gd name="connsiteX3" fmla="*/ 509829 w 516282"/>
                <a:gd name="connsiteY3" fmla="*/ 303316 h 387211"/>
                <a:gd name="connsiteX4" fmla="*/ 96803 w 516282"/>
                <a:gd name="connsiteY4" fmla="*/ 316223 h 387211"/>
                <a:gd name="connsiteX5" fmla="*/ 109710 w 516282"/>
                <a:gd name="connsiteY5" fmla="*/ 109710 h 387211"/>
                <a:gd name="connsiteX6" fmla="*/ 109710 w 516282"/>
                <a:gd name="connsiteY6" fmla="*/ 316223 h 387211"/>
                <a:gd name="connsiteX7" fmla="*/ 496922 w 516282"/>
                <a:gd name="connsiteY7" fmla="*/ 303316 h 387211"/>
                <a:gd name="connsiteX8" fmla="*/ 109710 w 516282"/>
                <a:gd name="connsiteY8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387211">
                  <a:moveTo>
                    <a:pt x="96803" y="316223"/>
                  </a:moveTo>
                  <a:lnTo>
                    <a:pt x="96803" y="96803"/>
                  </a:lnTo>
                  <a:lnTo>
                    <a:pt x="96803" y="96803"/>
                  </a:lnTo>
                  <a:lnTo>
                    <a:pt x="509829" y="303316"/>
                  </a:lnTo>
                  <a:lnTo>
                    <a:pt x="96803" y="316223"/>
                  </a:lnTo>
                  <a:close/>
                  <a:moveTo>
                    <a:pt x="109710" y="109710"/>
                  </a:moveTo>
                  <a:lnTo>
                    <a:pt x="109710" y="316223"/>
                  </a:lnTo>
                  <a:lnTo>
                    <a:pt x="496922" y="303316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5" name="Freeform: Shape 3294">
              <a:extLst>
                <a:ext uri="{FF2B5EF4-FFF2-40B4-BE49-F238E27FC236}">
                  <a16:creationId xmlns:a16="http://schemas.microsoft.com/office/drawing/2014/main" id="{8A656EC1-2A9F-452D-A0A2-73FE4BD9EAE9}"/>
                </a:ext>
              </a:extLst>
            </p:cNvPr>
            <p:cNvSpPr/>
            <p:nvPr/>
          </p:nvSpPr>
          <p:spPr>
            <a:xfrm>
              <a:off x="14484426" y="6067500"/>
              <a:ext cx="258141" cy="387212"/>
            </a:xfrm>
            <a:custGeom>
              <a:avLst/>
              <a:gdLst>
                <a:gd name="connsiteX0" fmla="*/ 277502 w 258141"/>
                <a:gd name="connsiteY0" fmla="*/ 329130 h 387211"/>
                <a:gd name="connsiteX1" fmla="*/ 96803 w 258141"/>
                <a:gd name="connsiteY1" fmla="*/ 135524 h 387211"/>
                <a:gd name="connsiteX2" fmla="*/ 277502 w 258141"/>
                <a:gd name="connsiteY2" fmla="*/ 96803 h 387211"/>
                <a:gd name="connsiteX3" fmla="*/ 277502 w 258141"/>
                <a:gd name="connsiteY3" fmla="*/ 329130 h 387211"/>
                <a:gd name="connsiteX4" fmla="*/ 109710 w 258141"/>
                <a:gd name="connsiteY4" fmla="*/ 135524 h 387211"/>
                <a:gd name="connsiteX5" fmla="*/ 264595 w 258141"/>
                <a:gd name="connsiteY5" fmla="*/ 303316 h 387211"/>
                <a:gd name="connsiteX6" fmla="*/ 264595 w 258141"/>
                <a:gd name="connsiteY6" fmla="*/ 96803 h 387211"/>
                <a:gd name="connsiteX7" fmla="*/ 109710 w 258141"/>
                <a:gd name="connsiteY7" fmla="*/ 135524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387211">
                  <a:moveTo>
                    <a:pt x="277502" y="329130"/>
                  </a:moveTo>
                  <a:lnTo>
                    <a:pt x="96803" y="135524"/>
                  </a:lnTo>
                  <a:lnTo>
                    <a:pt x="277502" y="96803"/>
                  </a:lnTo>
                  <a:lnTo>
                    <a:pt x="277502" y="329130"/>
                  </a:lnTo>
                  <a:close/>
                  <a:moveTo>
                    <a:pt x="109710" y="135524"/>
                  </a:moveTo>
                  <a:lnTo>
                    <a:pt x="264595" y="303316"/>
                  </a:lnTo>
                  <a:lnTo>
                    <a:pt x="264595" y="96803"/>
                  </a:lnTo>
                  <a:lnTo>
                    <a:pt x="109710" y="1355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6" name="Freeform: Shape 3295">
              <a:extLst>
                <a:ext uri="{FF2B5EF4-FFF2-40B4-BE49-F238E27FC236}">
                  <a16:creationId xmlns:a16="http://schemas.microsoft.com/office/drawing/2014/main" id="{EA948B41-2DAD-479C-8504-023CB41BBBB7}"/>
                </a:ext>
              </a:extLst>
            </p:cNvPr>
            <p:cNvSpPr/>
            <p:nvPr/>
          </p:nvSpPr>
          <p:spPr>
            <a:xfrm>
              <a:off x="14316634" y="6041686"/>
              <a:ext cx="516283" cy="258141"/>
            </a:xfrm>
            <a:custGeom>
              <a:avLst/>
              <a:gdLst>
                <a:gd name="connsiteX0" fmla="*/ 264595 w 516282"/>
                <a:gd name="connsiteY0" fmla="*/ 161338 h 258141"/>
                <a:gd name="connsiteX1" fmla="*/ 264595 w 516282"/>
                <a:gd name="connsiteY1" fmla="*/ 161338 h 258141"/>
                <a:gd name="connsiteX2" fmla="*/ 96803 w 516282"/>
                <a:gd name="connsiteY2" fmla="*/ 96803 h 258141"/>
                <a:gd name="connsiteX3" fmla="*/ 458201 w 516282"/>
                <a:gd name="connsiteY3" fmla="*/ 122617 h 258141"/>
                <a:gd name="connsiteX4" fmla="*/ 264595 w 516282"/>
                <a:gd name="connsiteY4" fmla="*/ 161338 h 258141"/>
                <a:gd name="connsiteX5" fmla="*/ 148431 w 516282"/>
                <a:gd name="connsiteY5" fmla="*/ 109710 h 258141"/>
                <a:gd name="connsiteX6" fmla="*/ 277502 w 516282"/>
                <a:gd name="connsiteY6" fmla="*/ 161338 h 258141"/>
                <a:gd name="connsiteX7" fmla="*/ 419480 w 516282"/>
                <a:gd name="connsiteY7" fmla="*/ 135524 h 258141"/>
                <a:gd name="connsiteX8" fmla="*/ 148431 w 516282"/>
                <a:gd name="connsiteY8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282" h="258141">
                  <a:moveTo>
                    <a:pt x="264595" y="161338"/>
                  </a:moveTo>
                  <a:lnTo>
                    <a:pt x="264595" y="161338"/>
                  </a:lnTo>
                  <a:lnTo>
                    <a:pt x="96803" y="96803"/>
                  </a:lnTo>
                  <a:lnTo>
                    <a:pt x="458201" y="122617"/>
                  </a:lnTo>
                  <a:lnTo>
                    <a:pt x="264595" y="161338"/>
                  </a:lnTo>
                  <a:close/>
                  <a:moveTo>
                    <a:pt x="148431" y="109710"/>
                  </a:moveTo>
                  <a:lnTo>
                    <a:pt x="277502" y="161338"/>
                  </a:lnTo>
                  <a:lnTo>
                    <a:pt x="419480" y="135524"/>
                  </a:lnTo>
                  <a:lnTo>
                    <a:pt x="14843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7" name="Freeform: Shape 3296">
              <a:extLst>
                <a:ext uri="{FF2B5EF4-FFF2-40B4-BE49-F238E27FC236}">
                  <a16:creationId xmlns:a16="http://schemas.microsoft.com/office/drawing/2014/main" id="{E67F0F1D-AD19-4343-8985-729FCE3AB816}"/>
                </a:ext>
              </a:extLst>
            </p:cNvPr>
            <p:cNvSpPr/>
            <p:nvPr/>
          </p:nvSpPr>
          <p:spPr>
            <a:xfrm>
              <a:off x="13826166" y="4867143"/>
              <a:ext cx="258141" cy="516283"/>
            </a:xfrm>
            <a:custGeom>
              <a:avLst/>
              <a:gdLst>
                <a:gd name="connsiteX0" fmla="*/ 96803 w 258141"/>
                <a:gd name="connsiteY0" fmla="*/ 458201 h 516282"/>
                <a:gd name="connsiteX1" fmla="*/ 109710 w 258141"/>
                <a:gd name="connsiteY1" fmla="*/ 96803 h 516282"/>
                <a:gd name="connsiteX2" fmla="*/ 161338 w 258141"/>
                <a:gd name="connsiteY2" fmla="*/ 277502 h 516282"/>
                <a:gd name="connsiteX3" fmla="*/ 161338 w 258141"/>
                <a:gd name="connsiteY3" fmla="*/ 277502 h 516282"/>
                <a:gd name="connsiteX4" fmla="*/ 96803 w 258141"/>
                <a:gd name="connsiteY4" fmla="*/ 458201 h 516282"/>
                <a:gd name="connsiteX5" fmla="*/ 122617 w 258141"/>
                <a:gd name="connsiteY5" fmla="*/ 148431 h 516282"/>
                <a:gd name="connsiteX6" fmla="*/ 109710 w 258141"/>
                <a:gd name="connsiteY6" fmla="*/ 432387 h 516282"/>
                <a:gd name="connsiteX7" fmla="*/ 161338 w 258141"/>
                <a:gd name="connsiteY7" fmla="*/ 290409 h 516282"/>
                <a:gd name="connsiteX8" fmla="*/ 122617 w 258141"/>
                <a:gd name="connsiteY8" fmla="*/ 14843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516282">
                  <a:moveTo>
                    <a:pt x="96803" y="458201"/>
                  </a:moveTo>
                  <a:lnTo>
                    <a:pt x="109710" y="96803"/>
                  </a:lnTo>
                  <a:lnTo>
                    <a:pt x="161338" y="277502"/>
                  </a:lnTo>
                  <a:lnTo>
                    <a:pt x="161338" y="277502"/>
                  </a:lnTo>
                  <a:lnTo>
                    <a:pt x="96803" y="458201"/>
                  </a:lnTo>
                  <a:close/>
                  <a:moveTo>
                    <a:pt x="122617" y="148431"/>
                  </a:moveTo>
                  <a:lnTo>
                    <a:pt x="109710" y="432387"/>
                  </a:lnTo>
                  <a:lnTo>
                    <a:pt x="161338" y="290409"/>
                  </a:lnTo>
                  <a:lnTo>
                    <a:pt x="122617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8" name="Freeform: Shape 3297">
              <a:extLst>
                <a:ext uri="{FF2B5EF4-FFF2-40B4-BE49-F238E27FC236}">
                  <a16:creationId xmlns:a16="http://schemas.microsoft.com/office/drawing/2014/main" id="{A3DC8C8E-2585-450E-9E45-CF84962EF12A}"/>
                </a:ext>
              </a:extLst>
            </p:cNvPr>
            <p:cNvSpPr/>
            <p:nvPr/>
          </p:nvSpPr>
          <p:spPr>
            <a:xfrm>
              <a:off x="13826166" y="5047842"/>
              <a:ext cx="387212" cy="258141"/>
            </a:xfrm>
            <a:custGeom>
              <a:avLst/>
              <a:gdLst>
                <a:gd name="connsiteX0" fmla="*/ 342037 w 387211"/>
                <a:gd name="connsiteY0" fmla="*/ 277502 h 258141"/>
                <a:gd name="connsiteX1" fmla="*/ 96803 w 387211"/>
                <a:gd name="connsiteY1" fmla="*/ 264595 h 258141"/>
                <a:gd name="connsiteX2" fmla="*/ 161338 w 387211"/>
                <a:gd name="connsiteY2" fmla="*/ 96803 h 258141"/>
                <a:gd name="connsiteX3" fmla="*/ 342037 w 387211"/>
                <a:gd name="connsiteY3" fmla="*/ 277502 h 258141"/>
                <a:gd name="connsiteX4" fmla="*/ 109710 w 387211"/>
                <a:gd name="connsiteY4" fmla="*/ 264595 h 258141"/>
                <a:gd name="connsiteX5" fmla="*/ 329130 w 387211"/>
                <a:gd name="connsiteY5" fmla="*/ 277502 h 258141"/>
                <a:gd name="connsiteX6" fmla="*/ 161338 w 387211"/>
                <a:gd name="connsiteY6" fmla="*/ 122617 h 258141"/>
                <a:gd name="connsiteX7" fmla="*/ 109710 w 387211"/>
                <a:gd name="connsiteY7" fmla="*/ 26459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258141">
                  <a:moveTo>
                    <a:pt x="342037" y="277502"/>
                  </a:moveTo>
                  <a:lnTo>
                    <a:pt x="96803" y="264595"/>
                  </a:lnTo>
                  <a:lnTo>
                    <a:pt x="161338" y="96803"/>
                  </a:lnTo>
                  <a:lnTo>
                    <a:pt x="342037" y="277502"/>
                  </a:lnTo>
                  <a:close/>
                  <a:moveTo>
                    <a:pt x="109710" y="264595"/>
                  </a:moveTo>
                  <a:lnTo>
                    <a:pt x="329130" y="277502"/>
                  </a:lnTo>
                  <a:lnTo>
                    <a:pt x="161338" y="122617"/>
                  </a:lnTo>
                  <a:lnTo>
                    <a:pt x="109710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99" name="Freeform: Shape 3298">
              <a:extLst>
                <a:ext uri="{FF2B5EF4-FFF2-40B4-BE49-F238E27FC236}">
                  <a16:creationId xmlns:a16="http://schemas.microsoft.com/office/drawing/2014/main" id="{86928967-4E79-4D15-91FE-9BB7F3585CC5}"/>
                </a:ext>
              </a:extLst>
            </p:cNvPr>
            <p:cNvSpPr/>
            <p:nvPr/>
          </p:nvSpPr>
          <p:spPr>
            <a:xfrm>
              <a:off x="13839073" y="4892957"/>
              <a:ext cx="258141" cy="258141"/>
            </a:xfrm>
            <a:custGeom>
              <a:avLst/>
              <a:gdLst>
                <a:gd name="connsiteX0" fmla="*/ 148431 w 258141"/>
                <a:gd name="connsiteY0" fmla="*/ 277502 h 258141"/>
                <a:gd name="connsiteX1" fmla="*/ 96803 w 258141"/>
                <a:gd name="connsiteY1" fmla="*/ 96803 h 258141"/>
                <a:gd name="connsiteX2" fmla="*/ 200060 w 258141"/>
                <a:gd name="connsiteY2" fmla="*/ 96803 h 258141"/>
                <a:gd name="connsiteX3" fmla="*/ 148431 w 258141"/>
                <a:gd name="connsiteY3" fmla="*/ 277502 h 258141"/>
                <a:gd name="connsiteX4" fmla="*/ 109710 w 258141"/>
                <a:gd name="connsiteY4" fmla="*/ 109710 h 258141"/>
                <a:gd name="connsiteX5" fmla="*/ 161338 w 258141"/>
                <a:gd name="connsiteY5" fmla="*/ 251688 h 258141"/>
                <a:gd name="connsiteX6" fmla="*/ 200060 w 258141"/>
                <a:gd name="connsiteY6" fmla="*/ 109710 h 258141"/>
                <a:gd name="connsiteX7" fmla="*/ 109710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48431" y="277502"/>
                  </a:moveTo>
                  <a:lnTo>
                    <a:pt x="96803" y="96803"/>
                  </a:lnTo>
                  <a:lnTo>
                    <a:pt x="200060" y="96803"/>
                  </a:lnTo>
                  <a:lnTo>
                    <a:pt x="148431" y="277502"/>
                  </a:lnTo>
                  <a:close/>
                  <a:moveTo>
                    <a:pt x="109710" y="109710"/>
                  </a:moveTo>
                  <a:lnTo>
                    <a:pt x="161338" y="251688"/>
                  </a:lnTo>
                  <a:lnTo>
                    <a:pt x="200060" y="109710"/>
                  </a:lnTo>
                  <a:lnTo>
                    <a:pt x="109710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0" name="Freeform: Shape 3299">
              <a:extLst>
                <a:ext uri="{FF2B5EF4-FFF2-40B4-BE49-F238E27FC236}">
                  <a16:creationId xmlns:a16="http://schemas.microsoft.com/office/drawing/2014/main" id="{E9C669B4-4054-4CF4-BE60-94932AAE0EB3}"/>
                </a:ext>
              </a:extLst>
            </p:cNvPr>
            <p:cNvSpPr/>
            <p:nvPr/>
          </p:nvSpPr>
          <p:spPr>
            <a:xfrm>
              <a:off x="13890702" y="4892957"/>
              <a:ext cx="258141" cy="516283"/>
            </a:xfrm>
            <a:custGeom>
              <a:avLst/>
              <a:gdLst>
                <a:gd name="connsiteX0" fmla="*/ 277502 w 258141"/>
                <a:gd name="connsiteY0" fmla="*/ 445294 h 516282"/>
                <a:gd name="connsiteX1" fmla="*/ 96803 w 258141"/>
                <a:gd name="connsiteY1" fmla="*/ 264595 h 516282"/>
                <a:gd name="connsiteX2" fmla="*/ 135524 w 258141"/>
                <a:gd name="connsiteY2" fmla="*/ 96803 h 516282"/>
                <a:gd name="connsiteX3" fmla="*/ 277502 w 258141"/>
                <a:gd name="connsiteY3" fmla="*/ 445294 h 516282"/>
                <a:gd name="connsiteX4" fmla="*/ 96803 w 258141"/>
                <a:gd name="connsiteY4" fmla="*/ 264595 h 516282"/>
                <a:gd name="connsiteX5" fmla="*/ 251687 w 258141"/>
                <a:gd name="connsiteY5" fmla="*/ 419479 h 516282"/>
                <a:gd name="connsiteX6" fmla="*/ 135524 w 258141"/>
                <a:gd name="connsiteY6" fmla="*/ 109710 h 516282"/>
                <a:gd name="connsiteX7" fmla="*/ 96803 w 258141"/>
                <a:gd name="connsiteY7" fmla="*/ 26459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516282">
                  <a:moveTo>
                    <a:pt x="277502" y="445294"/>
                  </a:moveTo>
                  <a:lnTo>
                    <a:pt x="96803" y="264595"/>
                  </a:lnTo>
                  <a:lnTo>
                    <a:pt x="135524" y="96803"/>
                  </a:lnTo>
                  <a:lnTo>
                    <a:pt x="277502" y="445294"/>
                  </a:lnTo>
                  <a:close/>
                  <a:moveTo>
                    <a:pt x="96803" y="264595"/>
                  </a:moveTo>
                  <a:lnTo>
                    <a:pt x="251687" y="419479"/>
                  </a:lnTo>
                  <a:lnTo>
                    <a:pt x="135524" y="109710"/>
                  </a:lnTo>
                  <a:lnTo>
                    <a:pt x="96803" y="2645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1" name="Freeform: Shape 3300">
              <a:extLst>
                <a:ext uri="{FF2B5EF4-FFF2-40B4-BE49-F238E27FC236}">
                  <a16:creationId xmlns:a16="http://schemas.microsoft.com/office/drawing/2014/main" id="{46925B63-E96E-437A-BF0A-F98A6A6729C7}"/>
                </a:ext>
              </a:extLst>
            </p:cNvPr>
            <p:cNvSpPr/>
            <p:nvPr/>
          </p:nvSpPr>
          <p:spPr>
            <a:xfrm>
              <a:off x="13735816" y="5925522"/>
              <a:ext cx="258141" cy="516283"/>
            </a:xfrm>
            <a:custGeom>
              <a:avLst/>
              <a:gdLst>
                <a:gd name="connsiteX0" fmla="*/ 96803 w 258141"/>
                <a:gd name="connsiteY0" fmla="*/ 445294 h 516282"/>
                <a:gd name="connsiteX1" fmla="*/ 161338 w 258141"/>
                <a:gd name="connsiteY1" fmla="*/ 96803 h 516282"/>
                <a:gd name="connsiteX2" fmla="*/ 187153 w 258141"/>
                <a:gd name="connsiteY2" fmla="*/ 290409 h 516282"/>
                <a:gd name="connsiteX3" fmla="*/ 187153 w 258141"/>
                <a:gd name="connsiteY3" fmla="*/ 290409 h 516282"/>
                <a:gd name="connsiteX4" fmla="*/ 96803 w 258141"/>
                <a:gd name="connsiteY4" fmla="*/ 445294 h 516282"/>
                <a:gd name="connsiteX5" fmla="*/ 161338 w 258141"/>
                <a:gd name="connsiteY5" fmla="*/ 135525 h 516282"/>
                <a:gd name="connsiteX6" fmla="*/ 109711 w 258141"/>
                <a:gd name="connsiteY6" fmla="*/ 406573 h 516282"/>
                <a:gd name="connsiteX7" fmla="*/ 174246 w 258141"/>
                <a:gd name="connsiteY7" fmla="*/ 277502 h 516282"/>
                <a:gd name="connsiteX8" fmla="*/ 161338 w 258141"/>
                <a:gd name="connsiteY8" fmla="*/ 135525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141" h="516282">
                  <a:moveTo>
                    <a:pt x="96803" y="445294"/>
                  </a:moveTo>
                  <a:lnTo>
                    <a:pt x="161338" y="96803"/>
                  </a:lnTo>
                  <a:lnTo>
                    <a:pt x="187153" y="290409"/>
                  </a:lnTo>
                  <a:lnTo>
                    <a:pt x="187153" y="290409"/>
                  </a:lnTo>
                  <a:lnTo>
                    <a:pt x="96803" y="445294"/>
                  </a:lnTo>
                  <a:close/>
                  <a:moveTo>
                    <a:pt x="161338" y="135525"/>
                  </a:moveTo>
                  <a:lnTo>
                    <a:pt x="109711" y="406573"/>
                  </a:lnTo>
                  <a:lnTo>
                    <a:pt x="174246" y="277502"/>
                  </a:lnTo>
                  <a:lnTo>
                    <a:pt x="161338" y="1355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2" name="Freeform: Shape 3301">
              <a:extLst>
                <a:ext uri="{FF2B5EF4-FFF2-40B4-BE49-F238E27FC236}">
                  <a16:creationId xmlns:a16="http://schemas.microsoft.com/office/drawing/2014/main" id="{7FEEFC59-B8FA-49D7-8FB9-4AB8D5DAA8EE}"/>
                </a:ext>
              </a:extLst>
            </p:cNvPr>
            <p:cNvSpPr/>
            <p:nvPr/>
          </p:nvSpPr>
          <p:spPr>
            <a:xfrm>
              <a:off x="13735816" y="6106221"/>
              <a:ext cx="387212" cy="387212"/>
            </a:xfrm>
            <a:custGeom>
              <a:avLst/>
              <a:gdLst>
                <a:gd name="connsiteX0" fmla="*/ 329131 w 387211"/>
                <a:gd name="connsiteY0" fmla="*/ 303316 h 387211"/>
                <a:gd name="connsiteX1" fmla="*/ 96803 w 387211"/>
                <a:gd name="connsiteY1" fmla="*/ 251688 h 387211"/>
                <a:gd name="connsiteX2" fmla="*/ 174246 w 387211"/>
                <a:gd name="connsiteY2" fmla="*/ 96803 h 387211"/>
                <a:gd name="connsiteX3" fmla="*/ 329131 w 387211"/>
                <a:gd name="connsiteY3" fmla="*/ 303316 h 387211"/>
                <a:gd name="connsiteX4" fmla="*/ 109711 w 387211"/>
                <a:gd name="connsiteY4" fmla="*/ 251688 h 387211"/>
                <a:gd name="connsiteX5" fmla="*/ 316224 w 387211"/>
                <a:gd name="connsiteY5" fmla="*/ 290409 h 387211"/>
                <a:gd name="connsiteX6" fmla="*/ 187153 w 387211"/>
                <a:gd name="connsiteY6" fmla="*/ 109710 h 387211"/>
                <a:gd name="connsiteX7" fmla="*/ 109711 w 387211"/>
                <a:gd name="connsiteY7" fmla="*/ 251688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329131" y="303316"/>
                  </a:moveTo>
                  <a:lnTo>
                    <a:pt x="96803" y="251688"/>
                  </a:lnTo>
                  <a:lnTo>
                    <a:pt x="174246" y="96803"/>
                  </a:lnTo>
                  <a:lnTo>
                    <a:pt x="329131" y="303316"/>
                  </a:lnTo>
                  <a:close/>
                  <a:moveTo>
                    <a:pt x="109711" y="251688"/>
                  </a:moveTo>
                  <a:lnTo>
                    <a:pt x="316224" y="290409"/>
                  </a:lnTo>
                  <a:lnTo>
                    <a:pt x="187153" y="109710"/>
                  </a:lnTo>
                  <a:lnTo>
                    <a:pt x="109711" y="2516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3" name="Freeform: Shape 3302">
              <a:extLst>
                <a:ext uri="{FF2B5EF4-FFF2-40B4-BE49-F238E27FC236}">
                  <a16:creationId xmlns:a16="http://schemas.microsoft.com/office/drawing/2014/main" id="{5219BB08-1C41-4B70-98DD-3D8C9E146606}"/>
                </a:ext>
              </a:extLst>
            </p:cNvPr>
            <p:cNvSpPr/>
            <p:nvPr/>
          </p:nvSpPr>
          <p:spPr>
            <a:xfrm>
              <a:off x="13787445" y="5848080"/>
              <a:ext cx="387212" cy="387212"/>
            </a:xfrm>
            <a:custGeom>
              <a:avLst/>
              <a:gdLst>
                <a:gd name="connsiteX0" fmla="*/ 122618 w 387211"/>
                <a:gd name="connsiteY0" fmla="*/ 367851 h 387211"/>
                <a:gd name="connsiteX1" fmla="*/ 96803 w 387211"/>
                <a:gd name="connsiteY1" fmla="*/ 187153 h 387211"/>
                <a:gd name="connsiteX2" fmla="*/ 354944 w 387211"/>
                <a:gd name="connsiteY2" fmla="*/ 96803 h 387211"/>
                <a:gd name="connsiteX3" fmla="*/ 122618 w 387211"/>
                <a:gd name="connsiteY3" fmla="*/ 367851 h 387211"/>
                <a:gd name="connsiteX4" fmla="*/ 109710 w 387211"/>
                <a:gd name="connsiteY4" fmla="*/ 200059 h 387211"/>
                <a:gd name="connsiteX5" fmla="*/ 135525 w 387211"/>
                <a:gd name="connsiteY5" fmla="*/ 354944 h 387211"/>
                <a:gd name="connsiteX6" fmla="*/ 354944 w 387211"/>
                <a:gd name="connsiteY6" fmla="*/ 109710 h 387211"/>
                <a:gd name="connsiteX7" fmla="*/ 109710 w 387211"/>
                <a:gd name="connsiteY7" fmla="*/ 200059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387211">
                  <a:moveTo>
                    <a:pt x="122618" y="367851"/>
                  </a:moveTo>
                  <a:lnTo>
                    <a:pt x="96803" y="187153"/>
                  </a:lnTo>
                  <a:lnTo>
                    <a:pt x="354944" y="96803"/>
                  </a:lnTo>
                  <a:lnTo>
                    <a:pt x="122618" y="367851"/>
                  </a:lnTo>
                  <a:close/>
                  <a:moveTo>
                    <a:pt x="109710" y="200059"/>
                  </a:moveTo>
                  <a:lnTo>
                    <a:pt x="135525" y="354944"/>
                  </a:lnTo>
                  <a:lnTo>
                    <a:pt x="354944" y="109710"/>
                  </a:lnTo>
                  <a:lnTo>
                    <a:pt x="109710" y="2000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4" name="Freeform: Shape 3303">
              <a:extLst>
                <a:ext uri="{FF2B5EF4-FFF2-40B4-BE49-F238E27FC236}">
                  <a16:creationId xmlns:a16="http://schemas.microsoft.com/office/drawing/2014/main" id="{5895996E-FE35-43EB-A2F8-DDEC11E59CDF}"/>
                </a:ext>
              </a:extLst>
            </p:cNvPr>
            <p:cNvSpPr/>
            <p:nvPr/>
          </p:nvSpPr>
          <p:spPr>
            <a:xfrm>
              <a:off x="13826166" y="5848080"/>
              <a:ext cx="387212" cy="645353"/>
            </a:xfrm>
            <a:custGeom>
              <a:avLst/>
              <a:gdLst>
                <a:gd name="connsiteX0" fmla="*/ 238781 w 387211"/>
                <a:gd name="connsiteY0" fmla="*/ 561457 h 645353"/>
                <a:gd name="connsiteX1" fmla="*/ 96803 w 387211"/>
                <a:gd name="connsiteY1" fmla="*/ 367851 h 645353"/>
                <a:gd name="connsiteX2" fmla="*/ 96803 w 387211"/>
                <a:gd name="connsiteY2" fmla="*/ 367851 h 645353"/>
                <a:gd name="connsiteX3" fmla="*/ 329130 w 387211"/>
                <a:gd name="connsiteY3" fmla="*/ 96803 h 645353"/>
                <a:gd name="connsiteX4" fmla="*/ 238781 w 387211"/>
                <a:gd name="connsiteY4" fmla="*/ 561457 h 645353"/>
                <a:gd name="connsiteX5" fmla="*/ 96803 w 387211"/>
                <a:gd name="connsiteY5" fmla="*/ 367851 h 645353"/>
                <a:gd name="connsiteX6" fmla="*/ 238781 w 387211"/>
                <a:gd name="connsiteY6" fmla="*/ 548550 h 645353"/>
                <a:gd name="connsiteX7" fmla="*/ 316223 w 387211"/>
                <a:gd name="connsiteY7" fmla="*/ 122617 h 645353"/>
                <a:gd name="connsiteX8" fmla="*/ 96803 w 387211"/>
                <a:gd name="connsiteY8" fmla="*/ 367851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645353">
                  <a:moveTo>
                    <a:pt x="238781" y="561457"/>
                  </a:moveTo>
                  <a:lnTo>
                    <a:pt x="96803" y="367851"/>
                  </a:lnTo>
                  <a:lnTo>
                    <a:pt x="96803" y="367851"/>
                  </a:lnTo>
                  <a:lnTo>
                    <a:pt x="329130" y="96803"/>
                  </a:lnTo>
                  <a:lnTo>
                    <a:pt x="238781" y="561457"/>
                  </a:lnTo>
                  <a:close/>
                  <a:moveTo>
                    <a:pt x="96803" y="367851"/>
                  </a:moveTo>
                  <a:lnTo>
                    <a:pt x="238781" y="548550"/>
                  </a:lnTo>
                  <a:lnTo>
                    <a:pt x="316223" y="122617"/>
                  </a:lnTo>
                  <a:lnTo>
                    <a:pt x="96803" y="36785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5" name="Freeform: Shape 3304">
              <a:extLst>
                <a:ext uri="{FF2B5EF4-FFF2-40B4-BE49-F238E27FC236}">
                  <a16:creationId xmlns:a16="http://schemas.microsoft.com/office/drawing/2014/main" id="{8A75C732-2116-4312-86AE-58E1ACC5A9DB}"/>
                </a:ext>
              </a:extLst>
            </p:cNvPr>
            <p:cNvSpPr/>
            <p:nvPr/>
          </p:nvSpPr>
          <p:spPr>
            <a:xfrm>
              <a:off x="12987207" y="5912615"/>
              <a:ext cx="387212" cy="516283"/>
            </a:xfrm>
            <a:custGeom>
              <a:avLst/>
              <a:gdLst>
                <a:gd name="connsiteX0" fmla="*/ 200059 w 387211"/>
                <a:gd name="connsiteY0" fmla="*/ 535643 h 516282"/>
                <a:gd name="connsiteX1" fmla="*/ 96803 w 387211"/>
                <a:gd name="connsiteY1" fmla="*/ 96803 h 516282"/>
                <a:gd name="connsiteX2" fmla="*/ 303316 w 387211"/>
                <a:gd name="connsiteY2" fmla="*/ 522736 h 516282"/>
                <a:gd name="connsiteX3" fmla="*/ 200059 w 387211"/>
                <a:gd name="connsiteY3" fmla="*/ 535643 h 516282"/>
                <a:gd name="connsiteX4" fmla="*/ 122617 w 387211"/>
                <a:gd name="connsiteY4" fmla="*/ 148431 h 516282"/>
                <a:gd name="connsiteX5" fmla="*/ 212967 w 387211"/>
                <a:gd name="connsiteY5" fmla="*/ 535643 h 516282"/>
                <a:gd name="connsiteX6" fmla="*/ 303316 w 387211"/>
                <a:gd name="connsiteY6" fmla="*/ 522736 h 516282"/>
                <a:gd name="connsiteX7" fmla="*/ 122617 w 387211"/>
                <a:gd name="connsiteY7" fmla="*/ 148431 h 51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11" h="516282">
                  <a:moveTo>
                    <a:pt x="200059" y="535643"/>
                  </a:moveTo>
                  <a:lnTo>
                    <a:pt x="96803" y="96803"/>
                  </a:lnTo>
                  <a:lnTo>
                    <a:pt x="303316" y="522736"/>
                  </a:lnTo>
                  <a:lnTo>
                    <a:pt x="200059" y="535643"/>
                  </a:lnTo>
                  <a:close/>
                  <a:moveTo>
                    <a:pt x="122617" y="148431"/>
                  </a:moveTo>
                  <a:lnTo>
                    <a:pt x="212967" y="535643"/>
                  </a:lnTo>
                  <a:lnTo>
                    <a:pt x="303316" y="522736"/>
                  </a:lnTo>
                  <a:lnTo>
                    <a:pt x="122617" y="14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6" name="Freeform: Shape 3305">
              <a:extLst>
                <a:ext uri="{FF2B5EF4-FFF2-40B4-BE49-F238E27FC236}">
                  <a16:creationId xmlns:a16="http://schemas.microsoft.com/office/drawing/2014/main" id="{44A0CF10-54CD-42A8-B552-37F01EA39D73}"/>
                </a:ext>
              </a:extLst>
            </p:cNvPr>
            <p:cNvSpPr/>
            <p:nvPr/>
          </p:nvSpPr>
          <p:spPr>
            <a:xfrm>
              <a:off x="13090463" y="6338548"/>
              <a:ext cx="258141" cy="258141"/>
            </a:xfrm>
            <a:custGeom>
              <a:avLst/>
              <a:gdLst>
                <a:gd name="connsiteX0" fmla="*/ 187153 w 258141"/>
                <a:gd name="connsiteY0" fmla="*/ 174246 h 258141"/>
                <a:gd name="connsiteX1" fmla="*/ 96803 w 258141"/>
                <a:gd name="connsiteY1" fmla="*/ 109710 h 258141"/>
                <a:gd name="connsiteX2" fmla="*/ 212967 w 258141"/>
                <a:gd name="connsiteY2" fmla="*/ 96803 h 258141"/>
                <a:gd name="connsiteX3" fmla="*/ 187153 w 258141"/>
                <a:gd name="connsiteY3" fmla="*/ 174246 h 258141"/>
                <a:gd name="connsiteX4" fmla="*/ 109711 w 258141"/>
                <a:gd name="connsiteY4" fmla="*/ 109710 h 258141"/>
                <a:gd name="connsiteX5" fmla="*/ 187153 w 258141"/>
                <a:gd name="connsiteY5" fmla="*/ 161338 h 258141"/>
                <a:gd name="connsiteX6" fmla="*/ 200060 w 258141"/>
                <a:gd name="connsiteY6" fmla="*/ 96803 h 258141"/>
                <a:gd name="connsiteX7" fmla="*/ 109711 w 258141"/>
                <a:gd name="connsiteY7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258141">
                  <a:moveTo>
                    <a:pt x="187153" y="174246"/>
                  </a:moveTo>
                  <a:lnTo>
                    <a:pt x="96803" y="109710"/>
                  </a:lnTo>
                  <a:lnTo>
                    <a:pt x="212967" y="96803"/>
                  </a:lnTo>
                  <a:lnTo>
                    <a:pt x="187153" y="174246"/>
                  </a:lnTo>
                  <a:close/>
                  <a:moveTo>
                    <a:pt x="109711" y="109710"/>
                  </a:moveTo>
                  <a:lnTo>
                    <a:pt x="187153" y="161338"/>
                  </a:lnTo>
                  <a:lnTo>
                    <a:pt x="200060" y="96803"/>
                  </a:lnTo>
                  <a:lnTo>
                    <a:pt x="109711" y="1097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7" name="Freeform: Shape 3306">
              <a:extLst>
                <a:ext uri="{FF2B5EF4-FFF2-40B4-BE49-F238E27FC236}">
                  <a16:creationId xmlns:a16="http://schemas.microsoft.com/office/drawing/2014/main" id="{A11C6D54-F9F2-4D72-846E-AF741CDBE96E}"/>
                </a:ext>
              </a:extLst>
            </p:cNvPr>
            <p:cNvSpPr/>
            <p:nvPr/>
          </p:nvSpPr>
          <p:spPr>
            <a:xfrm>
              <a:off x="13180813" y="6325641"/>
              <a:ext cx="645353" cy="387212"/>
            </a:xfrm>
            <a:custGeom>
              <a:avLst/>
              <a:gdLst>
                <a:gd name="connsiteX0" fmla="*/ 587271 w 645353"/>
                <a:gd name="connsiteY0" fmla="*/ 303316 h 387211"/>
                <a:gd name="connsiteX1" fmla="*/ 96803 w 645353"/>
                <a:gd name="connsiteY1" fmla="*/ 187153 h 387211"/>
                <a:gd name="connsiteX2" fmla="*/ 122617 w 645353"/>
                <a:gd name="connsiteY2" fmla="*/ 109710 h 387211"/>
                <a:gd name="connsiteX3" fmla="*/ 122617 w 645353"/>
                <a:gd name="connsiteY3" fmla="*/ 109710 h 387211"/>
                <a:gd name="connsiteX4" fmla="*/ 587271 w 645353"/>
                <a:gd name="connsiteY4" fmla="*/ 303316 h 387211"/>
                <a:gd name="connsiteX5" fmla="*/ 587271 w 645353"/>
                <a:gd name="connsiteY5" fmla="*/ 303316 h 387211"/>
                <a:gd name="connsiteX6" fmla="*/ 96803 w 645353"/>
                <a:gd name="connsiteY6" fmla="*/ 174245 h 387211"/>
                <a:gd name="connsiteX7" fmla="*/ 535643 w 645353"/>
                <a:gd name="connsiteY7" fmla="*/ 277502 h 387211"/>
                <a:gd name="connsiteX8" fmla="*/ 109710 w 645353"/>
                <a:gd name="connsiteY8" fmla="*/ 96803 h 387211"/>
                <a:gd name="connsiteX9" fmla="*/ 96803 w 645353"/>
                <a:gd name="connsiteY9" fmla="*/ 174245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5353" h="387211">
                  <a:moveTo>
                    <a:pt x="587271" y="303316"/>
                  </a:moveTo>
                  <a:lnTo>
                    <a:pt x="96803" y="187153"/>
                  </a:lnTo>
                  <a:lnTo>
                    <a:pt x="122617" y="109710"/>
                  </a:lnTo>
                  <a:lnTo>
                    <a:pt x="122617" y="109710"/>
                  </a:lnTo>
                  <a:lnTo>
                    <a:pt x="587271" y="303316"/>
                  </a:lnTo>
                  <a:lnTo>
                    <a:pt x="587271" y="303316"/>
                  </a:lnTo>
                  <a:close/>
                  <a:moveTo>
                    <a:pt x="96803" y="174245"/>
                  </a:moveTo>
                  <a:lnTo>
                    <a:pt x="535643" y="277502"/>
                  </a:lnTo>
                  <a:lnTo>
                    <a:pt x="109710" y="96803"/>
                  </a:lnTo>
                  <a:lnTo>
                    <a:pt x="96803" y="1742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8" name="Freeform: Shape 3307">
              <a:extLst>
                <a:ext uri="{FF2B5EF4-FFF2-40B4-BE49-F238E27FC236}">
                  <a16:creationId xmlns:a16="http://schemas.microsoft.com/office/drawing/2014/main" id="{D1E2BCC7-C196-4B93-8F67-327774CD2004}"/>
                </a:ext>
              </a:extLst>
            </p:cNvPr>
            <p:cNvSpPr/>
            <p:nvPr/>
          </p:nvSpPr>
          <p:spPr>
            <a:xfrm>
              <a:off x="13826166" y="5215633"/>
              <a:ext cx="387212" cy="645353"/>
            </a:xfrm>
            <a:custGeom>
              <a:avLst/>
              <a:gdLst>
                <a:gd name="connsiteX0" fmla="*/ 367851 w 387211"/>
                <a:gd name="connsiteY0" fmla="*/ 548550 h 645353"/>
                <a:gd name="connsiteX1" fmla="*/ 96803 w 387211"/>
                <a:gd name="connsiteY1" fmla="*/ 96803 h 645353"/>
                <a:gd name="connsiteX2" fmla="*/ 329130 w 387211"/>
                <a:gd name="connsiteY2" fmla="*/ 109710 h 645353"/>
                <a:gd name="connsiteX3" fmla="*/ 329130 w 387211"/>
                <a:gd name="connsiteY3" fmla="*/ 109710 h 645353"/>
                <a:gd name="connsiteX4" fmla="*/ 367851 w 387211"/>
                <a:gd name="connsiteY4" fmla="*/ 548550 h 645353"/>
                <a:gd name="connsiteX5" fmla="*/ 109710 w 387211"/>
                <a:gd name="connsiteY5" fmla="*/ 96803 h 645353"/>
                <a:gd name="connsiteX6" fmla="*/ 354944 w 387211"/>
                <a:gd name="connsiteY6" fmla="*/ 509829 h 645353"/>
                <a:gd name="connsiteX7" fmla="*/ 329130 w 387211"/>
                <a:gd name="connsiteY7" fmla="*/ 96803 h 645353"/>
                <a:gd name="connsiteX8" fmla="*/ 109710 w 387211"/>
                <a:gd name="connsiteY8" fmla="*/ 96803 h 64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645353">
                  <a:moveTo>
                    <a:pt x="367851" y="548550"/>
                  </a:moveTo>
                  <a:lnTo>
                    <a:pt x="96803" y="96803"/>
                  </a:lnTo>
                  <a:lnTo>
                    <a:pt x="329130" y="109710"/>
                  </a:lnTo>
                  <a:lnTo>
                    <a:pt x="329130" y="109710"/>
                  </a:lnTo>
                  <a:lnTo>
                    <a:pt x="367851" y="548550"/>
                  </a:lnTo>
                  <a:close/>
                  <a:moveTo>
                    <a:pt x="109710" y="96803"/>
                  </a:moveTo>
                  <a:lnTo>
                    <a:pt x="354944" y="509829"/>
                  </a:lnTo>
                  <a:lnTo>
                    <a:pt x="329130" y="96803"/>
                  </a:lnTo>
                  <a:lnTo>
                    <a:pt x="109710" y="968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09" name="Freeform: Shape 3308">
              <a:extLst>
                <a:ext uri="{FF2B5EF4-FFF2-40B4-BE49-F238E27FC236}">
                  <a16:creationId xmlns:a16="http://schemas.microsoft.com/office/drawing/2014/main" id="{1BB5410A-CBA6-4FEA-8D35-6A3D2D4EB1A8}"/>
                </a:ext>
              </a:extLst>
            </p:cNvPr>
            <p:cNvSpPr/>
            <p:nvPr/>
          </p:nvSpPr>
          <p:spPr>
            <a:xfrm>
              <a:off x="14794196" y="6545061"/>
              <a:ext cx="258141" cy="903494"/>
            </a:xfrm>
            <a:custGeom>
              <a:avLst/>
              <a:gdLst>
                <a:gd name="connsiteX0" fmla="*/ 212967 w 258141"/>
                <a:gd name="connsiteY0" fmla="*/ 884134 h 903494"/>
                <a:gd name="connsiteX1" fmla="*/ 96803 w 258141"/>
                <a:gd name="connsiteY1" fmla="*/ 522736 h 903494"/>
                <a:gd name="connsiteX2" fmla="*/ 174245 w 258141"/>
                <a:gd name="connsiteY2" fmla="*/ 96803 h 903494"/>
                <a:gd name="connsiteX3" fmla="*/ 212967 w 258141"/>
                <a:gd name="connsiteY3" fmla="*/ 884134 h 903494"/>
                <a:gd name="connsiteX4" fmla="*/ 109710 w 258141"/>
                <a:gd name="connsiteY4" fmla="*/ 522736 h 903494"/>
                <a:gd name="connsiteX5" fmla="*/ 212967 w 258141"/>
                <a:gd name="connsiteY5" fmla="*/ 832505 h 903494"/>
                <a:gd name="connsiteX6" fmla="*/ 174245 w 258141"/>
                <a:gd name="connsiteY6" fmla="*/ 148431 h 903494"/>
                <a:gd name="connsiteX7" fmla="*/ 109710 w 258141"/>
                <a:gd name="connsiteY7" fmla="*/ 522736 h 90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141" h="903494">
                  <a:moveTo>
                    <a:pt x="212967" y="884134"/>
                  </a:moveTo>
                  <a:lnTo>
                    <a:pt x="96803" y="522736"/>
                  </a:lnTo>
                  <a:lnTo>
                    <a:pt x="174245" y="96803"/>
                  </a:lnTo>
                  <a:lnTo>
                    <a:pt x="212967" y="884134"/>
                  </a:lnTo>
                  <a:close/>
                  <a:moveTo>
                    <a:pt x="109710" y="522736"/>
                  </a:moveTo>
                  <a:lnTo>
                    <a:pt x="212967" y="832505"/>
                  </a:lnTo>
                  <a:lnTo>
                    <a:pt x="174245" y="148431"/>
                  </a:lnTo>
                  <a:lnTo>
                    <a:pt x="109710" y="5227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0" name="Freeform: Shape 3309">
              <a:extLst>
                <a:ext uri="{FF2B5EF4-FFF2-40B4-BE49-F238E27FC236}">
                  <a16:creationId xmlns:a16="http://schemas.microsoft.com/office/drawing/2014/main" id="{64B6DAE0-3F46-47A8-9D8D-A9B5D6E919E2}"/>
                </a:ext>
              </a:extLst>
            </p:cNvPr>
            <p:cNvSpPr/>
            <p:nvPr/>
          </p:nvSpPr>
          <p:spPr>
            <a:xfrm>
              <a:off x="14303727" y="7345299"/>
              <a:ext cx="387212" cy="774424"/>
            </a:xfrm>
            <a:custGeom>
              <a:avLst/>
              <a:gdLst>
                <a:gd name="connsiteX0" fmla="*/ 354944 w 387211"/>
                <a:gd name="connsiteY0" fmla="*/ 780878 h 774423"/>
                <a:gd name="connsiteX1" fmla="*/ 96803 w 387211"/>
                <a:gd name="connsiteY1" fmla="*/ 600179 h 774423"/>
                <a:gd name="connsiteX2" fmla="*/ 96803 w 387211"/>
                <a:gd name="connsiteY2" fmla="*/ 600179 h 774423"/>
                <a:gd name="connsiteX3" fmla="*/ 225874 w 387211"/>
                <a:gd name="connsiteY3" fmla="*/ 96803 h 774423"/>
                <a:gd name="connsiteX4" fmla="*/ 354944 w 387211"/>
                <a:gd name="connsiteY4" fmla="*/ 780878 h 774423"/>
                <a:gd name="connsiteX5" fmla="*/ 96803 w 387211"/>
                <a:gd name="connsiteY5" fmla="*/ 600179 h 774423"/>
                <a:gd name="connsiteX6" fmla="*/ 342037 w 387211"/>
                <a:gd name="connsiteY6" fmla="*/ 780878 h 774423"/>
                <a:gd name="connsiteX7" fmla="*/ 225874 w 387211"/>
                <a:gd name="connsiteY7" fmla="*/ 122617 h 774423"/>
                <a:gd name="connsiteX8" fmla="*/ 96803 w 387211"/>
                <a:gd name="connsiteY8" fmla="*/ 600179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211" h="774423">
                  <a:moveTo>
                    <a:pt x="354944" y="780878"/>
                  </a:moveTo>
                  <a:lnTo>
                    <a:pt x="96803" y="600179"/>
                  </a:lnTo>
                  <a:lnTo>
                    <a:pt x="96803" y="600179"/>
                  </a:lnTo>
                  <a:lnTo>
                    <a:pt x="225874" y="96803"/>
                  </a:lnTo>
                  <a:lnTo>
                    <a:pt x="354944" y="780878"/>
                  </a:lnTo>
                  <a:close/>
                  <a:moveTo>
                    <a:pt x="96803" y="600179"/>
                  </a:moveTo>
                  <a:lnTo>
                    <a:pt x="342037" y="780878"/>
                  </a:lnTo>
                  <a:lnTo>
                    <a:pt x="225874" y="122617"/>
                  </a:lnTo>
                  <a:lnTo>
                    <a:pt x="96803" y="6001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1" name="Freeform: Shape 3310">
              <a:extLst>
                <a:ext uri="{FF2B5EF4-FFF2-40B4-BE49-F238E27FC236}">
                  <a16:creationId xmlns:a16="http://schemas.microsoft.com/office/drawing/2014/main" id="{5192CDA1-C876-4602-8B01-FDCF9B8D81B1}"/>
                </a:ext>
              </a:extLst>
            </p:cNvPr>
            <p:cNvSpPr/>
            <p:nvPr/>
          </p:nvSpPr>
          <p:spPr>
            <a:xfrm>
              <a:off x="14871638" y="6648318"/>
              <a:ext cx="387212" cy="774424"/>
            </a:xfrm>
            <a:custGeom>
              <a:avLst/>
              <a:gdLst>
                <a:gd name="connsiteX0" fmla="*/ 135525 w 387211"/>
                <a:gd name="connsiteY0" fmla="*/ 767970 h 774423"/>
                <a:gd name="connsiteX1" fmla="*/ 135525 w 387211"/>
                <a:gd name="connsiteY1" fmla="*/ 767970 h 774423"/>
                <a:gd name="connsiteX2" fmla="*/ 96803 w 387211"/>
                <a:gd name="connsiteY2" fmla="*/ 96803 h 774423"/>
                <a:gd name="connsiteX3" fmla="*/ 109710 w 387211"/>
                <a:gd name="connsiteY3" fmla="*/ 109710 h 774423"/>
                <a:gd name="connsiteX4" fmla="*/ 406573 w 387211"/>
                <a:gd name="connsiteY4" fmla="*/ 677621 h 774423"/>
                <a:gd name="connsiteX5" fmla="*/ 406573 w 387211"/>
                <a:gd name="connsiteY5" fmla="*/ 677621 h 774423"/>
                <a:gd name="connsiteX6" fmla="*/ 135525 w 387211"/>
                <a:gd name="connsiteY6" fmla="*/ 767970 h 774423"/>
                <a:gd name="connsiteX7" fmla="*/ 109710 w 387211"/>
                <a:gd name="connsiteY7" fmla="*/ 122617 h 774423"/>
                <a:gd name="connsiteX8" fmla="*/ 148431 w 387211"/>
                <a:gd name="connsiteY8" fmla="*/ 755063 h 774423"/>
                <a:gd name="connsiteX9" fmla="*/ 406573 w 387211"/>
                <a:gd name="connsiteY9" fmla="*/ 677621 h 774423"/>
                <a:gd name="connsiteX10" fmla="*/ 109710 w 387211"/>
                <a:gd name="connsiteY10" fmla="*/ 122617 h 77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7211" h="774423">
                  <a:moveTo>
                    <a:pt x="135525" y="767970"/>
                  </a:moveTo>
                  <a:lnTo>
                    <a:pt x="135525" y="767970"/>
                  </a:lnTo>
                  <a:lnTo>
                    <a:pt x="96803" y="96803"/>
                  </a:lnTo>
                  <a:lnTo>
                    <a:pt x="109710" y="109710"/>
                  </a:lnTo>
                  <a:lnTo>
                    <a:pt x="406573" y="677621"/>
                  </a:lnTo>
                  <a:lnTo>
                    <a:pt x="406573" y="677621"/>
                  </a:lnTo>
                  <a:lnTo>
                    <a:pt x="135525" y="767970"/>
                  </a:lnTo>
                  <a:close/>
                  <a:moveTo>
                    <a:pt x="109710" y="122617"/>
                  </a:moveTo>
                  <a:lnTo>
                    <a:pt x="148431" y="755063"/>
                  </a:lnTo>
                  <a:lnTo>
                    <a:pt x="406573" y="677621"/>
                  </a:lnTo>
                  <a:lnTo>
                    <a:pt x="109710" y="1226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2" name="Freeform: Shape 3311">
              <a:extLst>
                <a:ext uri="{FF2B5EF4-FFF2-40B4-BE49-F238E27FC236}">
                  <a16:creationId xmlns:a16="http://schemas.microsoft.com/office/drawing/2014/main" id="{541791A0-54CD-4E40-BC52-DC660DA99DD6}"/>
                </a:ext>
              </a:extLst>
            </p:cNvPr>
            <p:cNvSpPr/>
            <p:nvPr/>
          </p:nvSpPr>
          <p:spPr>
            <a:xfrm>
              <a:off x="14148843" y="395074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3" name="Freeform: Shape 3312">
              <a:extLst>
                <a:ext uri="{FF2B5EF4-FFF2-40B4-BE49-F238E27FC236}">
                  <a16:creationId xmlns:a16="http://schemas.microsoft.com/office/drawing/2014/main" id="{720A73BD-6CC8-4FB1-80B9-43793A1C6AA1}"/>
                </a:ext>
              </a:extLst>
            </p:cNvPr>
            <p:cNvSpPr/>
            <p:nvPr/>
          </p:nvSpPr>
          <p:spPr>
            <a:xfrm>
              <a:off x="14084308" y="3628065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4" name="Freeform: Shape 3313">
              <a:extLst>
                <a:ext uri="{FF2B5EF4-FFF2-40B4-BE49-F238E27FC236}">
                  <a16:creationId xmlns:a16="http://schemas.microsoft.com/office/drawing/2014/main" id="{717256AF-8C56-4D24-BD79-C9FA71B73F2C}"/>
                </a:ext>
              </a:extLst>
            </p:cNvPr>
            <p:cNvSpPr/>
            <p:nvPr/>
          </p:nvSpPr>
          <p:spPr>
            <a:xfrm>
              <a:off x="14213378" y="3611725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5" name="Freeform: Shape 3314">
              <a:extLst>
                <a:ext uri="{FF2B5EF4-FFF2-40B4-BE49-F238E27FC236}">
                  <a16:creationId xmlns:a16="http://schemas.microsoft.com/office/drawing/2014/main" id="{A6CCEE2F-15B9-4BEB-BFED-D3768DCBB519}"/>
                </a:ext>
              </a:extLst>
            </p:cNvPr>
            <p:cNvSpPr/>
            <p:nvPr/>
          </p:nvSpPr>
          <p:spPr>
            <a:xfrm>
              <a:off x="14716754" y="374422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6" name="Freeform: Shape 3315">
              <a:extLst>
                <a:ext uri="{FF2B5EF4-FFF2-40B4-BE49-F238E27FC236}">
                  <a16:creationId xmlns:a16="http://schemas.microsoft.com/office/drawing/2014/main" id="{B472A6AD-CA42-4A4E-9BB3-B997DB028D5C}"/>
                </a:ext>
              </a:extLst>
            </p:cNvPr>
            <p:cNvSpPr/>
            <p:nvPr/>
          </p:nvSpPr>
          <p:spPr>
            <a:xfrm>
              <a:off x="14329542" y="396364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7" name="Freeform: Shape 3316">
              <a:extLst>
                <a:ext uri="{FF2B5EF4-FFF2-40B4-BE49-F238E27FC236}">
                  <a16:creationId xmlns:a16="http://schemas.microsoft.com/office/drawing/2014/main" id="{368ACCBF-622E-4D36-973C-E655E52AF26D}"/>
                </a:ext>
              </a:extLst>
            </p:cNvPr>
            <p:cNvSpPr/>
            <p:nvPr/>
          </p:nvSpPr>
          <p:spPr>
            <a:xfrm>
              <a:off x="12638716" y="5034935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8" name="Freeform: Shape 3317">
              <a:extLst>
                <a:ext uri="{FF2B5EF4-FFF2-40B4-BE49-F238E27FC236}">
                  <a16:creationId xmlns:a16="http://schemas.microsoft.com/office/drawing/2014/main" id="{5BE8B6A6-EF27-46E6-A824-1AC1C86552C6}"/>
                </a:ext>
              </a:extLst>
            </p:cNvPr>
            <p:cNvSpPr/>
            <p:nvPr/>
          </p:nvSpPr>
          <p:spPr>
            <a:xfrm>
              <a:off x="13271162" y="580935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19" name="Freeform: Shape 3318">
              <a:extLst>
                <a:ext uri="{FF2B5EF4-FFF2-40B4-BE49-F238E27FC236}">
                  <a16:creationId xmlns:a16="http://schemas.microsoft.com/office/drawing/2014/main" id="{B6F621CE-BFA8-4742-B3DF-7C8724ED1206}"/>
                </a:ext>
              </a:extLst>
            </p:cNvPr>
            <p:cNvSpPr/>
            <p:nvPr/>
          </p:nvSpPr>
          <p:spPr>
            <a:xfrm>
              <a:off x="12961392" y="5912615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22618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0" name="Freeform: Shape 3319">
              <a:extLst>
                <a:ext uri="{FF2B5EF4-FFF2-40B4-BE49-F238E27FC236}">
                  <a16:creationId xmlns:a16="http://schemas.microsoft.com/office/drawing/2014/main" id="{6D2599BB-E5B3-4508-94E9-318BA71105A6}"/>
                </a:ext>
              </a:extLst>
            </p:cNvPr>
            <p:cNvSpPr/>
            <p:nvPr/>
          </p:nvSpPr>
          <p:spPr>
            <a:xfrm>
              <a:off x="13929422" y="6261106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1" name="Freeform: Shape 3320">
              <a:extLst>
                <a:ext uri="{FF2B5EF4-FFF2-40B4-BE49-F238E27FC236}">
                  <a16:creationId xmlns:a16="http://schemas.microsoft.com/office/drawing/2014/main" id="{65A7894F-06B2-4034-B37E-300CDAA0C00B}"/>
                </a:ext>
              </a:extLst>
            </p:cNvPr>
            <p:cNvSpPr/>
            <p:nvPr/>
          </p:nvSpPr>
          <p:spPr>
            <a:xfrm>
              <a:off x="13851980" y="711297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6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6"/>
                    <a:pt x="135525" y="174246"/>
                  </a:cubicBezTo>
                  <a:cubicBezTo>
                    <a:pt x="109710" y="174246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2" name="Freeform: Shape 3321">
              <a:extLst>
                <a:ext uri="{FF2B5EF4-FFF2-40B4-BE49-F238E27FC236}">
                  <a16:creationId xmlns:a16="http://schemas.microsoft.com/office/drawing/2014/main" id="{296CC8B5-22FD-4274-86D1-F5D9A2C3F5BA}"/>
                </a:ext>
              </a:extLst>
            </p:cNvPr>
            <p:cNvSpPr/>
            <p:nvPr/>
          </p:nvSpPr>
          <p:spPr>
            <a:xfrm>
              <a:off x="13555118" y="7990652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96803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3" name="Freeform: Shape 3322">
              <a:extLst>
                <a:ext uri="{FF2B5EF4-FFF2-40B4-BE49-F238E27FC236}">
                  <a16:creationId xmlns:a16="http://schemas.microsoft.com/office/drawing/2014/main" id="{1449E4FA-2B63-4722-9CF1-F6A49090CE3C}"/>
                </a:ext>
              </a:extLst>
            </p:cNvPr>
            <p:cNvSpPr/>
            <p:nvPr/>
          </p:nvSpPr>
          <p:spPr>
            <a:xfrm>
              <a:off x="13568025" y="7797046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4" name="Freeform: Shape 3323">
              <a:extLst>
                <a:ext uri="{FF2B5EF4-FFF2-40B4-BE49-F238E27FC236}">
                  <a16:creationId xmlns:a16="http://schemas.microsoft.com/office/drawing/2014/main" id="{E4F83623-AF6C-4165-9F1F-EC1DFC466F29}"/>
                </a:ext>
              </a:extLst>
            </p:cNvPr>
            <p:cNvSpPr/>
            <p:nvPr/>
          </p:nvSpPr>
          <p:spPr>
            <a:xfrm>
              <a:off x="13542210" y="7229136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22618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5" name="Freeform: Shape 3324">
              <a:extLst>
                <a:ext uri="{FF2B5EF4-FFF2-40B4-BE49-F238E27FC236}">
                  <a16:creationId xmlns:a16="http://schemas.microsoft.com/office/drawing/2014/main" id="{C9553194-C75B-451D-BF2D-71CA0C16EB4E}"/>
                </a:ext>
              </a:extLst>
            </p:cNvPr>
            <p:cNvSpPr/>
            <p:nvPr/>
          </p:nvSpPr>
          <p:spPr>
            <a:xfrm>
              <a:off x="14845825" y="648052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6" name="Freeform: Shape 3325">
              <a:extLst>
                <a:ext uri="{FF2B5EF4-FFF2-40B4-BE49-F238E27FC236}">
                  <a16:creationId xmlns:a16="http://schemas.microsoft.com/office/drawing/2014/main" id="{3ACBFD97-BA52-4BEC-90ED-3704C361405D}"/>
                </a:ext>
              </a:extLst>
            </p:cNvPr>
            <p:cNvSpPr/>
            <p:nvPr/>
          </p:nvSpPr>
          <p:spPr>
            <a:xfrm>
              <a:off x="14213378" y="680320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7" name="Freeform: Shape 3326">
              <a:extLst>
                <a:ext uri="{FF2B5EF4-FFF2-40B4-BE49-F238E27FC236}">
                  <a16:creationId xmlns:a16="http://schemas.microsoft.com/office/drawing/2014/main" id="{C23DB1CE-378F-4B47-80DA-3C3AB370A37C}"/>
                </a:ext>
              </a:extLst>
            </p:cNvPr>
            <p:cNvSpPr/>
            <p:nvPr/>
          </p:nvSpPr>
          <p:spPr>
            <a:xfrm>
              <a:off x="14523148" y="7987219"/>
              <a:ext cx="258141" cy="258141"/>
            </a:xfrm>
            <a:custGeom>
              <a:avLst/>
              <a:gdLst>
                <a:gd name="connsiteX0" fmla="*/ 174245 w 258141"/>
                <a:gd name="connsiteY0" fmla="*/ 138958 h 258141"/>
                <a:gd name="connsiteX1" fmla="*/ 135524 w 258141"/>
                <a:gd name="connsiteY1" fmla="*/ 177679 h 258141"/>
                <a:gd name="connsiteX2" fmla="*/ 96803 w 258141"/>
                <a:gd name="connsiteY2" fmla="*/ 138958 h 258141"/>
                <a:gd name="connsiteX3" fmla="*/ 135524 w 258141"/>
                <a:gd name="connsiteY3" fmla="*/ 100236 h 258141"/>
                <a:gd name="connsiteX4" fmla="*/ 174245 w 258141"/>
                <a:gd name="connsiteY4" fmla="*/ 13895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8"/>
                  </a:moveTo>
                  <a:cubicBezTo>
                    <a:pt x="174245" y="164771"/>
                    <a:pt x="148430" y="177679"/>
                    <a:pt x="135524" y="177679"/>
                  </a:cubicBezTo>
                  <a:cubicBezTo>
                    <a:pt x="109710" y="177679"/>
                    <a:pt x="96803" y="151864"/>
                    <a:pt x="96803" y="138958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0" y="87329"/>
                    <a:pt x="174245" y="113143"/>
                    <a:pt x="174245" y="1389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8" name="Freeform: Shape 3327">
              <a:extLst>
                <a:ext uri="{FF2B5EF4-FFF2-40B4-BE49-F238E27FC236}">
                  <a16:creationId xmlns:a16="http://schemas.microsoft.com/office/drawing/2014/main" id="{3504328C-EB92-4A4D-A590-FD9EBBAD81D1}"/>
                </a:ext>
              </a:extLst>
            </p:cNvPr>
            <p:cNvSpPr/>
            <p:nvPr/>
          </p:nvSpPr>
          <p:spPr>
            <a:xfrm>
              <a:off x="14716754" y="815844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29" name="Freeform: Shape 3328">
              <a:extLst>
                <a:ext uri="{FF2B5EF4-FFF2-40B4-BE49-F238E27FC236}">
                  <a16:creationId xmlns:a16="http://schemas.microsoft.com/office/drawing/2014/main" id="{49C5BB8D-AB3F-4866-98C2-CC66E618FC49}"/>
                </a:ext>
              </a:extLst>
            </p:cNvPr>
            <p:cNvSpPr/>
            <p:nvPr/>
          </p:nvSpPr>
          <p:spPr>
            <a:xfrm>
              <a:off x="15039431" y="8206639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0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0" name="Freeform: Shape 3329">
              <a:extLst>
                <a:ext uri="{FF2B5EF4-FFF2-40B4-BE49-F238E27FC236}">
                  <a16:creationId xmlns:a16="http://schemas.microsoft.com/office/drawing/2014/main" id="{F5370365-6AA4-46FC-A43C-E69D3AE157B5}"/>
                </a:ext>
              </a:extLst>
            </p:cNvPr>
            <p:cNvSpPr/>
            <p:nvPr/>
          </p:nvSpPr>
          <p:spPr>
            <a:xfrm>
              <a:off x="16562464" y="822298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3 w 258141"/>
                <a:gd name="connsiteY1" fmla="*/ 174245 h 258141"/>
                <a:gd name="connsiteX2" fmla="*/ 96802 w 258141"/>
                <a:gd name="connsiteY2" fmla="*/ 135524 h 258141"/>
                <a:gd name="connsiteX3" fmla="*/ 135523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3" y="174245"/>
                  </a:cubicBezTo>
                  <a:cubicBezTo>
                    <a:pt x="114138" y="174245"/>
                    <a:pt x="96802" y="156909"/>
                    <a:pt x="96802" y="135524"/>
                  </a:cubicBezTo>
                  <a:cubicBezTo>
                    <a:pt x="96802" y="114139"/>
                    <a:pt x="114138" y="96803"/>
                    <a:pt x="135523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1" name="Freeform: Shape 3330">
              <a:extLst>
                <a:ext uri="{FF2B5EF4-FFF2-40B4-BE49-F238E27FC236}">
                  <a16:creationId xmlns:a16="http://schemas.microsoft.com/office/drawing/2014/main" id="{CD5E6055-CDF9-43CD-9DD3-40903B1AE03A}"/>
                </a:ext>
              </a:extLst>
            </p:cNvPr>
            <p:cNvSpPr/>
            <p:nvPr/>
          </p:nvSpPr>
          <p:spPr>
            <a:xfrm>
              <a:off x="15375014" y="7603440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22617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2" name="Freeform: Shape 3331">
              <a:extLst>
                <a:ext uri="{FF2B5EF4-FFF2-40B4-BE49-F238E27FC236}">
                  <a16:creationId xmlns:a16="http://schemas.microsoft.com/office/drawing/2014/main" id="{A6B4885C-3133-4703-AB1C-D6E981430228}"/>
                </a:ext>
              </a:extLst>
            </p:cNvPr>
            <p:cNvSpPr/>
            <p:nvPr/>
          </p:nvSpPr>
          <p:spPr>
            <a:xfrm>
              <a:off x="15129780" y="7190415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3" name="Freeform: Shape 3332">
              <a:extLst>
                <a:ext uri="{FF2B5EF4-FFF2-40B4-BE49-F238E27FC236}">
                  <a16:creationId xmlns:a16="http://schemas.microsoft.com/office/drawing/2014/main" id="{71A1D084-B3C2-47D8-B61E-C3ADED2417C6}"/>
                </a:ext>
              </a:extLst>
            </p:cNvPr>
            <p:cNvSpPr/>
            <p:nvPr/>
          </p:nvSpPr>
          <p:spPr>
            <a:xfrm>
              <a:off x="13684189" y="801646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6"/>
                    <a:pt x="135524" y="174246"/>
                  </a:cubicBezTo>
                  <a:cubicBezTo>
                    <a:pt x="122617" y="174246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4" name="Freeform: Shape 3333">
              <a:extLst>
                <a:ext uri="{FF2B5EF4-FFF2-40B4-BE49-F238E27FC236}">
                  <a16:creationId xmlns:a16="http://schemas.microsoft.com/office/drawing/2014/main" id="{625FF928-97AA-432B-9B0C-C4CD4035B00F}"/>
                </a:ext>
              </a:extLst>
            </p:cNvPr>
            <p:cNvSpPr/>
            <p:nvPr/>
          </p:nvSpPr>
          <p:spPr>
            <a:xfrm>
              <a:off x="14626404" y="6248199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5 w 258141"/>
                <a:gd name="connsiteY1" fmla="*/ 174246 h 258141"/>
                <a:gd name="connsiteX2" fmla="*/ 96803 w 258141"/>
                <a:gd name="connsiteY2" fmla="*/ 135525 h 258141"/>
                <a:gd name="connsiteX3" fmla="*/ 135525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1" y="174246"/>
                    <a:pt x="135525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5" y="122617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5" name="Freeform: Shape 3334">
              <a:extLst>
                <a:ext uri="{FF2B5EF4-FFF2-40B4-BE49-F238E27FC236}">
                  <a16:creationId xmlns:a16="http://schemas.microsoft.com/office/drawing/2014/main" id="{78E6CDFA-99ED-4D06-A5A9-E89153E9EF85}"/>
                </a:ext>
              </a:extLst>
            </p:cNvPr>
            <p:cNvSpPr/>
            <p:nvPr/>
          </p:nvSpPr>
          <p:spPr>
            <a:xfrm>
              <a:off x="11928827" y="437667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6" name="Freeform: Shape 3335">
              <a:extLst>
                <a:ext uri="{FF2B5EF4-FFF2-40B4-BE49-F238E27FC236}">
                  <a16:creationId xmlns:a16="http://schemas.microsoft.com/office/drawing/2014/main" id="{AE219117-8CCC-4118-A984-AEC4A35E190C}"/>
                </a:ext>
              </a:extLst>
            </p:cNvPr>
            <p:cNvSpPr/>
            <p:nvPr/>
          </p:nvSpPr>
          <p:spPr>
            <a:xfrm>
              <a:off x="11515801" y="475097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7" name="Freeform: Shape 3336">
              <a:extLst>
                <a:ext uri="{FF2B5EF4-FFF2-40B4-BE49-F238E27FC236}">
                  <a16:creationId xmlns:a16="http://schemas.microsoft.com/office/drawing/2014/main" id="{697CFB3C-4542-4C00-B6E9-720F3A90A4D4}"/>
                </a:ext>
              </a:extLst>
            </p:cNvPr>
            <p:cNvSpPr/>
            <p:nvPr/>
          </p:nvSpPr>
          <p:spPr>
            <a:xfrm>
              <a:off x="10844634" y="433795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8" name="Freeform: Shape 3337">
              <a:extLst>
                <a:ext uri="{FF2B5EF4-FFF2-40B4-BE49-F238E27FC236}">
                  <a16:creationId xmlns:a16="http://schemas.microsoft.com/office/drawing/2014/main" id="{13B18C81-AA75-4D55-922A-34B380853D61}"/>
                </a:ext>
              </a:extLst>
            </p:cNvPr>
            <p:cNvSpPr/>
            <p:nvPr/>
          </p:nvSpPr>
          <p:spPr>
            <a:xfrm>
              <a:off x="13710002" y="370550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39" name="Freeform: Shape 3338">
              <a:extLst>
                <a:ext uri="{FF2B5EF4-FFF2-40B4-BE49-F238E27FC236}">
                  <a16:creationId xmlns:a16="http://schemas.microsoft.com/office/drawing/2014/main" id="{42B1C1F6-8AEC-4A90-BF61-859DE4CAF32E}"/>
                </a:ext>
              </a:extLst>
            </p:cNvPr>
            <p:cNvSpPr/>
            <p:nvPr/>
          </p:nvSpPr>
          <p:spPr>
            <a:xfrm>
              <a:off x="12819415" y="342155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0" name="Freeform: Shape 3339">
              <a:extLst>
                <a:ext uri="{FF2B5EF4-FFF2-40B4-BE49-F238E27FC236}">
                  <a16:creationId xmlns:a16="http://schemas.microsoft.com/office/drawing/2014/main" id="{B28F7B3B-9785-420D-938D-EFB8014EB1BC}"/>
                </a:ext>
              </a:extLst>
            </p:cNvPr>
            <p:cNvSpPr/>
            <p:nvPr/>
          </p:nvSpPr>
          <p:spPr>
            <a:xfrm>
              <a:off x="15026523" y="339573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1" name="Freeform: Shape 3340">
              <a:extLst>
                <a:ext uri="{FF2B5EF4-FFF2-40B4-BE49-F238E27FC236}">
                  <a16:creationId xmlns:a16="http://schemas.microsoft.com/office/drawing/2014/main" id="{D13F4608-B50B-4150-91FC-691BCC0FDFCE}"/>
                </a:ext>
              </a:extLst>
            </p:cNvPr>
            <p:cNvSpPr/>
            <p:nvPr/>
          </p:nvSpPr>
          <p:spPr>
            <a:xfrm>
              <a:off x="14897452" y="349899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2" name="Freeform: Shape 3341">
              <a:extLst>
                <a:ext uri="{FF2B5EF4-FFF2-40B4-BE49-F238E27FC236}">
                  <a16:creationId xmlns:a16="http://schemas.microsoft.com/office/drawing/2014/main" id="{2B357D77-9C82-491B-8505-B971C354C87A}"/>
                </a:ext>
              </a:extLst>
            </p:cNvPr>
            <p:cNvSpPr/>
            <p:nvPr/>
          </p:nvSpPr>
          <p:spPr>
            <a:xfrm>
              <a:off x="14510240" y="3447366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22618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3" name="Freeform: Shape 3342">
              <a:extLst>
                <a:ext uri="{FF2B5EF4-FFF2-40B4-BE49-F238E27FC236}">
                  <a16:creationId xmlns:a16="http://schemas.microsoft.com/office/drawing/2014/main" id="{DC19D90D-6E85-43BB-90FE-71920477DFAB}"/>
                </a:ext>
              </a:extLst>
            </p:cNvPr>
            <p:cNvSpPr/>
            <p:nvPr/>
          </p:nvSpPr>
          <p:spPr>
            <a:xfrm>
              <a:off x="14290820" y="392492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4" name="Freeform: Shape 3343">
              <a:extLst>
                <a:ext uri="{FF2B5EF4-FFF2-40B4-BE49-F238E27FC236}">
                  <a16:creationId xmlns:a16="http://schemas.microsoft.com/office/drawing/2014/main" id="{C96FC5C9-80D5-4442-96A3-763EFD914CCB}"/>
                </a:ext>
              </a:extLst>
            </p:cNvPr>
            <p:cNvSpPr/>
            <p:nvPr/>
          </p:nvSpPr>
          <p:spPr>
            <a:xfrm>
              <a:off x="13568025" y="468644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5" name="Freeform: Shape 3344">
              <a:extLst>
                <a:ext uri="{FF2B5EF4-FFF2-40B4-BE49-F238E27FC236}">
                  <a16:creationId xmlns:a16="http://schemas.microsoft.com/office/drawing/2014/main" id="{CDBE361F-AF6A-4004-A966-A3AF7E6D2D21}"/>
                </a:ext>
              </a:extLst>
            </p:cNvPr>
            <p:cNvSpPr/>
            <p:nvPr/>
          </p:nvSpPr>
          <p:spPr>
            <a:xfrm>
              <a:off x="13167906" y="4892957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6" name="Freeform: Shape 3345">
              <a:extLst>
                <a:ext uri="{FF2B5EF4-FFF2-40B4-BE49-F238E27FC236}">
                  <a16:creationId xmlns:a16="http://schemas.microsoft.com/office/drawing/2014/main" id="{AF5EF8DA-FED7-4A2C-BB94-BBFDC703BD29}"/>
                </a:ext>
              </a:extLst>
            </p:cNvPr>
            <p:cNvSpPr/>
            <p:nvPr/>
          </p:nvSpPr>
          <p:spPr>
            <a:xfrm>
              <a:off x="13129185" y="546086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7" name="Freeform: Shape 3346">
              <a:extLst>
                <a:ext uri="{FF2B5EF4-FFF2-40B4-BE49-F238E27FC236}">
                  <a16:creationId xmlns:a16="http://schemas.microsoft.com/office/drawing/2014/main" id="{F96FE971-A853-4100-8CE9-AFA2F04F5B91}"/>
                </a:ext>
              </a:extLst>
            </p:cNvPr>
            <p:cNvSpPr/>
            <p:nvPr/>
          </p:nvSpPr>
          <p:spPr>
            <a:xfrm>
              <a:off x="13000114" y="5602845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8" name="Freeform: Shape 3347">
              <a:extLst>
                <a:ext uri="{FF2B5EF4-FFF2-40B4-BE49-F238E27FC236}">
                  <a16:creationId xmlns:a16="http://schemas.microsoft.com/office/drawing/2014/main" id="{F41B6C42-706F-447A-B909-F45A978415A8}"/>
                </a:ext>
              </a:extLst>
            </p:cNvPr>
            <p:cNvSpPr/>
            <p:nvPr/>
          </p:nvSpPr>
          <p:spPr>
            <a:xfrm>
              <a:off x="12625809" y="562866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49" name="Freeform: Shape 3348">
              <a:extLst>
                <a:ext uri="{FF2B5EF4-FFF2-40B4-BE49-F238E27FC236}">
                  <a16:creationId xmlns:a16="http://schemas.microsoft.com/office/drawing/2014/main" id="{E92998F4-AFCF-414C-9334-8D1542F58CBD}"/>
                </a:ext>
              </a:extLst>
            </p:cNvPr>
            <p:cNvSpPr/>
            <p:nvPr/>
          </p:nvSpPr>
          <p:spPr>
            <a:xfrm>
              <a:off x="12896857" y="5719009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0" name="Freeform: Shape 3349">
              <a:extLst>
                <a:ext uri="{FF2B5EF4-FFF2-40B4-BE49-F238E27FC236}">
                  <a16:creationId xmlns:a16="http://schemas.microsoft.com/office/drawing/2014/main" id="{B175D8BD-021A-4F4B-8C4B-5469ACB1AE8A}"/>
                </a:ext>
              </a:extLst>
            </p:cNvPr>
            <p:cNvSpPr/>
            <p:nvPr/>
          </p:nvSpPr>
          <p:spPr>
            <a:xfrm>
              <a:off x="13335697" y="614494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96803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1" name="Freeform: Shape 3350">
              <a:extLst>
                <a:ext uri="{FF2B5EF4-FFF2-40B4-BE49-F238E27FC236}">
                  <a16:creationId xmlns:a16="http://schemas.microsoft.com/office/drawing/2014/main" id="{6F2379BC-40DE-4A4B-A31A-856F075B48D6}"/>
                </a:ext>
              </a:extLst>
            </p:cNvPr>
            <p:cNvSpPr/>
            <p:nvPr/>
          </p:nvSpPr>
          <p:spPr>
            <a:xfrm>
              <a:off x="13154998" y="6377269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8" y="148431"/>
                  </a:cubicBezTo>
                  <a:cubicBezTo>
                    <a:pt x="109711" y="148431"/>
                    <a:pt x="96803" y="135525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2" name="Freeform: Shape 3351">
              <a:extLst>
                <a:ext uri="{FF2B5EF4-FFF2-40B4-BE49-F238E27FC236}">
                  <a16:creationId xmlns:a16="http://schemas.microsoft.com/office/drawing/2014/main" id="{EB389236-6B55-479D-AEE4-99990E95955A}"/>
                </a:ext>
              </a:extLst>
            </p:cNvPr>
            <p:cNvSpPr/>
            <p:nvPr/>
          </p:nvSpPr>
          <p:spPr>
            <a:xfrm>
              <a:off x="13167906" y="6312734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3" name="Freeform: Shape 3352">
              <a:extLst>
                <a:ext uri="{FF2B5EF4-FFF2-40B4-BE49-F238E27FC236}">
                  <a16:creationId xmlns:a16="http://schemas.microsoft.com/office/drawing/2014/main" id="{18200571-B0C6-4009-B39D-BE834CC2615A}"/>
                </a:ext>
              </a:extLst>
            </p:cNvPr>
            <p:cNvSpPr/>
            <p:nvPr/>
          </p:nvSpPr>
          <p:spPr>
            <a:xfrm>
              <a:off x="13774538" y="5912615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4" name="Freeform: Shape 3353">
              <a:extLst>
                <a:ext uri="{FF2B5EF4-FFF2-40B4-BE49-F238E27FC236}">
                  <a16:creationId xmlns:a16="http://schemas.microsoft.com/office/drawing/2014/main" id="{61B7A8B1-FFB0-4337-A2C4-56080E1F954C}"/>
                </a:ext>
              </a:extLst>
            </p:cNvPr>
            <p:cNvSpPr/>
            <p:nvPr/>
          </p:nvSpPr>
          <p:spPr>
            <a:xfrm>
              <a:off x="14471520" y="608040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5" name="Freeform: Shape 3354">
              <a:extLst>
                <a:ext uri="{FF2B5EF4-FFF2-40B4-BE49-F238E27FC236}">
                  <a16:creationId xmlns:a16="http://schemas.microsoft.com/office/drawing/2014/main" id="{209B856D-C0B5-4FF8-B7E5-717E744FC1DA}"/>
                </a:ext>
              </a:extLst>
            </p:cNvPr>
            <p:cNvSpPr/>
            <p:nvPr/>
          </p:nvSpPr>
          <p:spPr>
            <a:xfrm>
              <a:off x="14303727" y="6028779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6" name="Freeform: Shape 3355">
              <a:extLst>
                <a:ext uri="{FF2B5EF4-FFF2-40B4-BE49-F238E27FC236}">
                  <a16:creationId xmlns:a16="http://schemas.microsoft.com/office/drawing/2014/main" id="{621E259E-E4CF-4802-AC7A-7D2138D2C186}"/>
                </a:ext>
              </a:extLst>
            </p:cNvPr>
            <p:cNvSpPr/>
            <p:nvPr/>
          </p:nvSpPr>
          <p:spPr>
            <a:xfrm>
              <a:off x="15103966" y="6532154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7" name="Freeform: Shape 3356">
              <a:extLst>
                <a:ext uri="{FF2B5EF4-FFF2-40B4-BE49-F238E27FC236}">
                  <a16:creationId xmlns:a16="http://schemas.microsoft.com/office/drawing/2014/main" id="{5E025419-ABE5-4815-9F57-3794A1F30841}"/>
                </a:ext>
              </a:extLst>
            </p:cNvPr>
            <p:cNvSpPr/>
            <p:nvPr/>
          </p:nvSpPr>
          <p:spPr>
            <a:xfrm>
              <a:off x="15220129" y="655796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8" name="Freeform: Shape 3357">
              <a:extLst>
                <a:ext uri="{FF2B5EF4-FFF2-40B4-BE49-F238E27FC236}">
                  <a16:creationId xmlns:a16="http://schemas.microsoft.com/office/drawing/2014/main" id="{AD2C48C7-9D66-43B1-97F6-2E241E78BF49}"/>
                </a:ext>
              </a:extLst>
            </p:cNvPr>
            <p:cNvSpPr/>
            <p:nvPr/>
          </p:nvSpPr>
          <p:spPr>
            <a:xfrm>
              <a:off x="14858731" y="664831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59" name="Freeform: Shape 3358">
              <a:extLst>
                <a:ext uri="{FF2B5EF4-FFF2-40B4-BE49-F238E27FC236}">
                  <a16:creationId xmlns:a16="http://schemas.microsoft.com/office/drawing/2014/main" id="{BA790DBC-91F6-4D08-BAB3-A3EAB8FF83EF}"/>
                </a:ext>
              </a:extLst>
            </p:cNvPr>
            <p:cNvSpPr/>
            <p:nvPr/>
          </p:nvSpPr>
          <p:spPr>
            <a:xfrm>
              <a:off x="14639311" y="642889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48431" y="96803"/>
                    <a:pt x="148431" y="96803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0" name="Freeform: Shape 3359">
              <a:extLst>
                <a:ext uri="{FF2B5EF4-FFF2-40B4-BE49-F238E27FC236}">
                  <a16:creationId xmlns:a16="http://schemas.microsoft.com/office/drawing/2014/main" id="{9DB1BCB8-6E49-44F6-B6C3-CD9153369C63}"/>
                </a:ext>
              </a:extLst>
            </p:cNvPr>
            <p:cNvSpPr/>
            <p:nvPr/>
          </p:nvSpPr>
          <p:spPr>
            <a:xfrm>
              <a:off x="14290820" y="6699946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1" name="Freeform: Shape 3360">
              <a:extLst>
                <a:ext uri="{FF2B5EF4-FFF2-40B4-BE49-F238E27FC236}">
                  <a16:creationId xmlns:a16="http://schemas.microsoft.com/office/drawing/2014/main" id="{26CF8473-EC8B-49EF-B273-F9E9BFB0AA31}"/>
                </a:ext>
              </a:extLst>
            </p:cNvPr>
            <p:cNvSpPr/>
            <p:nvPr/>
          </p:nvSpPr>
          <p:spPr>
            <a:xfrm>
              <a:off x="14071401" y="6816110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2" name="Freeform: Shape 3361">
              <a:extLst>
                <a:ext uri="{FF2B5EF4-FFF2-40B4-BE49-F238E27FC236}">
                  <a16:creationId xmlns:a16="http://schemas.microsoft.com/office/drawing/2014/main" id="{8811142D-3253-4872-85C9-40E082D29CC2}"/>
                </a:ext>
              </a:extLst>
            </p:cNvPr>
            <p:cNvSpPr/>
            <p:nvPr/>
          </p:nvSpPr>
          <p:spPr>
            <a:xfrm>
              <a:off x="14910360" y="8248793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3" name="Freeform: Shape 3362">
              <a:extLst>
                <a:ext uri="{FF2B5EF4-FFF2-40B4-BE49-F238E27FC236}">
                  <a16:creationId xmlns:a16="http://schemas.microsoft.com/office/drawing/2014/main" id="{87D6CB13-D828-4355-97EC-BA113119EA6D}"/>
                </a:ext>
              </a:extLst>
            </p:cNvPr>
            <p:cNvSpPr/>
            <p:nvPr/>
          </p:nvSpPr>
          <p:spPr>
            <a:xfrm>
              <a:off x="15129780" y="837786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4" name="Freeform: Shape 3363">
              <a:extLst>
                <a:ext uri="{FF2B5EF4-FFF2-40B4-BE49-F238E27FC236}">
                  <a16:creationId xmlns:a16="http://schemas.microsoft.com/office/drawing/2014/main" id="{818E76C3-3CC5-4918-B432-2C64AB5947CE}"/>
                </a:ext>
              </a:extLst>
            </p:cNvPr>
            <p:cNvSpPr/>
            <p:nvPr/>
          </p:nvSpPr>
          <p:spPr>
            <a:xfrm>
              <a:off x="15207222" y="818425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8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5" name="Freeform: Shape 3364">
              <a:extLst>
                <a:ext uri="{FF2B5EF4-FFF2-40B4-BE49-F238E27FC236}">
                  <a16:creationId xmlns:a16="http://schemas.microsoft.com/office/drawing/2014/main" id="{8B1C8FEA-5760-4C9F-80E7-72742F1B5450}"/>
                </a:ext>
              </a:extLst>
            </p:cNvPr>
            <p:cNvSpPr/>
            <p:nvPr/>
          </p:nvSpPr>
          <p:spPr>
            <a:xfrm>
              <a:off x="16317229" y="799065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8" y="148431"/>
                  </a:cubicBezTo>
                  <a:cubicBezTo>
                    <a:pt x="109711" y="148431"/>
                    <a:pt x="96803" y="135525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6" name="Freeform: Shape 3365">
              <a:extLst>
                <a:ext uri="{FF2B5EF4-FFF2-40B4-BE49-F238E27FC236}">
                  <a16:creationId xmlns:a16="http://schemas.microsoft.com/office/drawing/2014/main" id="{91F0CAE0-5883-45B3-B717-63895C25DF66}"/>
                </a:ext>
              </a:extLst>
            </p:cNvPr>
            <p:cNvSpPr/>
            <p:nvPr/>
          </p:nvSpPr>
          <p:spPr>
            <a:xfrm>
              <a:off x="16291415" y="836495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7" name="Freeform: Shape 3366">
              <a:extLst>
                <a:ext uri="{FF2B5EF4-FFF2-40B4-BE49-F238E27FC236}">
                  <a16:creationId xmlns:a16="http://schemas.microsoft.com/office/drawing/2014/main" id="{D255311B-FE91-425C-B572-642D59D8540C}"/>
                </a:ext>
              </a:extLst>
            </p:cNvPr>
            <p:cNvSpPr/>
            <p:nvPr/>
          </p:nvSpPr>
          <p:spPr>
            <a:xfrm>
              <a:off x="16446300" y="8411522"/>
              <a:ext cx="129071" cy="129071"/>
            </a:xfrm>
            <a:custGeom>
              <a:avLst/>
              <a:gdLst>
                <a:gd name="connsiteX0" fmla="*/ 148431 w 129070"/>
                <a:gd name="connsiteY0" fmla="*/ 127680 h 129070"/>
                <a:gd name="connsiteX1" fmla="*/ 122618 w 129070"/>
                <a:gd name="connsiteY1" fmla="*/ 153495 h 129070"/>
                <a:gd name="connsiteX2" fmla="*/ 96803 w 129070"/>
                <a:gd name="connsiteY2" fmla="*/ 127680 h 129070"/>
                <a:gd name="connsiteX3" fmla="*/ 122618 w 129070"/>
                <a:gd name="connsiteY3" fmla="*/ 101867 h 129070"/>
                <a:gd name="connsiteX4" fmla="*/ 148431 w 129070"/>
                <a:gd name="connsiteY4" fmla="*/ 127680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0"/>
                  </a:moveTo>
                  <a:cubicBezTo>
                    <a:pt x="148431" y="140588"/>
                    <a:pt x="135525" y="153495"/>
                    <a:pt x="122618" y="153495"/>
                  </a:cubicBezTo>
                  <a:cubicBezTo>
                    <a:pt x="109711" y="153495"/>
                    <a:pt x="96803" y="140588"/>
                    <a:pt x="96803" y="127680"/>
                  </a:cubicBezTo>
                  <a:cubicBezTo>
                    <a:pt x="96803" y="114773"/>
                    <a:pt x="109711" y="101867"/>
                    <a:pt x="122618" y="101867"/>
                  </a:cubicBezTo>
                  <a:cubicBezTo>
                    <a:pt x="135525" y="88959"/>
                    <a:pt x="148431" y="101867"/>
                    <a:pt x="148431" y="127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8" name="Freeform: Shape 3367">
              <a:extLst>
                <a:ext uri="{FF2B5EF4-FFF2-40B4-BE49-F238E27FC236}">
                  <a16:creationId xmlns:a16="http://schemas.microsoft.com/office/drawing/2014/main" id="{7458020A-50FC-4EE3-B10E-BCD503559946}"/>
                </a:ext>
              </a:extLst>
            </p:cNvPr>
            <p:cNvSpPr/>
            <p:nvPr/>
          </p:nvSpPr>
          <p:spPr>
            <a:xfrm>
              <a:off x="15994553" y="867472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69" name="Freeform: Shape 3368">
              <a:extLst>
                <a:ext uri="{FF2B5EF4-FFF2-40B4-BE49-F238E27FC236}">
                  <a16:creationId xmlns:a16="http://schemas.microsoft.com/office/drawing/2014/main" id="{55F8F3F8-B946-4A6C-AE8B-380A4C77121C}"/>
                </a:ext>
              </a:extLst>
            </p:cNvPr>
            <p:cNvSpPr/>
            <p:nvPr/>
          </p:nvSpPr>
          <p:spPr>
            <a:xfrm>
              <a:off x="14961987" y="837786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8" y="148431"/>
                  </a:cubicBezTo>
                  <a:cubicBezTo>
                    <a:pt x="109711" y="148431"/>
                    <a:pt x="96803" y="135525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0" name="Freeform: Shape 3369">
              <a:extLst>
                <a:ext uri="{FF2B5EF4-FFF2-40B4-BE49-F238E27FC236}">
                  <a16:creationId xmlns:a16="http://schemas.microsoft.com/office/drawing/2014/main" id="{2F4CF32F-206B-49E1-AFB9-26F5E9269234}"/>
                </a:ext>
              </a:extLst>
            </p:cNvPr>
            <p:cNvSpPr/>
            <p:nvPr/>
          </p:nvSpPr>
          <p:spPr>
            <a:xfrm>
              <a:off x="14884545" y="729367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96803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1" name="Freeform: Shape 3370">
              <a:extLst>
                <a:ext uri="{FF2B5EF4-FFF2-40B4-BE49-F238E27FC236}">
                  <a16:creationId xmlns:a16="http://schemas.microsoft.com/office/drawing/2014/main" id="{617492C6-4B75-4D11-AFC2-1034F11C2D1B}"/>
                </a:ext>
              </a:extLst>
            </p:cNvPr>
            <p:cNvSpPr/>
            <p:nvPr/>
          </p:nvSpPr>
          <p:spPr>
            <a:xfrm>
              <a:off x="15052337" y="8532749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2" name="Freeform: Shape 3371">
              <a:extLst>
                <a:ext uri="{FF2B5EF4-FFF2-40B4-BE49-F238E27FC236}">
                  <a16:creationId xmlns:a16="http://schemas.microsoft.com/office/drawing/2014/main" id="{FC924183-AEBB-4663-9871-662E24E7AC7F}"/>
                </a:ext>
              </a:extLst>
            </p:cNvPr>
            <p:cNvSpPr/>
            <p:nvPr/>
          </p:nvSpPr>
          <p:spPr>
            <a:xfrm>
              <a:off x="14845825" y="6557968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96803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3" name="Freeform: Shape 3372">
              <a:extLst>
                <a:ext uri="{FF2B5EF4-FFF2-40B4-BE49-F238E27FC236}">
                  <a16:creationId xmlns:a16="http://schemas.microsoft.com/office/drawing/2014/main" id="{A3689AA0-5FD4-45C3-BB97-94372E7D100E}"/>
                </a:ext>
              </a:extLst>
            </p:cNvPr>
            <p:cNvSpPr/>
            <p:nvPr/>
          </p:nvSpPr>
          <p:spPr>
            <a:xfrm>
              <a:off x="13710002" y="623529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4" name="Freeform: Shape 3373">
              <a:extLst>
                <a:ext uri="{FF2B5EF4-FFF2-40B4-BE49-F238E27FC236}">
                  <a16:creationId xmlns:a16="http://schemas.microsoft.com/office/drawing/2014/main" id="{2185A371-C8EF-4113-A4AC-DCCE136B419E}"/>
                </a:ext>
              </a:extLst>
            </p:cNvPr>
            <p:cNvSpPr/>
            <p:nvPr/>
          </p:nvSpPr>
          <p:spPr>
            <a:xfrm>
              <a:off x="13929422" y="6927210"/>
              <a:ext cx="129071" cy="129071"/>
            </a:xfrm>
            <a:custGeom>
              <a:avLst/>
              <a:gdLst>
                <a:gd name="connsiteX0" fmla="*/ 148431 w 129070"/>
                <a:gd name="connsiteY0" fmla="*/ 127680 h 129070"/>
                <a:gd name="connsiteX1" fmla="*/ 122618 w 129070"/>
                <a:gd name="connsiteY1" fmla="*/ 153495 h 129070"/>
                <a:gd name="connsiteX2" fmla="*/ 96803 w 129070"/>
                <a:gd name="connsiteY2" fmla="*/ 127680 h 129070"/>
                <a:gd name="connsiteX3" fmla="*/ 122618 w 129070"/>
                <a:gd name="connsiteY3" fmla="*/ 101867 h 129070"/>
                <a:gd name="connsiteX4" fmla="*/ 148431 w 129070"/>
                <a:gd name="connsiteY4" fmla="*/ 127680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0"/>
                  </a:moveTo>
                  <a:cubicBezTo>
                    <a:pt x="148431" y="140588"/>
                    <a:pt x="135525" y="153495"/>
                    <a:pt x="122618" y="153495"/>
                  </a:cubicBezTo>
                  <a:cubicBezTo>
                    <a:pt x="109711" y="153495"/>
                    <a:pt x="96803" y="140588"/>
                    <a:pt x="96803" y="127680"/>
                  </a:cubicBezTo>
                  <a:cubicBezTo>
                    <a:pt x="96803" y="114773"/>
                    <a:pt x="109711" y="101867"/>
                    <a:pt x="122618" y="101867"/>
                  </a:cubicBezTo>
                  <a:cubicBezTo>
                    <a:pt x="135525" y="88959"/>
                    <a:pt x="148431" y="101867"/>
                    <a:pt x="148431" y="127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5" name="Freeform: Shape 3374">
              <a:extLst>
                <a:ext uri="{FF2B5EF4-FFF2-40B4-BE49-F238E27FC236}">
                  <a16:creationId xmlns:a16="http://schemas.microsoft.com/office/drawing/2014/main" id="{5DCC2288-1B24-4114-9D19-4366BA8E542E}"/>
                </a:ext>
              </a:extLst>
            </p:cNvPr>
            <p:cNvSpPr/>
            <p:nvPr/>
          </p:nvSpPr>
          <p:spPr>
            <a:xfrm>
              <a:off x="13981051" y="793902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6" name="Freeform: Shape 3375">
              <a:extLst>
                <a:ext uri="{FF2B5EF4-FFF2-40B4-BE49-F238E27FC236}">
                  <a16:creationId xmlns:a16="http://schemas.microsoft.com/office/drawing/2014/main" id="{3435C0AA-10F8-44B4-AED7-4E6AF87D3FBB}"/>
                </a:ext>
              </a:extLst>
            </p:cNvPr>
            <p:cNvSpPr/>
            <p:nvPr/>
          </p:nvSpPr>
          <p:spPr>
            <a:xfrm>
              <a:off x="14587683" y="6635410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7" name="Freeform: Shape 3376">
              <a:extLst>
                <a:ext uri="{FF2B5EF4-FFF2-40B4-BE49-F238E27FC236}">
                  <a16:creationId xmlns:a16="http://schemas.microsoft.com/office/drawing/2014/main" id="{CF717C4E-E343-4C06-87CD-B924068709FF}"/>
                </a:ext>
              </a:extLst>
            </p:cNvPr>
            <p:cNvSpPr/>
            <p:nvPr/>
          </p:nvSpPr>
          <p:spPr>
            <a:xfrm>
              <a:off x="13632560" y="553831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8" name="Freeform: Shape 3377">
              <a:extLst>
                <a:ext uri="{FF2B5EF4-FFF2-40B4-BE49-F238E27FC236}">
                  <a16:creationId xmlns:a16="http://schemas.microsoft.com/office/drawing/2014/main" id="{0BE2ECD3-6F7A-49A4-BC8C-6F391E20D4D3}"/>
                </a:ext>
              </a:extLst>
            </p:cNvPr>
            <p:cNvSpPr/>
            <p:nvPr/>
          </p:nvSpPr>
          <p:spPr>
            <a:xfrm>
              <a:off x="13916515" y="488005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96803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79" name="Freeform: Shape 3378">
              <a:extLst>
                <a:ext uri="{FF2B5EF4-FFF2-40B4-BE49-F238E27FC236}">
                  <a16:creationId xmlns:a16="http://schemas.microsoft.com/office/drawing/2014/main" id="{CC1C1563-E21C-447E-9F6E-D098BB6F5526}"/>
                </a:ext>
              </a:extLst>
            </p:cNvPr>
            <p:cNvSpPr/>
            <p:nvPr/>
          </p:nvSpPr>
          <p:spPr>
            <a:xfrm>
              <a:off x="13813259" y="4867143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0" name="Freeform: Shape 3379">
              <a:extLst>
                <a:ext uri="{FF2B5EF4-FFF2-40B4-BE49-F238E27FC236}">
                  <a16:creationId xmlns:a16="http://schemas.microsoft.com/office/drawing/2014/main" id="{5606A2B8-C5A2-4B7A-91DD-8210097571F0}"/>
                </a:ext>
              </a:extLst>
            </p:cNvPr>
            <p:cNvSpPr/>
            <p:nvPr/>
          </p:nvSpPr>
          <p:spPr>
            <a:xfrm>
              <a:off x="14626404" y="3976555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1" name="Freeform: Shape 3380">
              <a:extLst>
                <a:ext uri="{FF2B5EF4-FFF2-40B4-BE49-F238E27FC236}">
                  <a16:creationId xmlns:a16="http://schemas.microsoft.com/office/drawing/2014/main" id="{4C484BF7-BEF4-4CA6-9A14-980A96B4F0C5}"/>
                </a:ext>
              </a:extLst>
            </p:cNvPr>
            <p:cNvSpPr/>
            <p:nvPr/>
          </p:nvSpPr>
          <p:spPr>
            <a:xfrm>
              <a:off x="13942330" y="4286325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2" name="Freeform: Shape 3381">
              <a:extLst>
                <a:ext uri="{FF2B5EF4-FFF2-40B4-BE49-F238E27FC236}">
                  <a16:creationId xmlns:a16="http://schemas.microsoft.com/office/drawing/2014/main" id="{FFD36CD1-15A5-4990-B8A1-C63E850FEAD9}"/>
                </a:ext>
              </a:extLst>
            </p:cNvPr>
            <p:cNvSpPr/>
            <p:nvPr/>
          </p:nvSpPr>
          <p:spPr>
            <a:xfrm>
              <a:off x="13296977" y="4699351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3" name="Freeform: Shape 3382">
              <a:extLst>
                <a:ext uri="{FF2B5EF4-FFF2-40B4-BE49-F238E27FC236}">
                  <a16:creationId xmlns:a16="http://schemas.microsoft.com/office/drawing/2014/main" id="{EF9198F1-BC93-466D-AD72-3F4729A3AB6B}"/>
                </a:ext>
              </a:extLst>
            </p:cNvPr>
            <p:cNvSpPr/>
            <p:nvPr/>
          </p:nvSpPr>
          <p:spPr>
            <a:xfrm>
              <a:off x="12832322" y="543505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4" name="Freeform: Shape 3383">
              <a:extLst>
                <a:ext uri="{FF2B5EF4-FFF2-40B4-BE49-F238E27FC236}">
                  <a16:creationId xmlns:a16="http://schemas.microsoft.com/office/drawing/2014/main" id="{7138D5AA-9059-4040-BE97-C61988C8C466}"/>
                </a:ext>
              </a:extLst>
            </p:cNvPr>
            <p:cNvSpPr/>
            <p:nvPr/>
          </p:nvSpPr>
          <p:spPr>
            <a:xfrm>
              <a:off x="11967549" y="504784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5" name="Freeform: Shape 3384">
              <a:extLst>
                <a:ext uri="{FF2B5EF4-FFF2-40B4-BE49-F238E27FC236}">
                  <a16:creationId xmlns:a16="http://schemas.microsoft.com/office/drawing/2014/main" id="{009A1A78-9E05-452F-80A6-7AEFD1D6D2C3}"/>
                </a:ext>
              </a:extLst>
            </p:cNvPr>
            <p:cNvSpPr/>
            <p:nvPr/>
          </p:nvSpPr>
          <p:spPr>
            <a:xfrm>
              <a:off x="11025333" y="468644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6" name="Freeform: Shape 3385">
              <a:extLst>
                <a:ext uri="{FF2B5EF4-FFF2-40B4-BE49-F238E27FC236}">
                  <a16:creationId xmlns:a16="http://schemas.microsoft.com/office/drawing/2014/main" id="{0A006ADF-DE29-49A6-8C05-5537D630DFB1}"/>
                </a:ext>
              </a:extLst>
            </p:cNvPr>
            <p:cNvSpPr/>
            <p:nvPr/>
          </p:nvSpPr>
          <p:spPr>
            <a:xfrm>
              <a:off x="13309884" y="507365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7" name="Freeform: Shape 3386">
              <a:extLst>
                <a:ext uri="{FF2B5EF4-FFF2-40B4-BE49-F238E27FC236}">
                  <a16:creationId xmlns:a16="http://schemas.microsoft.com/office/drawing/2014/main" id="{2C1529DF-658F-4BEA-B7E5-FAB3C4487CF7}"/>
                </a:ext>
              </a:extLst>
            </p:cNvPr>
            <p:cNvSpPr/>
            <p:nvPr/>
          </p:nvSpPr>
          <p:spPr>
            <a:xfrm>
              <a:off x="13051742" y="587389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8" name="Freeform: Shape 3387">
              <a:extLst>
                <a:ext uri="{FF2B5EF4-FFF2-40B4-BE49-F238E27FC236}">
                  <a16:creationId xmlns:a16="http://schemas.microsoft.com/office/drawing/2014/main" id="{B20D9179-AD3E-4CC4-8A35-FAB9923A6FB8}"/>
                </a:ext>
              </a:extLst>
            </p:cNvPr>
            <p:cNvSpPr/>
            <p:nvPr/>
          </p:nvSpPr>
          <p:spPr>
            <a:xfrm>
              <a:off x="13619653" y="649343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89" name="Freeform: Shape 3388">
              <a:extLst>
                <a:ext uri="{FF2B5EF4-FFF2-40B4-BE49-F238E27FC236}">
                  <a16:creationId xmlns:a16="http://schemas.microsoft.com/office/drawing/2014/main" id="{A1964759-9C21-48A7-932B-04F83ABF8831}"/>
                </a:ext>
              </a:extLst>
            </p:cNvPr>
            <p:cNvSpPr/>
            <p:nvPr/>
          </p:nvSpPr>
          <p:spPr>
            <a:xfrm>
              <a:off x="13064649" y="631273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2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8" y="174245"/>
                    <a:pt x="96802" y="156909"/>
                    <a:pt x="96802" y="135524"/>
                  </a:cubicBezTo>
                  <a:cubicBezTo>
                    <a:pt x="96802" y="114139"/>
                    <a:pt x="114138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0" name="Freeform: Shape 3389">
              <a:extLst>
                <a:ext uri="{FF2B5EF4-FFF2-40B4-BE49-F238E27FC236}">
                  <a16:creationId xmlns:a16="http://schemas.microsoft.com/office/drawing/2014/main" id="{633B1B70-C331-4945-B8D4-9E0F4E97E32D}"/>
                </a:ext>
              </a:extLst>
            </p:cNvPr>
            <p:cNvSpPr/>
            <p:nvPr/>
          </p:nvSpPr>
          <p:spPr>
            <a:xfrm>
              <a:off x="13800352" y="517691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56909"/>
                    <a:pt x="156910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10" y="96803"/>
                    <a:pt x="174246" y="114139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1" name="Freeform: Shape 3390">
              <a:extLst>
                <a:ext uri="{FF2B5EF4-FFF2-40B4-BE49-F238E27FC236}">
                  <a16:creationId xmlns:a16="http://schemas.microsoft.com/office/drawing/2014/main" id="{A57A8778-EA59-451B-AF36-53DEE1F89B30}"/>
                </a:ext>
              </a:extLst>
            </p:cNvPr>
            <p:cNvSpPr/>
            <p:nvPr/>
          </p:nvSpPr>
          <p:spPr>
            <a:xfrm>
              <a:off x="14032679" y="517691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6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6"/>
                    <a:pt x="135525" y="174246"/>
                  </a:cubicBezTo>
                  <a:cubicBezTo>
                    <a:pt x="109710" y="174246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5" y="96803"/>
                  </a:cubicBezTo>
                  <a:cubicBezTo>
                    <a:pt x="148431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2" name="Freeform: Shape 3391">
              <a:extLst>
                <a:ext uri="{FF2B5EF4-FFF2-40B4-BE49-F238E27FC236}">
                  <a16:creationId xmlns:a16="http://schemas.microsoft.com/office/drawing/2014/main" id="{86DDD833-E6DA-4AD3-A234-0BBE5CB602C1}"/>
                </a:ext>
              </a:extLst>
            </p:cNvPr>
            <p:cNvSpPr/>
            <p:nvPr/>
          </p:nvSpPr>
          <p:spPr>
            <a:xfrm>
              <a:off x="13619653" y="6183663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61338" y="174246"/>
                    <a:pt x="135524" y="174246"/>
                  </a:cubicBezTo>
                  <a:cubicBezTo>
                    <a:pt x="109710" y="174246"/>
                    <a:pt x="96803" y="161338"/>
                    <a:pt x="96803" y="135525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3" name="Freeform: Shape 3392">
              <a:extLst>
                <a:ext uri="{FF2B5EF4-FFF2-40B4-BE49-F238E27FC236}">
                  <a16:creationId xmlns:a16="http://schemas.microsoft.com/office/drawing/2014/main" id="{5DD9F988-E72E-4F6C-9C56-B72B03222E5F}"/>
                </a:ext>
              </a:extLst>
            </p:cNvPr>
            <p:cNvSpPr/>
            <p:nvPr/>
          </p:nvSpPr>
          <p:spPr>
            <a:xfrm>
              <a:off x="14058493" y="5615753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5" y="174245"/>
                  </a:cubicBezTo>
                  <a:cubicBezTo>
                    <a:pt x="109711" y="174245"/>
                    <a:pt x="96803" y="161338"/>
                    <a:pt x="96803" y="135524"/>
                  </a:cubicBezTo>
                  <a:cubicBezTo>
                    <a:pt x="96803" y="109710"/>
                    <a:pt x="109711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4" name="Freeform: Shape 3393">
              <a:extLst>
                <a:ext uri="{FF2B5EF4-FFF2-40B4-BE49-F238E27FC236}">
                  <a16:creationId xmlns:a16="http://schemas.microsoft.com/office/drawing/2014/main" id="{C25195C0-08B4-482C-9F92-F042CFEEA732}"/>
                </a:ext>
              </a:extLst>
            </p:cNvPr>
            <p:cNvSpPr/>
            <p:nvPr/>
          </p:nvSpPr>
          <p:spPr>
            <a:xfrm>
              <a:off x="14006865" y="5822266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2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56909"/>
                    <a:pt x="156909" y="174245"/>
                    <a:pt x="135524" y="174245"/>
                  </a:cubicBezTo>
                  <a:cubicBezTo>
                    <a:pt x="114139" y="174245"/>
                    <a:pt x="96802" y="156909"/>
                    <a:pt x="96802" y="135524"/>
                  </a:cubicBezTo>
                  <a:cubicBezTo>
                    <a:pt x="96802" y="114139"/>
                    <a:pt x="114139" y="96803"/>
                    <a:pt x="135524" y="96803"/>
                  </a:cubicBezTo>
                  <a:cubicBezTo>
                    <a:pt x="156909" y="96803"/>
                    <a:pt x="174246" y="114139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5" name="Freeform: Shape 3394">
              <a:extLst>
                <a:ext uri="{FF2B5EF4-FFF2-40B4-BE49-F238E27FC236}">
                  <a16:creationId xmlns:a16="http://schemas.microsoft.com/office/drawing/2014/main" id="{61253FFD-5E9B-41F5-9B1F-249E9A92CBA4}"/>
                </a:ext>
              </a:extLst>
            </p:cNvPr>
            <p:cNvSpPr/>
            <p:nvPr/>
          </p:nvSpPr>
          <p:spPr>
            <a:xfrm>
              <a:off x="14613497" y="602877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5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5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6" name="Freeform: Shape 3395">
              <a:extLst>
                <a:ext uri="{FF2B5EF4-FFF2-40B4-BE49-F238E27FC236}">
                  <a16:creationId xmlns:a16="http://schemas.microsoft.com/office/drawing/2014/main" id="{2B8582FB-BF00-4DDC-BF3A-378340F773E1}"/>
                </a:ext>
              </a:extLst>
            </p:cNvPr>
            <p:cNvSpPr/>
            <p:nvPr/>
          </p:nvSpPr>
          <p:spPr>
            <a:xfrm>
              <a:off x="15026523" y="6222385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5" y="174245"/>
                  </a:cubicBezTo>
                  <a:cubicBezTo>
                    <a:pt x="109711" y="174245"/>
                    <a:pt x="96803" y="161338"/>
                    <a:pt x="96803" y="135524"/>
                  </a:cubicBezTo>
                  <a:cubicBezTo>
                    <a:pt x="96803" y="109710"/>
                    <a:pt x="109711" y="96803"/>
                    <a:pt x="135525" y="96803"/>
                  </a:cubicBezTo>
                  <a:cubicBezTo>
                    <a:pt x="161338" y="109710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7" name="Freeform: Shape 3396">
              <a:extLst>
                <a:ext uri="{FF2B5EF4-FFF2-40B4-BE49-F238E27FC236}">
                  <a16:creationId xmlns:a16="http://schemas.microsoft.com/office/drawing/2014/main" id="{0D0E51EA-C557-4195-84C0-DC2B2CD2C746}"/>
                </a:ext>
              </a:extLst>
            </p:cNvPr>
            <p:cNvSpPr/>
            <p:nvPr/>
          </p:nvSpPr>
          <p:spPr>
            <a:xfrm>
              <a:off x="12316039" y="4699351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56909"/>
                    <a:pt x="156910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10" y="96803"/>
                    <a:pt x="174246" y="114139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8" name="Freeform: Shape 3397">
              <a:extLst>
                <a:ext uri="{FF2B5EF4-FFF2-40B4-BE49-F238E27FC236}">
                  <a16:creationId xmlns:a16="http://schemas.microsoft.com/office/drawing/2014/main" id="{59BD94BF-3E39-4398-B9DC-60D95881A738}"/>
                </a:ext>
              </a:extLst>
            </p:cNvPr>
            <p:cNvSpPr/>
            <p:nvPr/>
          </p:nvSpPr>
          <p:spPr>
            <a:xfrm>
              <a:off x="12858136" y="528016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2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8" y="174245"/>
                    <a:pt x="96802" y="156909"/>
                    <a:pt x="96802" y="135524"/>
                  </a:cubicBezTo>
                  <a:cubicBezTo>
                    <a:pt x="96802" y="114139"/>
                    <a:pt x="114138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99" name="Freeform: Shape 3398">
              <a:extLst>
                <a:ext uri="{FF2B5EF4-FFF2-40B4-BE49-F238E27FC236}">
                  <a16:creationId xmlns:a16="http://schemas.microsoft.com/office/drawing/2014/main" id="{FBFC0E9E-EF87-415E-ABB5-2F77FBB559DE}"/>
                </a:ext>
              </a:extLst>
            </p:cNvPr>
            <p:cNvSpPr/>
            <p:nvPr/>
          </p:nvSpPr>
          <p:spPr>
            <a:xfrm>
              <a:off x="11838478" y="552540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2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8" y="174245"/>
                    <a:pt x="96802" y="156909"/>
                    <a:pt x="96802" y="135524"/>
                  </a:cubicBezTo>
                  <a:cubicBezTo>
                    <a:pt x="96802" y="114139"/>
                    <a:pt x="114138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0" name="Freeform: Shape 3399">
              <a:extLst>
                <a:ext uri="{FF2B5EF4-FFF2-40B4-BE49-F238E27FC236}">
                  <a16:creationId xmlns:a16="http://schemas.microsoft.com/office/drawing/2014/main" id="{123588EE-8468-4605-BB5F-A35C2099B513}"/>
                </a:ext>
              </a:extLst>
            </p:cNvPr>
            <p:cNvSpPr/>
            <p:nvPr/>
          </p:nvSpPr>
          <p:spPr>
            <a:xfrm>
              <a:off x="14807103" y="379585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1" name="Freeform: Shape 3400">
              <a:extLst>
                <a:ext uri="{FF2B5EF4-FFF2-40B4-BE49-F238E27FC236}">
                  <a16:creationId xmlns:a16="http://schemas.microsoft.com/office/drawing/2014/main" id="{B607A22A-A2FC-4505-8685-31FD2754C240}"/>
                </a:ext>
              </a:extLst>
            </p:cNvPr>
            <p:cNvSpPr/>
            <p:nvPr/>
          </p:nvSpPr>
          <p:spPr>
            <a:xfrm>
              <a:off x="14949081" y="327957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2" name="Freeform: Shape 3401">
              <a:extLst>
                <a:ext uri="{FF2B5EF4-FFF2-40B4-BE49-F238E27FC236}">
                  <a16:creationId xmlns:a16="http://schemas.microsoft.com/office/drawing/2014/main" id="{B9D2DFA2-DAFE-4014-9D6E-27BFDABBE57A}"/>
                </a:ext>
              </a:extLst>
            </p:cNvPr>
            <p:cNvSpPr/>
            <p:nvPr/>
          </p:nvSpPr>
          <p:spPr>
            <a:xfrm>
              <a:off x="14781289" y="3486087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3" name="Freeform: Shape 3402">
              <a:extLst>
                <a:ext uri="{FF2B5EF4-FFF2-40B4-BE49-F238E27FC236}">
                  <a16:creationId xmlns:a16="http://schemas.microsoft.com/office/drawing/2014/main" id="{246C803F-813C-480A-AFCE-5B85C33F0318}"/>
                </a:ext>
              </a:extLst>
            </p:cNvPr>
            <p:cNvSpPr/>
            <p:nvPr/>
          </p:nvSpPr>
          <p:spPr>
            <a:xfrm>
              <a:off x="14794196" y="351190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4" name="Freeform: Shape 3403">
              <a:extLst>
                <a:ext uri="{FF2B5EF4-FFF2-40B4-BE49-F238E27FC236}">
                  <a16:creationId xmlns:a16="http://schemas.microsoft.com/office/drawing/2014/main" id="{69ADB266-18E2-48E9-AE23-098057F9B664}"/>
                </a:ext>
              </a:extLst>
            </p:cNvPr>
            <p:cNvSpPr/>
            <p:nvPr/>
          </p:nvSpPr>
          <p:spPr>
            <a:xfrm>
              <a:off x="14832917" y="3313232"/>
              <a:ext cx="129071" cy="129071"/>
            </a:xfrm>
            <a:custGeom>
              <a:avLst/>
              <a:gdLst>
                <a:gd name="connsiteX0" fmla="*/ 148431 w 129070"/>
                <a:gd name="connsiteY0" fmla="*/ 127681 h 129070"/>
                <a:gd name="connsiteX1" fmla="*/ 122618 w 129070"/>
                <a:gd name="connsiteY1" fmla="*/ 153495 h 129070"/>
                <a:gd name="connsiteX2" fmla="*/ 96803 w 129070"/>
                <a:gd name="connsiteY2" fmla="*/ 127681 h 129070"/>
                <a:gd name="connsiteX3" fmla="*/ 122618 w 129070"/>
                <a:gd name="connsiteY3" fmla="*/ 101867 h 129070"/>
                <a:gd name="connsiteX4" fmla="*/ 148431 w 129070"/>
                <a:gd name="connsiteY4" fmla="*/ 127681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1"/>
                  </a:moveTo>
                  <a:cubicBezTo>
                    <a:pt x="148431" y="140588"/>
                    <a:pt x="135525" y="153495"/>
                    <a:pt x="122618" y="153495"/>
                  </a:cubicBezTo>
                  <a:cubicBezTo>
                    <a:pt x="109711" y="153495"/>
                    <a:pt x="96803" y="140588"/>
                    <a:pt x="96803" y="127681"/>
                  </a:cubicBezTo>
                  <a:cubicBezTo>
                    <a:pt x="96803" y="114774"/>
                    <a:pt x="109711" y="101867"/>
                    <a:pt x="122618" y="101867"/>
                  </a:cubicBezTo>
                  <a:cubicBezTo>
                    <a:pt x="135525" y="88959"/>
                    <a:pt x="148431" y="101867"/>
                    <a:pt x="148431" y="1276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5" name="Freeform: Shape 3404">
              <a:extLst>
                <a:ext uri="{FF2B5EF4-FFF2-40B4-BE49-F238E27FC236}">
                  <a16:creationId xmlns:a16="http://schemas.microsoft.com/office/drawing/2014/main" id="{CFEE46EA-67AD-47ED-99FD-BF942DD91CF8}"/>
                </a:ext>
              </a:extLst>
            </p:cNvPr>
            <p:cNvSpPr/>
            <p:nvPr/>
          </p:nvSpPr>
          <p:spPr>
            <a:xfrm>
              <a:off x="14845825" y="3253760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6" name="Freeform: Shape 3405">
              <a:extLst>
                <a:ext uri="{FF2B5EF4-FFF2-40B4-BE49-F238E27FC236}">
                  <a16:creationId xmlns:a16="http://schemas.microsoft.com/office/drawing/2014/main" id="{62FDF80B-4418-431E-A8FD-4547FCC0064B}"/>
                </a:ext>
              </a:extLst>
            </p:cNvPr>
            <p:cNvSpPr/>
            <p:nvPr/>
          </p:nvSpPr>
          <p:spPr>
            <a:xfrm>
              <a:off x="15555713" y="295689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7" name="Freeform: Shape 3406">
              <a:extLst>
                <a:ext uri="{FF2B5EF4-FFF2-40B4-BE49-F238E27FC236}">
                  <a16:creationId xmlns:a16="http://schemas.microsoft.com/office/drawing/2014/main" id="{DC988941-3EEA-4EC9-8B78-5FFDA081F86E}"/>
                </a:ext>
              </a:extLst>
            </p:cNvPr>
            <p:cNvSpPr/>
            <p:nvPr/>
          </p:nvSpPr>
          <p:spPr>
            <a:xfrm>
              <a:off x="15439549" y="276329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8" name="Freeform: Shape 3407">
              <a:extLst>
                <a:ext uri="{FF2B5EF4-FFF2-40B4-BE49-F238E27FC236}">
                  <a16:creationId xmlns:a16="http://schemas.microsoft.com/office/drawing/2014/main" id="{9CDFC3D9-7B5F-4FFE-AE95-D491A52F9838}"/>
                </a:ext>
              </a:extLst>
            </p:cNvPr>
            <p:cNvSpPr/>
            <p:nvPr/>
          </p:nvSpPr>
          <p:spPr>
            <a:xfrm>
              <a:off x="15917110" y="2479336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09" name="Freeform: Shape 3408">
              <a:extLst>
                <a:ext uri="{FF2B5EF4-FFF2-40B4-BE49-F238E27FC236}">
                  <a16:creationId xmlns:a16="http://schemas.microsoft.com/office/drawing/2014/main" id="{57A5C6E8-82B7-4C4B-81DD-36E96087EBF2}"/>
                </a:ext>
              </a:extLst>
            </p:cNvPr>
            <p:cNvSpPr/>
            <p:nvPr/>
          </p:nvSpPr>
          <p:spPr>
            <a:xfrm>
              <a:off x="17169096" y="2117938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5" y="148431"/>
                    <a:pt x="122617" y="148431"/>
                  </a:cubicBezTo>
                  <a:cubicBezTo>
                    <a:pt x="109709" y="148431"/>
                    <a:pt x="96803" y="135524"/>
                    <a:pt x="96803" y="122617"/>
                  </a:cubicBezTo>
                  <a:cubicBezTo>
                    <a:pt x="96803" y="109710"/>
                    <a:pt x="109709" y="96803"/>
                    <a:pt x="122617" y="96803"/>
                  </a:cubicBezTo>
                  <a:cubicBezTo>
                    <a:pt x="135525" y="96803"/>
                    <a:pt x="148430" y="96803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0" name="Freeform: Shape 3409">
              <a:extLst>
                <a:ext uri="{FF2B5EF4-FFF2-40B4-BE49-F238E27FC236}">
                  <a16:creationId xmlns:a16="http://schemas.microsoft.com/office/drawing/2014/main" id="{7328B9DC-6911-4E6C-97A8-EFCC8BD58146}"/>
                </a:ext>
              </a:extLst>
            </p:cNvPr>
            <p:cNvSpPr/>
            <p:nvPr/>
          </p:nvSpPr>
          <p:spPr>
            <a:xfrm>
              <a:off x="16743163" y="211793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1" name="Freeform: Shape 3410">
              <a:extLst>
                <a:ext uri="{FF2B5EF4-FFF2-40B4-BE49-F238E27FC236}">
                  <a16:creationId xmlns:a16="http://schemas.microsoft.com/office/drawing/2014/main" id="{DBBD8754-CB98-41A9-A76C-FB339E72FBE1}"/>
                </a:ext>
              </a:extLst>
            </p:cNvPr>
            <p:cNvSpPr/>
            <p:nvPr/>
          </p:nvSpPr>
          <p:spPr>
            <a:xfrm>
              <a:off x="15904204" y="242770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2" name="Freeform: Shape 3411">
              <a:extLst>
                <a:ext uri="{FF2B5EF4-FFF2-40B4-BE49-F238E27FC236}">
                  <a16:creationId xmlns:a16="http://schemas.microsoft.com/office/drawing/2014/main" id="{3486430F-C329-42DE-B9A9-16C919483256}"/>
                </a:ext>
              </a:extLst>
            </p:cNvPr>
            <p:cNvSpPr/>
            <p:nvPr/>
          </p:nvSpPr>
          <p:spPr>
            <a:xfrm>
              <a:off x="16330137" y="238898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3" name="Freeform: Shape 3412">
              <a:extLst>
                <a:ext uri="{FF2B5EF4-FFF2-40B4-BE49-F238E27FC236}">
                  <a16:creationId xmlns:a16="http://schemas.microsoft.com/office/drawing/2014/main" id="{4011B375-1CA0-4C89-B5AF-00E0FFD43EE4}"/>
                </a:ext>
              </a:extLst>
            </p:cNvPr>
            <p:cNvSpPr/>
            <p:nvPr/>
          </p:nvSpPr>
          <p:spPr>
            <a:xfrm>
              <a:off x="16743163" y="1950146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4" name="Freeform: Shape 3413">
              <a:extLst>
                <a:ext uri="{FF2B5EF4-FFF2-40B4-BE49-F238E27FC236}">
                  <a16:creationId xmlns:a16="http://schemas.microsoft.com/office/drawing/2014/main" id="{B0986922-EE12-451E-97E3-A9DED696AD17}"/>
                </a:ext>
              </a:extLst>
            </p:cNvPr>
            <p:cNvSpPr/>
            <p:nvPr/>
          </p:nvSpPr>
          <p:spPr>
            <a:xfrm>
              <a:off x="16652814" y="228573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5" name="Freeform: Shape 3414">
              <a:extLst>
                <a:ext uri="{FF2B5EF4-FFF2-40B4-BE49-F238E27FC236}">
                  <a16:creationId xmlns:a16="http://schemas.microsoft.com/office/drawing/2014/main" id="{A8AFF698-41FA-485D-8C6D-25E61BDEAE1D}"/>
                </a:ext>
              </a:extLst>
            </p:cNvPr>
            <p:cNvSpPr/>
            <p:nvPr/>
          </p:nvSpPr>
          <p:spPr>
            <a:xfrm>
              <a:off x="14910360" y="249224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6" name="Freeform: Shape 3415">
              <a:extLst>
                <a:ext uri="{FF2B5EF4-FFF2-40B4-BE49-F238E27FC236}">
                  <a16:creationId xmlns:a16="http://schemas.microsoft.com/office/drawing/2014/main" id="{8DE003DE-5780-4F4D-AF9D-44B7A50B7C48}"/>
                </a:ext>
              </a:extLst>
            </p:cNvPr>
            <p:cNvSpPr/>
            <p:nvPr/>
          </p:nvSpPr>
          <p:spPr>
            <a:xfrm>
              <a:off x="15387921" y="2488810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7" name="Freeform: Shape 3416">
              <a:extLst>
                <a:ext uri="{FF2B5EF4-FFF2-40B4-BE49-F238E27FC236}">
                  <a16:creationId xmlns:a16="http://schemas.microsoft.com/office/drawing/2014/main" id="{91E90D7E-8DD8-4CE0-8055-76B2D5FA4D98}"/>
                </a:ext>
              </a:extLst>
            </p:cNvPr>
            <p:cNvSpPr/>
            <p:nvPr/>
          </p:nvSpPr>
          <p:spPr>
            <a:xfrm>
              <a:off x="8973110" y="1304793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8" name="Freeform: Shape 3417">
              <a:extLst>
                <a:ext uri="{FF2B5EF4-FFF2-40B4-BE49-F238E27FC236}">
                  <a16:creationId xmlns:a16="http://schemas.microsoft.com/office/drawing/2014/main" id="{BBE20119-6BC4-4912-BD3C-9B449CCAC886}"/>
                </a:ext>
              </a:extLst>
            </p:cNvPr>
            <p:cNvSpPr/>
            <p:nvPr/>
          </p:nvSpPr>
          <p:spPr>
            <a:xfrm>
              <a:off x="8676247" y="1343514"/>
              <a:ext cx="258141" cy="129071"/>
            </a:xfrm>
            <a:custGeom>
              <a:avLst/>
              <a:gdLst>
                <a:gd name="connsiteX0" fmla="*/ 161338 w 258141"/>
                <a:gd name="connsiteY0" fmla="*/ 122617 h 129070"/>
                <a:gd name="connsiteX1" fmla="*/ 135525 w 258141"/>
                <a:gd name="connsiteY1" fmla="*/ 148431 h 129070"/>
                <a:gd name="connsiteX2" fmla="*/ 96803 w 258141"/>
                <a:gd name="connsiteY2" fmla="*/ 122617 h 129070"/>
                <a:gd name="connsiteX3" fmla="*/ 122617 w 258141"/>
                <a:gd name="connsiteY3" fmla="*/ 96803 h 129070"/>
                <a:gd name="connsiteX4" fmla="*/ 161338 w 258141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129070">
                  <a:moveTo>
                    <a:pt x="161338" y="122617"/>
                  </a:moveTo>
                  <a:cubicBezTo>
                    <a:pt x="161338" y="135524"/>
                    <a:pt x="148431" y="148431"/>
                    <a:pt x="135525" y="148431"/>
                  </a:cubicBezTo>
                  <a:cubicBezTo>
                    <a:pt x="122617" y="148431"/>
                    <a:pt x="96803" y="148431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61338" y="109710"/>
                    <a:pt x="161338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19" name="Freeform: Shape 3418">
              <a:extLst>
                <a:ext uri="{FF2B5EF4-FFF2-40B4-BE49-F238E27FC236}">
                  <a16:creationId xmlns:a16="http://schemas.microsoft.com/office/drawing/2014/main" id="{750DDD33-53C0-46BE-9FDA-ABEC3F59CFE7}"/>
                </a:ext>
              </a:extLst>
            </p:cNvPr>
            <p:cNvSpPr/>
            <p:nvPr/>
          </p:nvSpPr>
          <p:spPr>
            <a:xfrm>
              <a:off x="9102181" y="1291886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0" name="Freeform: Shape 3419">
              <a:extLst>
                <a:ext uri="{FF2B5EF4-FFF2-40B4-BE49-F238E27FC236}">
                  <a16:creationId xmlns:a16="http://schemas.microsoft.com/office/drawing/2014/main" id="{E78CC36F-BC2D-4824-9C7F-13B72F962820}"/>
                </a:ext>
              </a:extLst>
            </p:cNvPr>
            <p:cNvSpPr/>
            <p:nvPr/>
          </p:nvSpPr>
          <p:spPr>
            <a:xfrm>
              <a:off x="9269972" y="1480429"/>
              <a:ext cx="129071" cy="129071"/>
            </a:xfrm>
            <a:custGeom>
              <a:avLst/>
              <a:gdLst>
                <a:gd name="connsiteX0" fmla="*/ 148431 w 129070"/>
                <a:gd name="connsiteY0" fmla="*/ 127681 h 129070"/>
                <a:gd name="connsiteX1" fmla="*/ 122618 w 129070"/>
                <a:gd name="connsiteY1" fmla="*/ 153495 h 129070"/>
                <a:gd name="connsiteX2" fmla="*/ 96803 w 129070"/>
                <a:gd name="connsiteY2" fmla="*/ 127681 h 129070"/>
                <a:gd name="connsiteX3" fmla="*/ 122618 w 129070"/>
                <a:gd name="connsiteY3" fmla="*/ 101866 h 129070"/>
                <a:gd name="connsiteX4" fmla="*/ 148431 w 129070"/>
                <a:gd name="connsiteY4" fmla="*/ 127681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1"/>
                  </a:moveTo>
                  <a:cubicBezTo>
                    <a:pt x="148431" y="140588"/>
                    <a:pt x="135525" y="153495"/>
                    <a:pt x="122618" y="153495"/>
                  </a:cubicBezTo>
                  <a:cubicBezTo>
                    <a:pt x="109710" y="153495"/>
                    <a:pt x="96803" y="140588"/>
                    <a:pt x="96803" y="127681"/>
                  </a:cubicBezTo>
                  <a:cubicBezTo>
                    <a:pt x="96803" y="114774"/>
                    <a:pt x="109710" y="101866"/>
                    <a:pt x="122618" y="101866"/>
                  </a:cubicBezTo>
                  <a:cubicBezTo>
                    <a:pt x="135525" y="88959"/>
                    <a:pt x="148431" y="101866"/>
                    <a:pt x="148431" y="1276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1" name="Freeform: Shape 3420">
              <a:extLst>
                <a:ext uri="{FF2B5EF4-FFF2-40B4-BE49-F238E27FC236}">
                  <a16:creationId xmlns:a16="http://schemas.microsoft.com/office/drawing/2014/main" id="{77D4C04C-83EB-4F7F-BA48-D60186319819}"/>
                </a:ext>
              </a:extLst>
            </p:cNvPr>
            <p:cNvSpPr/>
            <p:nvPr/>
          </p:nvSpPr>
          <p:spPr>
            <a:xfrm>
              <a:off x="11412545" y="148549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2" name="Freeform: Shape 3421">
              <a:extLst>
                <a:ext uri="{FF2B5EF4-FFF2-40B4-BE49-F238E27FC236}">
                  <a16:creationId xmlns:a16="http://schemas.microsoft.com/office/drawing/2014/main" id="{1452759B-6D47-4EC9-8512-338925C86DE7}"/>
                </a:ext>
              </a:extLst>
            </p:cNvPr>
            <p:cNvSpPr/>
            <p:nvPr/>
          </p:nvSpPr>
          <p:spPr>
            <a:xfrm>
              <a:off x="11619058" y="170491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3" name="Freeform: Shape 3422">
              <a:extLst>
                <a:ext uri="{FF2B5EF4-FFF2-40B4-BE49-F238E27FC236}">
                  <a16:creationId xmlns:a16="http://schemas.microsoft.com/office/drawing/2014/main" id="{2E505447-B326-4976-B8BE-A2C0D52C90B5}"/>
                </a:ext>
              </a:extLst>
            </p:cNvPr>
            <p:cNvSpPr/>
            <p:nvPr/>
          </p:nvSpPr>
          <p:spPr>
            <a:xfrm>
              <a:off x="12032084" y="165328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4" name="Freeform: Shape 3423">
              <a:extLst>
                <a:ext uri="{FF2B5EF4-FFF2-40B4-BE49-F238E27FC236}">
                  <a16:creationId xmlns:a16="http://schemas.microsoft.com/office/drawing/2014/main" id="{6DD8149E-E55D-48A4-81E5-6079E0162C30}"/>
                </a:ext>
              </a:extLst>
            </p:cNvPr>
            <p:cNvSpPr/>
            <p:nvPr/>
          </p:nvSpPr>
          <p:spPr>
            <a:xfrm>
              <a:off x="12741973" y="142095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5" name="Freeform: Shape 3424">
              <a:extLst>
                <a:ext uri="{FF2B5EF4-FFF2-40B4-BE49-F238E27FC236}">
                  <a16:creationId xmlns:a16="http://schemas.microsoft.com/office/drawing/2014/main" id="{F03AF5D2-2698-4D60-A69A-A496ADB26C9F}"/>
                </a:ext>
              </a:extLst>
            </p:cNvPr>
            <p:cNvSpPr/>
            <p:nvPr/>
          </p:nvSpPr>
          <p:spPr>
            <a:xfrm>
              <a:off x="13451861" y="1485492"/>
              <a:ext cx="258141" cy="258141"/>
            </a:xfrm>
            <a:custGeom>
              <a:avLst/>
              <a:gdLst>
                <a:gd name="connsiteX0" fmla="*/ 187152 w 258141"/>
                <a:gd name="connsiteY0" fmla="*/ 135524 h 258141"/>
                <a:gd name="connsiteX1" fmla="*/ 148431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87152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87152" y="135524"/>
                  </a:moveTo>
                  <a:cubicBezTo>
                    <a:pt x="187152" y="161338"/>
                    <a:pt x="161338" y="174245"/>
                    <a:pt x="148431" y="174245"/>
                  </a:cubicBezTo>
                  <a:cubicBezTo>
                    <a:pt x="135525" y="174245"/>
                    <a:pt x="96803" y="161338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87152" y="122617"/>
                    <a:pt x="187152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6" name="Freeform: Shape 3425">
              <a:extLst>
                <a:ext uri="{FF2B5EF4-FFF2-40B4-BE49-F238E27FC236}">
                  <a16:creationId xmlns:a16="http://schemas.microsoft.com/office/drawing/2014/main" id="{FF542C98-634F-47F7-8194-EA9E30226248}"/>
                </a:ext>
              </a:extLst>
            </p:cNvPr>
            <p:cNvSpPr/>
            <p:nvPr/>
          </p:nvSpPr>
          <p:spPr>
            <a:xfrm>
              <a:off x="11412545" y="1937239"/>
              <a:ext cx="258141" cy="258141"/>
            </a:xfrm>
            <a:custGeom>
              <a:avLst/>
              <a:gdLst>
                <a:gd name="connsiteX0" fmla="*/ 187153 w 258141"/>
                <a:gd name="connsiteY0" fmla="*/ 135524 h 258141"/>
                <a:gd name="connsiteX1" fmla="*/ 148431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87153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87153" y="135524"/>
                  </a:moveTo>
                  <a:cubicBezTo>
                    <a:pt x="187153" y="161338"/>
                    <a:pt x="161338" y="174245"/>
                    <a:pt x="148431" y="174245"/>
                  </a:cubicBezTo>
                  <a:cubicBezTo>
                    <a:pt x="135525" y="174245"/>
                    <a:pt x="96803" y="161338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87153" y="109710"/>
                    <a:pt x="187153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7" name="Freeform: Shape 3426">
              <a:extLst>
                <a:ext uri="{FF2B5EF4-FFF2-40B4-BE49-F238E27FC236}">
                  <a16:creationId xmlns:a16="http://schemas.microsoft.com/office/drawing/2014/main" id="{6F360875-8021-4024-B2B5-04F387E11998}"/>
                </a:ext>
              </a:extLst>
            </p:cNvPr>
            <p:cNvSpPr/>
            <p:nvPr/>
          </p:nvSpPr>
          <p:spPr>
            <a:xfrm>
              <a:off x="8005080" y="277619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8" name="Freeform: Shape 3427">
              <a:extLst>
                <a:ext uri="{FF2B5EF4-FFF2-40B4-BE49-F238E27FC236}">
                  <a16:creationId xmlns:a16="http://schemas.microsoft.com/office/drawing/2014/main" id="{1C62E58B-2E9A-4E4A-B740-90F17B455AA6}"/>
                </a:ext>
              </a:extLst>
            </p:cNvPr>
            <p:cNvSpPr/>
            <p:nvPr/>
          </p:nvSpPr>
          <p:spPr>
            <a:xfrm>
              <a:off x="8108336" y="3405212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26050"/>
                    <a:pt x="122617" y="100236"/>
                    <a:pt x="135525" y="100236"/>
                  </a:cubicBezTo>
                  <a:cubicBezTo>
                    <a:pt x="161338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29" name="Freeform: Shape 3428">
              <a:extLst>
                <a:ext uri="{FF2B5EF4-FFF2-40B4-BE49-F238E27FC236}">
                  <a16:creationId xmlns:a16="http://schemas.microsoft.com/office/drawing/2014/main" id="{5D9598EF-65FA-44C7-BE16-39D0E450244E}"/>
                </a:ext>
              </a:extLst>
            </p:cNvPr>
            <p:cNvSpPr/>
            <p:nvPr/>
          </p:nvSpPr>
          <p:spPr>
            <a:xfrm>
              <a:off x="9024738" y="3611725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8"/>
                    <a:pt x="135525" y="177678"/>
                  </a:cubicBezTo>
                  <a:cubicBezTo>
                    <a:pt x="109711" y="177678"/>
                    <a:pt x="96803" y="151864"/>
                    <a:pt x="96803" y="138957"/>
                  </a:cubicBezTo>
                  <a:cubicBezTo>
                    <a:pt x="96803" y="113143"/>
                    <a:pt x="122618" y="100236"/>
                    <a:pt x="135525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0" name="Freeform: Shape 3429">
              <a:extLst>
                <a:ext uri="{FF2B5EF4-FFF2-40B4-BE49-F238E27FC236}">
                  <a16:creationId xmlns:a16="http://schemas.microsoft.com/office/drawing/2014/main" id="{4FCEC9BA-E7C3-466F-84B5-081C139D8C15}"/>
                </a:ext>
              </a:extLst>
            </p:cNvPr>
            <p:cNvSpPr/>
            <p:nvPr/>
          </p:nvSpPr>
          <p:spPr>
            <a:xfrm>
              <a:off x="8572990" y="3357016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1" name="Freeform: Shape 3430">
              <a:extLst>
                <a:ext uri="{FF2B5EF4-FFF2-40B4-BE49-F238E27FC236}">
                  <a16:creationId xmlns:a16="http://schemas.microsoft.com/office/drawing/2014/main" id="{8497E0B1-E0EA-4AD8-8956-9A26139A9D6E}"/>
                </a:ext>
              </a:extLst>
            </p:cNvPr>
            <p:cNvSpPr/>
            <p:nvPr/>
          </p:nvSpPr>
          <p:spPr>
            <a:xfrm>
              <a:off x="8108336" y="3899113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5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5" y="96803"/>
                  </a:cubicBezTo>
                  <a:cubicBezTo>
                    <a:pt x="161338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2" name="Freeform: Shape 3431">
              <a:extLst>
                <a:ext uri="{FF2B5EF4-FFF2-40B4-BE49-F238E27FC236}">
                  <a16:creationId xmlns:a16="http://schemas.microsoft.com/office/drawing/2014/main" id="{DC8D6AF4-D73D-47F3-96F5-141F50ACA6EA}"/>
                </a:ext>
              </a:extLst>
            </p:cNvPr>
            <p:cNvSpPr/>
            <p:nvPr/>
          </p:nvSpPr>
          <p:spPr>
            <a:xfrm>
              <a:off x="7514611" y="542214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3" name="Freeform: Shape 3432">
              <a:extLst>
                <a:ext uri="{FF2B5EF4-FFF2-40B4-BE49-F238E27FC236}">
                  <a16:creationId xmlns:a16="http://schemas.microsoft.com/office/drawing/2014/main" id="{291DB6F4-CADB-45EB-A4B4-6B931FDE585A}"/>
                </a:ext>
              </a:extLst>
            </p:cNvPr>
            <p:cNvSpPr/>
            <p:nvPr/>
          </p:nvSpPr>
          <p:spPr>
            <a:xfrm>
              <a:off x="8392292" y="5615753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4" name="Freeform: Shape 3433">
              <a:extLst>
                <a:ext uri="{FF2B5EF4-FFF2-40B4-BE49-F238E27FC236}">
                  <a16:creationId xmlns:a16="http://schemas.microsoft.com/office/drawing/2014/main" id="{86D5FFD4-A6A4-4F7E-813B-3CCE1D279483}"/>
                </a:ext>
              </a:extLst>
            </p:cNvPr>
            <p:cNvSpPr/>
            <p:nvPr/>
          </p:nvSpPr>
          <p:spPr>
            <a:xfrm>
              <a:off x="8585898" y="606750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5" name="Freeform: Shape 3434">
              <a:extLst>
                <a:ext uri="{FF2B5EF4-FFF2-40B4-BE49-F238E27FC236}">
                  <a16:creationId xmlns:a16="http://schemas.microsoft.com/office/drawing/2014/main" id="{46D3D341-A118-4C97-B373-408A5EBEAAF5}"/>
                </a:ext>
              </a:extLst>
            </p:cNvPr>
            <p:cNvSpPr/>
            <p:nvPr/>
          </p:nvSpPr>
          <p:spPr>
            <a:xfrm>
              <a:off x="8766596" y="633854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6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6"/>
                    <a:pt x="135525" y="174246"/>
                  </a:cubicBezTo>
                  <a:cubicBezTo>
                    <a:pt x="109711" y="174246"/>
                    <a:pt x="96803" y="161338"/>
                    <a:pt x="96803" y="135524"/>
                  </a:cubicBezTo>
                  <a:cubicBezTo>
                    <a:pt x="96803" y="109710"/>
                    <a:pt x="109711" y="96803"/>
                    <a:pt x="135525" y="96803"/>
                  </a:cubicBezTo>
                  <a:cubicBezTo>
                    <a:pt x="161338" y="109710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6" name="Freeform: Shape 3435">
              <a:extLst>
                <a:ext uri="{FF2B5EF4-FFF2-40B4-BE49-F238E27FC236}">
                  <a16:creationId xmlns:a16="http://schemas.microsoft.com/office/drawing/2014/main" id="{EE775EDB-5E53-473D-85CC-5FA79A2C2EF8}"/>
                </a:ext>
              </a:extLst>
            </p:cNvPr>
            <p:cNvSpPr/>
            <p:nvPr/>
          </p:nvSpPr>
          <p:spPr>
            <a:xfrm>
              <a:off x="8831132" y="730657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6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6"/>
                    <a:pt x="135525" y="174246"/>
                  </a:cubicBezTo>
                  <a:cubicBezTo>
                    <a:pt x="109711" y="174246"/>
                    <a:pt x="96803" y="161338"/>
                    <a:pt x="96803" y="135524"/>
                  </a:cubicBezTo>
                  <a:cubicBezTo>
                    <a:pt x="96803" y="109710"/>
                    <a:pt x="109711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7" name="Freeform: Shape 3436">
              <a:extLst>
                <a:ext uri="{FF2B5EF4-FFF2-40B4-BE49-F238E27FC236}">
                  <a16:creationId xmlns:a16="http://schemas.microsoft.com/office/drawing/2014/main" id="{B4E949B1-C1F9-482E-8B1B-13F67F9A316A}"/>
                </a:ext>
              </a:extLst>
            </p:cNvPr>
            <p:cNvSpPr/>
            <p:nvPr/>
          </p:nvSpPr>
          <p:spPr>
            <a:xfrm>
              <a:off x="8882760" y="7603440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5 w 258141"/>
                <a:gd name="connsiteY1" fmla="*/ 174246 h 258141"/>
                <a:gd name="connsiteX2" fmla="*/ 96803 w 258141"/>
                <a:gd name="connsiteY2" fmla="*/ 135525 h 258141"/>
                <a:gd name="connsiteX3" fmla="*/ 135525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61338" y="174246"/>
                    <a:pt x="135525" y="174246"/>
                  </a:cubicBezTo>
                  <a:cubicBezTo>
                    <a:pt x="109710" y="174246"/>
                    <a:pt x="96803" y="161338"/>
                    <a:pt x="96803" y="135525"/>
                  </a:cubicBezTo>
                  <a:cubicBezTo>
                    <a:pt x="96803" y="109710"/>
                    <a:pt x="109710" y="96803"/>
                    <a:pt x="135525" y="96803"/>
                  </a:cubicBezTo>
                  <a:cubicBezTo>
                    <a:pt x="161338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8" name="Freeform: Shape 3437">
              <a:extLst>
                <a:ext uri="{FF2B5EF4-FFF2-40B4-BE49-F238E27FC236}">
                  <a16:creationId xmlns:a16="http://schemas.microsoft.com/office/drawing/2014/main" id="{0123EC14-B294-41AD-85B7-F9CB5EF5CFCC}"/>
                </a:ext>
              </a:extLst>
            </p:cNvPr>
            <p:cNvSpPr/>
            <p:nvPr/>
          </p:nvSpPr>
          <p:spPr>
            <a:xfrm>
              <a:off x="9528113" y="787448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5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5" y="96803"/>
                  </a:cubicBezTo>
                  <a:cubicBezTo>
                    <a:pt x="148431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39" name="Freeform: Shape 3438">
              <a:extLst>
                <a:ext uri="{FF2B5EF4-FFF2-40B4-BE49-F238E27FC236}">
                  <a16:creationId xmlns:a16="http://schemas.microsoft.com/office/drawing/2014/main" id="{9470D0ED-B978-4698-AF83-C1C806C6559D}"/>
                </a:ext>
              </a:extLst>
            </p:cNvPr>
            <p:cNvSpPr/>
            <p:nvPr/>
          </p:nvSpPr>
          <p:spPr>
            <a:xfrm>
              <a:off x="7695310" y="414434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0" name="Freeform: Shape 3439">
              <a:extLst>
                <a:ext uri="{FF2B5EF4-FFF2-40B4-BE49-F238E27FC236}">
                  <a16:creationId xmlns:a16="http://schemas.microsoft.com/office/drawing/2014/main" id="{BE1C719B-9EC6-4B17-B433-55A28CF1CCF5}"/>
                </a:ext>
              </a:extLst>
            </p:cNvPr>
            <p:cNvSpPr/>
            <p:nvPr/>
          </p:nvSpPr>
          <p:spPr>
            <a:xfrm>
              <a:off x="7901823" y="392492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1" name="Freeform: Shape 3440">
              <a:extLst>
                <a:ext uri="{FF2B5EF4-FFF2-40B4-BE49-F238E27FC236}">
                  <a16:creationId xmlns:a16="http://schemas.microsoft.com/office/drawing/2014/main" id="{A690F81C-86A1-4B54-A291-BED3F8AF7101}"/>
                </a:ext>
              </a:extLst>
            </p:cNvPr>
            <p:cNvSpPr/>
            <p:nvPr/>
          </p:nvSpPr>
          <p:spPr>
            <a:xfrm>
              <a:off x="7385541" y="478970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96803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2" name="Freeform: Shape 3441">
              <a:extLst>
                <a:ext uri="{FF2B5EF4-FFF2-40B4-BE49-F238E27FC236}">
                  <a16:creationId xmlns:a16="http://schemas.microsoft.com/office/drawing/2014/main" id="{3D50CDE2-D54C-4F84-97AD-773AA334C369}"/>
                </a:ext>
              </a:extLst>
            </p:cNvPr>
            <p:cNvSpPr/>
            <p:nvPr/>
          </p:nvSpPr>
          <p:spPr>
            <a:xfrm>
              <a:off x="7372634" y="512528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3" name="Freeform: Shape 3442">
              <a:extLst>
                <a:ext uri="{FF2B5EF4-FFF2-40B4-BE49-F238E27FC236}">
                  <a16:creationId xmlns:a16="http://schemas.microsoft.com/office/drawing/2014/main" id="{C468673D-A762-421A-8559-8EF8300D4E3C}"/>
                </a:ext>
              </a:extLst>
            </p:cNvPr>
            <p:cNvSpPr/>
            <p:nvPr/>
          </p:nvSpPr>
          <p:spPr>
            <a:xfrm>
              <a:off x="8250314" y="564156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4" name="Freeform: Shape 3443">
              <a:extLst>
                <a:ext uri="{FF2B5EF4-FFF2-40B4-BE49-F238E27FC236}">
                  <a16:creationId xmlns:a16="http://schemas.microsoft.com/office/drawing/2014/main" id="{0362AE57-1910-4D7A-8690-9F93B0B2FE52}"/>
                </a:ext>
              </a:extLst>
            </p:cNvPr>
            <p:cNvSpPr/>
            <p:nvPr/>
          </p:nvSpPr>
          <p:spPr>
            <a:xfrm>
              <a:off x="8443920" y="575773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5" name="Freeform: Shape 3444">
              <a:extLst>
                <a:ext uri="{FF2B5EF4-FFF2-40B4-BE49-F238E27FC236}">
                  <a16:creationId xmlns:a16="http://schemas.microsoft.com/office/drawing/2014/main" id="{50B3F280-8565-4FB1-9208-BFD499DDE40B}"/>
                </a:ext>
              </a:extLst>
            </p:cNvPr>
            <p:cNvSpPr/>
            <p:nvPr/>
          </p:nvSpPr>
          <p:spPr>
            <a:xfrm>
              <a:off x="8663340" y="586098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6" name="Freeform: Shape 3445">
              <a:extLst>
                <a:ext uri="{FF2B5EF4-FFF2-40B4-BE49-F238E27FC236}">
                  <a16:creationId xmlns:a16="http://schemas.microsoft.com/office/drawing/2014/main" id="{32CA9ACC-4C7C-453B-9C75-A4260A65F658}"/>
                </a:ext>
              </a:extLst>
            </p:cNvPr>
            <p:cNvSpPr/>
            <p:nvPr/>
          </p:nvSpPr>
          <p:spPr>
            <a:xfrm>
              <a:off x="8831132" y="6699946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8" y="148431"/>
                  </a:cubicBezTo>
                  <a:cubicBezTo>
                    <a:pt x="109711" y="148431"/>
                    <a:pt x="96803" y="135525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7" name="Freeform: Shape 3446">
              <a:extLst>
                <a:ext uri="{FF2B5EF4-FFF2-40B4-BE49-F238E27FC236}">
                  <a16:creationId xmlns:a16="http://schemas.microsoft.com/office/drawing/2014/main" id="{B3EB4D55-87C5-4AD9-AED1-EC150614687D}"/>
                </a:ext>
              </a:extLst>
            </p:cNvPr>
            <p:cNvSpPr/>
            <p:nvPr/>
          </p:nvSpPr>
          <p:spPr>
            <a:xfrm>
              <a:off x="9812069" y="7138786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3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1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8" name="Freeform: Shape 3447">
              <a:extLst>
                <a:ext uri="{FF2B5EF4-FFF2-40B4-BE49-F238E27FC236}">
                  <a16:creationId xmlns:a16="http://schemas.microsoft.com/office/drawing/2014/main" id="{0FF81D62-C5E6-4197-A268-977FE099B20F}"/>
                </a:ext>
              </a:extLst>
            </p:cNvPr>
            <p:cNvSpPr/>
            <p:nvPr/>
          </p:nvSpPr>
          <p:spPr>
            <a:xfrm>
              <a:off x="10199281" y="720332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3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1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49" name="Freeform: Shape 3448">
              <a:extLst>
                <a:ext uri="{FF2B5EF4-FFF2-40B4-BE49-F238E27FC236}">
                  <a16:creationId xmlns:a16="http://schemas.microsoft.com/office/drawing/2014/main" id="{74B3EE06-243A-48E8-A380-9A8F427977FC}"/>
                </a:ext>
              </a:extLst>
            </p:cNvPr>
            <p:cNvSpPr/>
            <p:nvPr/>
          </p:nvSpPr>
          <p:spPr>
            <a:xfrm>
              <a:off x="8727876" y="708715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0" name="Freeform: Shape 3449">
              <a:extLst>
                <a:ext uri="{FF2B5EF4-FFF2-40B4-BE49-F238E27FC236}">
                  <a16:creationId xmlns:a16="http://schemas.microsoft.com/office/drawing/2014/main" id="{0AF187EA-054E-43B3-BEFB-2B8D066E0266}"/>
                </a:ext>
              </a:extLst>
            </p:cNvPr>
            <p:cNvSpPr/>
            <p:nvPr/>
          </p:nvSpPr>
          <p:spPr>
            <a:xfrm>
              <a:off x="9037645" y="7926117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1" name="Freeform: Shape 3450">
              <a:extLst>
                <a:ext uri="{FF2B5EF4-FFF2-40B4-BE49-F238E27FC236}">
                  <a16:creationId xmlns:a16="http://schemas.microsoft.com/office/drawing/2014/main" id="{0892C659-BD19-4AD1-8F75-19FB54E6A63D}"/>
                </a:ext>
              </a:extLst>
            </p:cNvPr>
            <p:cNvSpPr/>
            <p:nvPr/>
          </p:nvSpPr>
          <p:spPr>
            <a:xfrm>
              <a:off x="9257065" y="3573003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2" name="Freeform: Shape 3451">
              <a:extLst>
                <a:ext uri="{FF2B5EF4-FFF2-40B4-BE49-F238E27FC236}">
                  <a16:creationId xmlns:a16="http://schemas.microsoft.com/office/drawing/2014/main" id="{0FBBB683-51FF-45F2-9FEB-9C979BDB7984}"/>
                </a:ext>
              </a:extLst>
            </p:cNvPr>
            <p:cNvSpPr/>
            <p:nvPr/>
          </p:nvSpPr>
          <p:spPr>
            <a:xfrm>
              <a:off x="9127994" y="420888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3" name="Freeform: Shape 3452">
              <a:extLst>
                <a:ext uri="{FF2B5EF4-FFF2-40B4-BE49-F238E27FC236}">
                  <a16:creationId xmlns:a16="http://schemas.microsoft.com/office/drawing/2014/main" id="{9092D9D1-BD3E-4EE9-9AB9-FCC1497F1619}"/>
                </a:ext>
              </a:extLst>
            </p:cNvPr>
            <p:cNvSpPr/>
            <p:nvPr/>
          </p:nvSpPr>
          <p:spPr>
            <a:xfrm>
              <a:off x="9876605" y="3818238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0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0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4" name="Freeform: Shape 3453">
              <a:extLst>
                <a:ext uri="{FF2B5EF4-FFF2-40B4-BE49-F238E27FC236}">
                  <a16:creationId xmlns:a16="http://schemas.microsoft.com/office/drawing/2014/main" id="{B3EAB082-269D-4F98-A578-60B67C26CE77}"/>
                </a:ext>
              </a:extLst>
            </p:cNvPr>
            <p:cNvSpPr/>
            <p:nvPr/>
          </p:nvSpPr>
          <p:spPr>
            <a:xfrm>
              <a:off x="11309289" y="4476498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5" name="Freeform: Shape 3454">
              <a:extLst>
                <a:ext uri="{FF2B5EF4-FFF2-40B4-BE49-F238E27FC236}">
                  <a16:creationId xmlns:a16="http://schemas.microsoft.com/office/drawing/2014/main" id="{ACD81C00-94E2-4D9D-BDF5-EBADC096008F}"/>
                </a:ext>
              </a:extLst>
            </p:cNvPr>
            <p:cNvSpPr/>
            <p:nvPr/>
          </p:nvSpPr>
          <p:spPr>
            <a:xfrm>
              <a:off x="10844634" y="445411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6" name="Freeform: Shape 3455">
              <a:extLst>
                <a:ext uri="{FF2B5EF4-FFF2-40B4-BE49-F238E27FC236}">
                  <a16:creationId xmlns:a16="http://schemas.microsoft.com/office/drawing/2014/main" id="{B6DFF85D-E95F-48E8-9724-43C555FD6600}"/>
                </a:ext>
              </a:extLst>
            </p:cNvPr>
            <p:cNvSpPr/>
            <p:nvPr/>
          </p:nvSpPr>
          <p:spPr>
            <a:xfrm>
              <a:off x="9876605" y="431213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7" name="Freeform: Shape 3456">
              <a:extLst>
                <a:ext uri="{FF2B5EF4-FFF2-40B4-BE49-F238E27FC236}">
                  <a16:creationId xmlns:a16="http://schemas.microsoft.com/office/drawing/2014/main" id="{F9D1144B-81C9-496F-BE53-1E13F640ADF7}"/>
                </a:ext>
              </a:extLst>
            </p:cNvPr>
            <p:cNvSpPr/>
            <p:nvPr/>
          </p:nvSpPr>
          <p:spPr>
            <a:xfrm>
              <a:off x="10263817" y="458318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8" name="Freeform: Shape 3457">
              <a:extLst>
                <a:ext uri="{FF2B5EF4-FFF2-40B4-BE49-F238E27FC236}">
                  <a16:creationId xmlns:a16="http://schemas.microsoft.com/office/drawing/2014/main" id="{3597EA21-4AFA-498B-A463-34ABA1BFA9E5}"/>
                </a:ext>
              </a:extLst>
            </p:cNvPr>
            <p:cNvSpPr/>
            <p:nvPr/>
          </p:nvSpPr>
          <p:spPr>
            <a:xfrm>
              <a:off x="10612307" y="530598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4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8" y="148431"/>
                  </a:cubicBezTo>
                  <a:cubicBezTo>
                    <a:pt x="108361" y="148431"/>
                    <a:pt x="96804" y="136874"/>
                    <a:pt x="96804" y="122617"/>
                  </a:cubicBezTo>
                  <a:cubicBezTo>
                    <a:pt x="96804" y="108360"/>
                    <a:pt x="108362" y="96803"/>
                    <a:pt x="122618" y="96803"/>
                  </a:cubicBezTo>
                  <a:cubicBezTo>
                    <a:pt x="136875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59" name="Freeform: Shape 3458">
              <a:extLst>
                <a:ext uri="{FF2B5EF4-FFF2-40B4-BE49-F238E27FC236}">
                  <a16:creationId xmlns:a16="http://schemas.microsoft.com/office/drawing/2014/main" id="{2B42FD76-F432-41A7-AED6-4D9882C30919}"/>
                </a:ext>
              </a:extLst>
            </p:cNvPr>
            <p:cNvSpPr/>
            <p:nvPr/>
          </p:nvSpPr>
          <p:spPr>
            <a:xfrm>
              <a:off x="10225095" y="5238015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0" name="Freeform: Shape 3459">
              <a:extLst>
                <a:ext uri="{FF2B5EF4-FFF2-40B4-BE49-F238E27FC236}">
                  <a16:creationId xmlns:a16="http://schemas.microsoft.com/office/drawing/2014/main" id="{08338EF7-D870-4091-9013-2D26E5878DE1}"/>
                </a:ext>
              </a:extLst>
            </p:cNvPr>
            <p:cNvSpPr/>
            <p:nvPr/>
          </p:nvSpPr>
          <p:spPr>
            <a:xfrm>
              <a:off x="10379979" y="578354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22618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1" name="Freeform: Shape 3460">
              <a:extLst>
                <a:ext uri="{FF2B5EF4-FFF2-40B4-BE49-F238E27FC236}">
                  <a16:creationId xmlns:a16="http://schemas.microsoft.com/office/drawing/2014/main" id="{FF2A4AAE-31FE-4571-90CE-277D7B1971A1}"/>
                </a:ext>
              </a:extLst>
            </p:cNvPr>
            <p:cNvSpPr/>
            <p:nvPr/>
          </p:nvSpPr>
          <p:spPr>
            <a:xfrm>
              <a:off x="10083117" y="659668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22617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2" name="Freeform: Shape 3461">
              <a:extLst>
                <a:ext uri="{FF2B5EF4-FFF2-40B4-BE49-F238E27FC236}">
                  <a16:creationId xmlns:a16="http://schemas.microsoft.com/office/drawing/2014/main" id="{31328891-8951-4627-80DB-F32F501A61DB}"/>
                </a:ext>
              </a:extLst>
            </p:cNvPr>
            <p:cNvSpPr/>
            <p:nvPr/>
          </p:nvSpPr>
          <p:spPr>
            <a:xfrm>
              <a:off x="10509050" y="6735234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2"/>
                    <a:pt x="148431" y="177678"/>
                    <a:pt x="135525" y="177678"/>
                  </a:cubicBezTo>
                  <a:cubicBezTo>
                    <a:pt x="109711" y="177678"/>
                    <a:pt x="96803" y="151864"/>
                    <a:pt x="96803" y="138957"/>
                  </a:cubicBezTo>
                  <a:cubicBezTo>
                    <a:pt x="96803" y="113143"/>
                    <a:pt x="122618" y="100236"/>
                    <a:pt x="135525" y="100236"/>
                  </a:cubicBezTo>
                  <a:cubicBezTo>
                    <a:pt x="161338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3" name="Freeform: Shape 3462">
              <a:extLst>
                <a:ext uri="{FF2B5EF4-FFF2-40B4-BE49-F238E27FC236}">
                  <a16:creationId xmlns:a16="http://schemas.microsoft.com/office/drawing/2014/main" id="{D73486E8-E494-4728-B3EC-C55E21218FC3}"/>
                </a:ext>
              </a:extLst>
            </p:cNvPr>
            <p:cNvSpPr/>
            <p:nvPr/>
          </p:nvSpPr>
          <p:spPr>
            <a:xfrm>
              <a:off x="9721719" y="735820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4" name="Freeform: Shape 3463">
              <a:extLst>
                <a:ext uri="{FF2B5EF4-FFF2-40B4-BE49-F238E27FC236}">
                  <a16:creationId xmlns:a16="http://schemas.microsoft.com/office/drawing/2014/main" id="{A007E794-6064-42D3-B119-8B0490785DAD}"/>
                </a:ext>
              </a:extLst>
            </p:cNvPr>
            <p:cNvSpPr/>
            <p:nvPr/>
          </p:nvSpPr>
          <p:spPr>
            <a:xfrm>
              <a:off x="10328352" y="691936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6"/>
                    <a:pt x="135524" y="174246"/>
                  </a:cubicBezTo>
                  <a:cubicBezTo>
                    <a:pt x="109710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5" name="Freeform: Shape 3464">
              <a:extLst>
                <a:ext uri="{FF2B5EF4-FFF2-40B4-BE49-F238E27FC236}">
                  <a16:creationId xmlns:a16="http://schemas.microsoft.com/office/drawing/2014/main" id="{C7123651-79BF-4637-8F58-382260894AC0}"/>
                </a:ext>
              </a:extLst>
            </p:cNvPr>
            <p:cNvSpPr/>
            <p:nvPr/>
          </p:nvSpPr>
          <p:spPr>
            <a:xfrm>
              <a:off x="10315444" y="7474370"/>
              <a:ext cx="258141" cy="258141"/>
            </a:xfrm>
            <a:custGeom>
              <a:avLst/>
              <a:gdLst>
                <a:gd name="connsiteX0" fmla="*/ 174246 w 258141"/>
                <a:gd name="connsiteY0" fmla="*/ 135525 h 258141"/>
                <a:gd name="connsiteX1" fmla="*/ 135525 w 258141"/>
                <a:gd name="connsiteY1" fmla="*/ 174246 h 258141"/>
                <a:gd name="connsiteX2" fmla="*/ 96803 w 258141"/>
                <a:gd name="connsiteY2" fmla="*/ 135525 h 258141"/>
                <a:gd name="connsiteX3" fmla="*/ 135525 w 258141"/>
                <a:gd name="connsiteY3" fmla="*/ 96803 h 258141"/>
                <a:gd name="connsiteX4" fmla="*/ 174246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5"/>
                  </a:moveTo>
                  <a:cubicBezTo>
                    <a:pt x="174246" y="161338"/>
                    <a:pt x="148431" y="174246"/>
                    <a:pt x="135525" y="174246"/>
                  </a:cubicBezTo>
                  <a:cubicBezTo>
                    <a:pt x="109711" y="174246"/>
                    <a:pt x="96803" y="148431"/>
                    <a:pt x="96803" y="135525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22617"/>
                    <a:pt x="174246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6" name="Freeform: Shape 3465">
              <a:extLst>
                <a:ext uri="{FF2B5EF4-FFF2-40B4-BE49-F238E27FC236}">
                  <a16:creationId xmlns:a16="http://schemas.microsoft.com/office/drawing/2014/main" id="{078FB5EE-B42E-4153-A1DC-15EDA3218F08}"/>
                </a:ext>
              </a:extLst>
            </p:cNvPr>
            <p:cNvSpPr/>
            <p:nvPr/>
          </p:nvSpPr>
          <p:spPr>
            <a:xfrm>
              <a:off x="9102181" y="802937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7" name="Freeform: Shape 3466">
              <a:extLst>
                <a:ext uri="{FF2B5EF4-FFF2-40B4-BE49-F238E27FC236}">
                  <a16:creationId xmlns:a16="http://schemas.microsoft.com/office/drawing/2014/main" id="{47AC20DE-0B6C-4F56-B7DF-73C334296BD8}"/>
                </a:ext>
              </a:extLst>
            </p:cNvPr>
            <p:cNvSpPr/>
            <p:nvPr/>
          </p:nvSpPr>
          <p:spPr>
            <a:xfrm>
              <a:off x="8740783" y="6928840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2"/>
                    <a:pt x="148431" y="177678"/>
                    <a:pt x="135525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8" name="Freeform: Shape 3467">
              <a:extLst>
                <a:ext uri="{FF2B5EF4-FFF2-40B4-BE49-F238E27FC236}">
                  <a16:creationId xmlns:a16="http://schemas.microsoft.com/office/drawing/2014/main" id="{3537B723-ABC8-4AB8-BC9B-6924CA36E13E}"/>
                </a:ext>
              </a:extLst>
            </p:cNvPr>
            <p:cNvSpPr/>
            <p:nvPr/>
          </p:nvSpPr>
          <p:spPr>
            <a:xfrm>
              <a:off x="9476485" y="6248199"/>
              <a:ext cx="258141" cy="258141"/>
            </a:xfrm>
            <a:custGeom>
              <a:avLst/>
              <a:gdLst>
                <a:gd name="connsiteX0" fmla="*/ 174246 w 258141"/>
                <a:gd name="connsiteY0" fmla="*/ 135525 h 258141"/>
                <a:gd name="connsiteX1" fmla="*/ 135525 w 258141"/>
                <a:gd name="connsiteY1" fmla="*/ 174246 h 258141"/>
                <a:gd name="connsiteX2" fmla="*/ 96803 w 258141"/>
                <a:gd name="connsiteY2" fmla="*/ 135525 h 258141"/>
                <a:gd name="connsiteX3" fmla="*/ 135525 w 258141"/>
                <a:gd name="connsiteY3" fmla="*/ 96803 h 258141"/>
                <a:gd name="connsiteX4" fmla="*/ 174246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5"/>
                  </a:moveTo>
                  <a:cubicBezTo>
                    <a:pt x="174246" y="161338"/>
                    <a:pt x="148431" y="174246"/>
                    <a:pt x="135525" y="174246"/>
                  </a:cubicBezTo>
                  <a:cubicBezTo>
                    <a:pt x="122618" y="174246"/>
                    <a:pt x="96803" y="148431"/>
                    <a:pt x="96803" y="135525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69" name="Freeform: Shape 3468">
              <a:extLst>
                <a:ext uri="{FF2B5EF4-FFF2-40B4-BE49-F238E27FC236}">
                  <a16:creationId xmlns:a16="http://schemas.microsoft.com/office/drawing/2014/main" id="{F7771494-AB4D-4E7E-B662-7E9A6043AC9F}"/>
                </a:ext>
              </a:extLst>
            </p:cNvPr>
            <p:cNvSpPr/>
            <p:nvPr/>
          </p:nvSpPr>
          <p:spPr>
            <a:xfrm>
              <a:off x="9812069" y="4915338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0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0" name="Freeform: Shape 3469">
              <a:extLst>
                <a:ext uri="{FF2B5EF4-FFF2-40B4-BE49-F238E27FC236}">
                  <a16:creationId xmlns:a16="http://schemas.microsoft.com/office/drawing/2014/main" id="{A6C5B307-320E-4058-BB76-E9419828D77B}"/>
                </a:ext>
              </a:extLst>
            </p:cNvPr>
            <p:cNvSpPr/>
            <p:nvPr/>
          </p:nvSpPr>
          <p:spPr>
            <a:xfrm>
              <a:off x="9812069" y="459609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1" name="Freeform: Shape 3470">
              <a:extLst>
                <a:ext uri="{FF2B5EF4-FFF2-40B4-BE49-F238E27FC236}">
                  <a16:creationId xmlns:a16="http://schemas.microsoft.com/office/drawing/2014/main" id="{4896299B-B88C-4E08-A699-71288E5EAAC5}"/>
                </a:ext>
              </a:extLst>
            </p:cNvPr>
            <p:cNvSpPr/>
            <p:nvPr/>
          </p:nvSpPr>
          <p:spPr>
            <a:xfrm>
              <a:off x="10444515" y="4360334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9"/>
                    <a:pt x="135525" y="177679"/>
                  </a:cubicBezTo>
                  <a:cubicBezTo>
                    <a:pt x="109711" y="177679"/>
                    <a:pt x="96803" y="151864"/>
                    <a:pt x="96803" y="138957"/>
                  </a:cubicBezTo>
                  <a:cubicBezTo>
                    <a:pt x="96803" y="113143"/>
                    <a:pt x="122618" y="100236"/>
                    <a:pt x="135525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2" name="Freeform: Shape 3471">
              <a:extLst>
                <a:ext uri="{FF2B5EF4-FFF2-40B4-BE49-F238E27FC236}">
                  <a16:creationId xmlns:a16="http://schemas.microsoft.com/office/drawing/2014/main" id="{26E53745-7457-49F0-8757-E6E6D5649F20}"/>
                </a:ext>
              </a:extLst>
            </p:cNvPr>
            <p:cNvSpPr/>
            <p:nvPr/>
          </p:nvSpPr>
          <p:spPr>
            <a:xfrm>
              <a:off x="9076366" y="349556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5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8" y="100236"/>
                    <a:pt x="135525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3" name="Freeform: Shape 3472">
              <a:extLst>
                <a:ext uri="{FF2B5EF4-FFF2-40B4-BE49-F238E27FC236}">
                  <a16:creationId xmlns:a16="http://schemas.microsoft.com/office/drawing/2014/main" id="{20BCF298-70DD-46B5-892F-CFF5CF2DEEE9}"/>
                </a:ext>
              </a:extLst>
            </p:cNvPr>
            <p:cNvSpPr/>
            <p:nvPr/>
          </p:nvSpPr>
          <p:spPr>
            <a:xfrm>
              <a:off x="8366477" y="3831145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4" name="Freeform: Shape 3473">
              <a:extLst>
                <a:ext uri="{FF2B5EF4-FFF2-40B4-BE49-F238E27FC236}">
                  <a16:creationId xmlns:a16="http://schemas.microsoft.com/office/drawing/2014/main" id="{717AF08E-7C24-415E-ADE4-81C9C193DC40}"/>
                </a:ext>
              </a:extLst>
            </p:cNvPr>
            <p:cNvSpPr/>
            <p:nvPr/>
          </p:nvSpPr>
          <p:spPr>
            <a:xfrm>
              <a:off x="7501704" y="4437777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5" name="Freeform: Shape 3474">
              <a:extLst>
                <a:ext uri="{FF2B5EF4-FFF2-40B4-BE49-F238E27FC236}">
                  <a16:creationId xmlns:a16="http://schemas.microsoft.com/office/drawing/2014/main" id="{A239FC17-DECB-4825-A4A4-8D872D4F872D}"/>
                </a:ext>
              </a:extLst>
            </p:cNvPr>
            <p:cNvSpPr/>
            <p:nvPr/>
          </p:nvSpPr>
          <p:spPr>
            <a:xfrm>
              <a:off x="7450076" y="497039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6" name="Freeform: Shape 3475">
              <a:extLst>
                <a:ext uri="{FF2B5EF4-FFF2-40B4-BE49-F238E27FC236}">
                  <a16:creationId xmlns:a16="http://schemas.microsoft.com/office/drawing/2014/main" id="{FB8D995E-35B6-45DB-A1A9-62EBF82E67F6}"/>
                </a:ext>
              </a:extLst>
            </p:cNvPr>
            <p:cNvSpPr/>
            <p:nvPr/>
          </p:nvSpPr>
          <p:spPr>
            <a:xfrm>
              <a:off x="9153808" y="4066905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7" name="Freeform: Shape 3476">
              <a:extLst>
                <a:ext uri="{FF2B5EF4-FFF2-40B4-BE49-F238E27FC236}">
                  <a16:creationId xmlns:a16="http://schemas.microsoft.com/office/drawing/2014/main" id="{C4B454F1-1972-4D91-AEC9-05A3D4FEBDCC}"/>
                </a:ext>
              </a:extLst>
            </p:cNvPr>
            <p:cNvSpPr/>
            <p:nvPr/>
          </p:nvSpPr>
          <p:spPr>
            <a:xfrm>
              <a:off x="8895667" y="415725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8" name="Freeform: Shape 3477">
              <a:extLst>
                <a:ext uri="{FF2B5EF4-FFF2-40B4-BE49-F238E27FC236}">
                  <a16:creationId xmlns:a16="http://schemas.microsoft.com/office/drawing/2014/main" id="{66323009-8586-41E0-BBA9-5F0E9148D4DE}"/>
                </a:ext>
              </a:extLst>
            </p:cNvPr>
            <p:cNvSpPr/>
            <p:nvPr/>
          </p:nvSpPr>
          <p:spPr>
            <a:xfrm>
              <a:off x="8547177" y="4734639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79" name="Freeform: Shape 3478">
              <a:extLst>
                <a:ext uri="{FF2B5EF4-FFF2-40B4-BE49-F238E27FC236}">
                  <a16:creationId xmlns:a16="http://schemas.microsoft.com/office/drawing/2014/main" id="{25E03D26-5745-4287-9C87-C262839D159B}"/>
                </a:ext>
              </a:extLst>
            </p:cNvPr>
            <p:cNvSpPr/>
            <p:nvPr/>
          </p:nvSpPr>
          <p:spPr>
            <a:xfrm>
              <a:off x="9670091" y="4170161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0" name="Freeform: Shape 3479">
              <a:extLst>
                <a:ext uri="{FF2B5EF4-FFF2-40B4-BE49-F238E27FC236}">
                  <a16:creationId xmlns:a16="http://schemas.microsoft.com/office/drawing/2014/main" id="{E9EBE418-12EB-4342-BD7E-335DF6E91B00}"/>
                </a:ext>
              </a:extLst>
            </p:cNvPr>
            <p:cNvSpPr/>
            <p:nvPr/>
          </p:nvSpPr>
          <p:spPr>
            <a:xfrm>
              <a:off x="7772753" y="277619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1" name="Freeform: Shape 3480">
              <a:extLst>
                <a:ext uri="{FF2B5EF4-FFF2-40B4-BE49-F238E27FC236}">
                  <a16:creationId xmlns:a16="http://schemas.microsoft.com/office/drawing/2014/main" id="{EDC7F110-0681-414A-909C-48CB2098049A}"/>
                </a:ext>
              </a:extLst>
            </p:cNvPr>
            <p:cNvSpPr/>
            <p:nvPr/>
          </p:nvSpPr>
          <p:spPr>
            <a:xfrm>
              <a:off x="7940544" y="3034340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2" name="Freeform: Shape 3481">
              <a:extLst>
                <a:ext uri="{FF2B5EF4-FFF2-40B4-BE49-F238E27FC236}">
                  <a16:creationId xmlns:a16="http://schemas.microsoft.com/office/drawing/2014/main" id="{72D4A0CA-7D4A-48E0-AC47-461D0EA04B52}"/>
                </a:ext>
              </a:extLst>
            </p:cNvPr>
            <p:cNvSpPr/>
            <p:nvPr/>
          </p:nvSpPr>
          <p:spPr>
            <a:xfrm>
              <a:off x="7863102" y="291817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3" name="Freeform: Shape 3482">
              <a:extLst>
                <a:ext uri="{FF2B5EF4-FFF2-40B4-BE49-F238E27FC236}">
                  <a16:creationId xmlns:a16="http://schemas.microsoft.com/office/drawing/2014/main" id="{30DB8570-BB6B-4D58-9A0B-63CDF6C776A2}"/>
                </a:ext>
              </a:extLst>
            </p:cNvPr>
            <p:cNvSpPr/>
            <p:nvPr/>
          </p:nvSpPr>
          <p:spPr>
            <a:xfrm>
              <a:off x="8005080" y="311178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48431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109710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4" name="Freeform: Shape 3483">
              <a:extLst>
                <a:ext uri="{FF2B5EF4-FFF2-40B4-BE49-F238E27FC236}">
                  <a16:creationId xmlns:a16="http://schemas.microsoft.com/office/drawing/2014/main" id="{F654CA08-B4B6-4DAA-9375-86631FCC24F1}"/>
                </a:ext>
              </a:extLst>
            </p:cNvPr>
            <p:cNvSpPr/>
            <p:nvPr/>
          </p:nvSpPr>
          <p:spPr>
            <a:xfrm>
              <a:off x="7876009" y="3847485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48431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5" name="Freeform: Shape 3484">
              <a:extLst>
                <a:ext uri="{FF2B5EF4-FFF2-40B4-BE49-F238E27FC236}">
                  <a16:creationId xmlns:a16="http://schemas.microsoft.com/office/drawing/2014/main" id="{9B95E5B8-86C0-4202-B8D2-8B6B78B0BFFA}"/>
                </a:ext>
              </a:extLst>
            </p:cNvPr>
            <p:cNvSpPr/>
            <p:nvPr/>
          </p:nvSpPr>
          <p:spPr>
            <a:xfrm>
              <a:off x="7695310" y="294399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6" name="Freeform: Shape 3485">
              <a:extLst>
                <a:ext uri="{FF2B5EF4-FFF2-40B4-BE49-F238E27FC236}">
                  <a16:creationId xmlns:a16="http://schemas.microsoft.com/office/drawing/2014/main" id="{156E23EA-2EEC-4D93-B243-59C1E951A992}"/>
                </a:ext>
              </a:extLst>
            </p:cNvPr>
            <p:cNvSpPr/>
            <p:nvPr/>
          </p:nvSpPr>
          <p:spPr>
            <a:xfrm>
              <a:off x="8121243" y="271166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7" name="Freeform: Shape 3486">
              <a:extLst>
                <a:ext uri="{FF2B5EF4-FFF2-40B4-BE49-F238E27FC236}">
                  <a16:creationId xmlns:a16="http://schemas.microsoft.com/office/drawing/2014/main" id="{8447797C-883B-4E3B-8D64-6BD83F89741D}"/>
                </a:ext>
              </a:extLst>
            </p:cNvPr>
            <p:cNvSpPr/>
            <p:nvPr/>
          </p:nvSpPr>
          <p:spPr>
            <a:xfrm>
              <a:off x="8418106" y="233735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8" name="Freeform: Shape 3487">
              <a:extLst>
                <a:ext uri="{FF2B5EF4-FFF2-40B4-BE49-F238E27FC236}">
                  <a16:creationId xmlns:a16="http://schemas.microsoft.com/office/drawing/2014/main" id="{DE814DD8-B744-435A-8B05-6C889BF25554}"/>
                </a:ext>
              </a:extLst>
            </p:cNvPr>
            <p:cNvSpPr/>
            <p:nvPr/>
          </p:nvSpPr>
          <p:spPr>
            <a:xfrm>
              <a:off x="9102181" y="224700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48430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89" name="Freeform: Shape 3488">
              <a:extLst>
                <a:ext uri="{FF2B5EF4-FFF2-40B4-BE49-F238E27FC236}">
                  <a16:creationId xmlns:a16="http://schemas.microsoft.com/office/drawing/2014/main" id="{C8A69659-868C-4D94-B68C-650274CC4674}"/>
                </a:ext>
              </a:extLst>
            </p:cNvPr>
            <p:cNvSpPr/>
            <p:nvPr/>
          </p:nvSpPr>
          <p:spPr>
            <a:xfrm>
              <a:off x="10096024" y="2066310"/>
              <a:ext cx="258141" cy="258141"/>
            </a:xfrm>
            <a:custGeom>
              <a:avLst/>
              <a:gdLst>
                <a:gd name="connsiteX0" fmla="*/ 161338 w 258141"/>
                <a:gd name="connsiteY0" fmla="*/ 135524 h 258141"/>
                <a:gd name="connsiteX1" fmla="*/ 122617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61338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61338" y="135524"/>
                  </a:moveTo>
                  <a:cubicBezTo>
                    <a:pt x="161338" y="161338"/>
                    <a:pt x="148431" y="174245"/>
                    <a:pt x="122617" y="174245"/>
                  </a:cubicBezTo>
                  <a:cubicBezTo>
                    <a:pt x="96803" y="174245"/>
                    <a:pt x="96803" y="148431"/>
                    <a:pt x="96803" y="135524"/>
                  </a:cubicBezTo>
                  <a:cubicBezTo>
                    <a:pt x="96803" y="122617"/>
                    <a:pt x="109710" y="96803"/>
                    <a:pt x="135525" y="96803"/>
                  </a:cubicBezTo>
                  <a:cubicBezTo>
                    <a:pt x="161338" y="96803"/>
                    <a:pt x="161338" y="109710"/>
                    <a:pt x="161338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0" name="Freeform: Shape 3489">
              <a:extLst>
                <a:ext uri="{FF2B5EF4-FFF2-40B4-BE49-F238E27FC236}">
                  <a16:creationId xmlns:a16="http://schemas.microsoft.com/office/drawing/2014/main" id="{7B9D8C58-F0D2-4BF0-9FC2-55BDA73055F4}"/>
                </a:ext>
              </a:extLst>
            </p:cNvPr>
            <p:cNvSpPr/>
            <p:nvPr/>
          </p:nvSpPr>
          <p:spPr>
            <a:xfrm>
              <a:off x="11825571" y="330538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1" name="Freeform: Shape 3490">
              <a:extLst>
                <a:ext uri="{FF2B5EF4-FFF2-40B4-BE49-F238E27FC236}">
                  <a16:creationId xmlns:a16="http://schemas.microsoft.com/office/drawing/2014/main" id="{C8378675-ECEF-4749-BF1C-E9782F9000EF}"/>
                </a:ext>
              </a:extLst>
            </p:cNvPr>
            <p:cNvSpPr/>
            <p:nvPr/>
          </p:nvSpPr>
          <p:spPr>
            <a:xfrm>
              <a:off x="11025333" y="1859797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5" y="174245"/>
                  </a:cubicBezTo>
                  <a:cubicBezTo>
                    <a:pt x="109711" y="174245"/>
                    <a:pt x="96803" y="161338"/>
                    <a:pt x="96803" y="135524"/>
                  </a:cubicBezTo>
                  <a:cubicBezTo>
                    <a:pt x="96803" y="109710"/>
                    <a:pt x="109711" y="96803"/>
                    <a:pt x="135525" y="96803"/>
                  </a:cubicBezTo>
                  <a:cubicBezTo>
                    <a:pt x="161338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2" name="Freeform: Shape 3491">
              <a:extLst>
                <a:ext uri="{FF2B5EF4-FFF2-40B4-BE49-F238E27FC236}">
                  <a16:creationId xmlns:a16="http://schemas.microsoft.com/office/drawing/2014/main" id="{246F9FE6-76E6-496E-ABCA-2ED711F45D8C}"/>
                </a:ext>
              </a:extLst>
            </p:cNvPr>
            <p:cNvSpPr/>
            <p:nvPr/>
          </p:nvSpPr>
          <p:spPr>
            <a:xfrm>
              <a:off x="11735221" y="1769447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48431"/>
                    <a:pt x="161338" y="174245"/>
                    <a:pt x="135525" y="174245"/>
                  </a:cubicBezTo>
                  <a:cubicBezTo>
                    <a:pt x="109711" y="174245"/>
                    <a:pt x="96803" y="161338"/>
                    <a:pt x="96803" y="135524"/>
                  </a:cubicBezTo>
                  <a:cubicBezTo>
                    <a:pt x="96803" y="122617"/>
                    <a:pt x="109711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3" name="Freeform: Shape 3492">
              <a:extLst>
                <a:ext uri="{FF2B5EF4-FFF2-40B4-BE49-F238E27FC236}">
                  <a16:creationId xmlns:a16="http://schemas.microsoft.com/office/drawing/2014/main" id="{AE9A0473-610A-4F1B-A698-1C82085E4DE4}"/>
                </a:ext>
              </a:extLst>
            </p:cNvPr>
            <p:cNvSpPr/>
            <p:nvPr/>
          </p:nvSpPr>
          <p:spPr>
            <a:xfrm>
              <a:off x="12509645" y="134351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5" y="174245"/>
                  </a:cubicBezTo>
                  <a:cubicBezTo>
                    <a:pt x="122618" y="174245"/>
                    <a:pt x="96803" y="161338"/>
                    <a:pt x="96803" y="135524"/>
                  </a:cubicBezTo>
                  <a:cubicBezTo>
                    <a:pt x="96803" y="122617"/>
                    <a:pt x="109711" y="96803"/>
                    <a:pt x="135525" y="96803"/>
                  </a:cubicBezTo>
                  <a:cubicBezTo>
                    <a:pt x="148431" y="109710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4" name="Freeform: Shape 3493">
              <a:extLst>
                <a:ext uri="{FF2B5EF4-FFF2-40B4-BE49-F238E27FC236}">
                  <a16:creationId xmlns:a16="http://schemas.microsoft.com/office/drawing/2014/main" id="{8155813A-9BD7-4E85-B9CF-7519564CD6AB}"/>
                </a:ext>
              </a:extLst>
            </p:cNvPr>
            <p:cNvSpPr/>
            <p:nvPr/>
          </p:nvSpPr>
          <p:spPr>
            <a:xfrm>
              <a:off x="12548367" y="124025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5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5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5" name="Freeform: Shape 3494">
              <a:extLst>
                <a:ext uri="{FF2B5EF4-FFF2-40B4-BE49-F238E27FC236}">
                  <a16:creationId xmlns:a16="http://schemas.microsoft.com/office/drawing/2014/main" id="{1B67723E-411B-461B-BEFD-8C3084C3AD6F}"/>
                </a:ext>
              </a:extLst>
            </p:cNvPr>
            <p:cNvSpPr/>
            <p:nvPr/>
          </p:nvSpPr>
          <p:spPr>
            <a:xfrm>
              <a:off x="12883950" y="1286540"/>
              <a:ext cx="129071" cy="129071"/>
            </a:xfrm>
            <a:custGeom>
              <a:avLst/>
              <a:gdLst>
                <a:gd name="connsiteX0" fmla="*/ 122618 w 129070"/>
                <a:gd name="connsiteY0" fmla="*/ 115056 h 129070"/>
                <a:gd name="connsiteX1" fmla="*/ 109710 w 129070"/>
                <a:gd name="connsiteY1" fmla="*/ 127963 h 129070"/>
                <a:gd name="connsiteX2" fmla="*/ 96803 w 129070"/>
                <a:gd name="connsiteY2" fmla="*/ 115056 h 129070"/>
                <a:gd name="connsiteX3" fmla="*/ 109710 w 129070"/>
                <a:gd name="connsiteY3" fmla="*/ 102149 h 129070"/>
                <a:gd name="connsiteX4" fmla="*/ 122618 w 129070"/>
                <a:gd name="connsiteY4" fmla="*/ 115056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22618" y="115056"/>
                  </a:moveTo>
                  <a:cubicBezTo>
                    <a:pt x="122618" y="127963"/>
                    <a:pt x="109710" y="127963"/>
                    <a:pt x="109710" y="127963"/>
                  </a:cubicBezTo>
                  <a:cubicBezTo>
                    <a:pt x="96803" y="127963"/>
                    <a:pt x="96803" y="115056"/>
                    <a:pt x="96803" y="115056"/>
                  </a:cubicBezTo>
                  <a:cubicBezTo>
                    <a:pt x="96803" y="102149"/>
                    <a:pt x="109710" y="102149"/>
                    <a:pt x="109710" y="102149"/>
                  </a:cubicBezTo>
                  <a:cubicBezTo>
                    <a:pt x="109710" y="89242"/>
                    <a:pt x="122618" y="102149"/>
                    <a:pt x="122618" y="11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6" name="Freeform: Shape 3495">
              <a:extLst>
                <a:ext uri="{FF2B5EF4-FFF2-40B4-BE49-F238E27FC236}">
                  <a16:creationId xmlns:a16="http://schemas.microsoft.com/office/drawing/2014/main" id="{643884F0-5A44-4AC9-BE36-94ABB0AA7B7A}"/>
                </a:ext>
              </a:extLst>
            </p:cNvPr>
            <p:cNvSpPr/>
            <p:nvPr/>
          </p:nvSpPr>
          <p:spPr>
            <a:xfrm>
              <a:off x="13090463" y="1395143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5" y="174245"/>
                  </a:cubicBezTo>
                  <a:cubicBezTo>
                    <a:pt x="122618" y="174245"/>
                    <a:pt x="96803" y="161338"/>
                    <a:pt x="96803" y="135524"/>
                  </a:cubicBezTo>
                  <a:cubicBezTo>
                    <a:pt x="96803" y="122617"/>
                    <a:pt x="109711" y="96803"/>
                    <a:pt x="135525" y="96803"/>
                  </a:cubicBezTo>
                  <a:cubicBezTo>
                    <a:pt x="161338" y="109710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7" name="Freeform: Shape 3496">
              <a:extLst>
                <a:ext uri="{FF2B5EF4-FFF2-40B4-BE49-F238E27FC236}">
                  <a16:creationId xmlns:a16="http://schemas.microsoft.com/office/drawing/2014/main" id="{BA9DDD7C-6A3A-480E-952C-A87D3AC8C3BD}"/>
                </a:ext>
              </a:extLst>
            </p:cNvPr>
            <p:cNvSpPr/>
            <p:nvPr/>
          </p:nvSpPr>
          <p:spPr>
            <a:xfrm>
              <a:off x="14110121" y="166619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109710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8" name="Freeform: Shape 3497">
              <a:extLst>
                <a:ext uri="{FF2B5EF4-FFF2-40B4-BE49-F238E27FC236}">
                  <a16:creationId xmlns:a16="http://schemas.microsoft.com/office/drawing/2014/main" id="{78B27DDA-2DC5-413B-B059-C47475321762}"/>
                </a:ext>
              </a:extLst>
            </p:cNvPr>
            <p:cNvSpPr/>
            <p:nvPr/>
          </p:nvSpPr>
          <p:spPr>
            <a:xfrm>
              <a:off x="10689749" y="164037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5" y="174245"/>
                  </a:cubicBezTo>
                  <a:cubicBezTo>
                    <a:pt x="122618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99" name="Freeform: Shape 3498">
              <a:extLst>
                <a:ext uri="{FF2B5EF4-FFF2-40B4-BE49-F238E27FC236}">
                  <a16:creationId xmlns:a16="http://schemas.microsoft.com/office/drawing/2014/main" id="{5C54C620-CF96-4B80-B895-D4427B029449}"/>
                </a:ext>
              </a:extLst>
            </p:cNvPr>
            <p:cNvSpPr/>
            <p:nvPr/>
          </p:nvSpPr>
          <p:spPr>
            <a:xfrm>
              <a:off x="11373824" y="174363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0" name="Freeform: Shape 3499">
              <a:extLst>
                <a:ext uri="{FF2B5EF4-FFF2-40B4-BE49-F238E27FC236}">
                  <a16:creationId xmlns:a16="http://schemas.microsoft.com/office/drawing/2014/main" id="{A9683981-358D-408C-85CC-E2075975A7A9}"/>
                </a:ext>
              </a:extLst>
            </p:cNvPr>
            <p:cNvSpPr/>
            <p:nvPr/>
          </p:nvSpPr>
          <p:spPr>
            <a:xfrm>
              <a:off x="10651029" y="184689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1" name="Freeform: Shape 3500">
              <a:extLst>
                <a:ext uri="{FF2B5EF4-FFF2-40B4-BE49-F238E27FC236}">
                  <a16:creationId xmlns:a16="http://schemas.microsoft.com/office/drawing/2014/main" id="{6427F16E-FC18-445C-B3EF-A70FBFA5A254}"/>
                </a:ext>
              </a:extLst>
            </p:cNvPr>
            <p:cNvSpPr/>
            <p:nvPr/>
          </p:nvSpPr>
          <p:spPr>
            <a:xfrm>
              <a:off x="8727876" y="281492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2" name="Freeform: Shape 3501">
              <a:extLst>
                <a:ext uri="{FF2B5EF4-FFF2-40B4-BE49-F238E27FC236}">
                  <a16:creationId xmlns:a16="http://schemas.microsoft.com/office/drawing/2014/main" id="{864538F7-5068-493F-9988-48EB5AB33A08}"/>
                </a:ext>
              </a:extLst>
            </p:cNvPr>
            <p:cNvSpPr/>
            <p:nvPr/>
          </p:nvSpPr>
          <p:spPr>
            <a:xfrm>
              <a:off x="8908575" y="2660035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3" name="Freeform: Shape 3502">
              <a:extLst>
                <a:ext uri="{FF2B5EF4-FFF2-40B4-BE49-F238E27FC236}">
                  <a16:creationId xmlns:a16="http://schemas.microsoft.com/office/drawing/2014/main" id="{64CBEA92-ECC7-44CC-B9D9-F7A241CC5A2A}"/>
                </a:ext>
              </a:extLst>
            </p:cNvPr>
            <p:cNvSpPr/>
            <p:nvPr/>
          </p:nvSpPr>
          <p:spPr>
            <a:xfrm>
              <a:off x="9127994" y="277619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5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5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4" name="Freeform: Shape 3503">
              <a:extLst>
                <a:ext uri="{FF2B5EF4-FFF2-40B4-BE49-F238E27FC236}">
                  <a16:creationId xmlns:a16="http://schemas.microsoft.com/office/drawing/2014/main" id="{1FF5C5E8-8E8D-46BE-A048-9F4373C2B1EE}"/>
                </a:ext>
              </a:extLst>
            </p:cNvPr>
            <p:cNvSpPr/>
            <p:nvPr/>
          </p:nvSpPr>
          <p:spPr>
            <a:xfrm>
              <a:off x="9282879" y="2505150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48431"/>
                    <a:pt x="161338" y="174245"/>
                    <a:pt x="135525" y="174245"/>
                  </a:cubicBezTo>
                  <a:cubicBezTo>
                    <a:pt x="122618" y="174245"/>
                    <a:pt x="96803" y="161338"/>
                    <a:pt x="96803" y="135524"/>
                  </a:cubicBezTo>
                  <a:cubicBezTo>
                    <a:pt x="96803" y="122617"/>
                    <a:pt x="109711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5" name="Freeform: Shape 3504">
              <a:extLst>
                <a:ext uri="{FF2B5EF4-FFF2-40B4-BE49-F238E27FC236}">
                  <a16:creationId xmlns:a16="http://schemas.microsoft.com/office/drawing/2014/main" id="{9CF6CC33-EBB1-42DE-A438-F1D33BC13804}"/>
                </a:ext>
              </a:extLst>
            </p:cNvPr>
            <p:cNvSpPr/>
            <p:nvPr/>
          </p:nvSpPr>
          <p:spPr>
            <a:xfrm>
              <a:off x="7837288" y="275038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6" name="Freeform: Shape 3505">
              <a:extLst>
                <a:ext uri="{FF2B5EF4-FFF2-40B4-BE49-F238E27FC236}">
                  <a16:creationId xmlns:a16="http://schemas.microsoft.com/office/drawing/2014/main" id="{CE8B53FE-5897-439A-898E-292E64A07EEC}"/>
                </a:ext>
              </a:extLst>
            </p:cNvPr>
            <p:cNvSpPr/>
            <p:nvPr/>
          </p:nvSpPr>
          <p:spPr>
            <a:xfrm>
              <a:off x="7927638" y="277619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7" name="Freeform: Shape 3506">
              <a:extLst>
                <a:ext uri="{FF2B5EF4-FFF2-40B4-BE49-F238E27FC236}">
                  <a16:creationId xmlns:a16="http://schemas.microsoft.com/office/drawing/2014/main" id="{AB9DC1AD-CA1C-488A-A32A-E7F7C6C0E796}"/>
                </a:ext>
              </a:extLst>
            </p:cNvPr>
            <p:cNvSpPr/>
            <p:nvPr/>
          </p:nvSpPr>
          <p:spPr>
            <a:xfrm>
              <a:off x="8134150" y="327957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8" name="Freeform: Shape 3507">
              <a:extLst>
                <a:ext uri="{FF2B5EF4-FFF2-40B4-BE49-F238E27FC236}">
                  <a16:creationId xmlns:a16="http://schemas.microsoft.com/office/drawing/2014/main" id="{65010C94-79F7-4674-8CC8-B7284DBE9EE1}"/>
                </a:ext>
              </a:extLst>
            </p:cNvPr>
            <p:cNvSpPr/>
            <p:nvPr/>
          </p:nvSpPr>
          <p:spPr>
            <a:xfrm>
              <a:off x="8960202" y="373132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109710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09" name="Freeform: Shape 3508">
              <a:extLst>
                <a:ext uri="{FF2B5EF4-FFF2-40B4-BE49-F238E27FC236}">
                  <a16:creationId xmlns:a16="http://schemas.microsoft.com/office/drawing/2014/main" id="{58F0E992-4F2C-42CB-8E10-F17734B7D54F}"/>
                </a:ext>
              </a:extLst>
            </p:cNvPr>
            <p:cNvSpPr/>
            <p:nvPr/>
          </p:nvSpPr>
          <p:spPr>
            <a:xfrm>
              <a:off x="8702061" y="392492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0" name="Freeform: Shape 3509">
              <a:extLst>
                <a:ext uri="{FF2B5EF4-FFF2-40B4-BE49-F238E27FC236}">
                  <a16:creationId xmlns:a16="http://schemas.microsoft.com/office/drawing/2014/main" id="{68F56CB7-8DC0-4070-9C4A-18F7C090D2E9}"/>
                </a:ext>
              </a:extLst>
            </p:cNvPr>
            <p:cNvSpPr/>
            <p:nvPr/>
          </p:nvSpPr>
          <p:spPr>
            <a:xfrm>
              <a:off x="8624619" y="380876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1" name="Freeform: Shape 3510">
              <a:extLst>
                <a:ext uri="{FF2B5EF4-FFF2-40B4-BE49-F238E27FC236}">
                  <a16:creationId xmlns:a16="http://schemas.microsoft.com/office/drawing/2014/main" id="{97D4687C-A42E-471F-A734-FC6AAF905CD6}"/>
                </a:ext>
              </a:extLst>
            </p:cNvPr>
            <p:cNvSpPr/>
            <p:nvPr/>
          </p:nvSpPr>
          <p:spPr>
            <a:xfrm>
              <a:off x="8663340" y="4041091"/>
              <a:ext cx="129071" cy="129071"/>
            </a:xfrm>
            <a:custGeom>
              <a:avLst/>
              <a:gdLst>
                <a:gd name="connsiteX0" fmla="*/ 148431 w 129070"/>
                <a:gd name="connsiteY0" fmla="*/ 109710 h 129070"/>
                <a:gd name="connsiteX1" fmla="*/ 122617 w 129070"/>
                <a:gd name="connsiteY1" fmla="*/ 135524 h 129070"/>
                <a:gd name="connsiteX2" fmla="*/ 96803 w 129070"/>
                <a:gd name="connsiteY2" fmla="*/ 109710 h 129070"/>
                <a:gd name="connsiteX3" fmla="*/ 122617 w 129070"/>
                <a:gd name="connsiteY3" fmla="*/ 96803 h 129070"/>
                <a:gd name="connsiteX4" fmla="*/ 148431 w 129070"/>
                <a:gd name="connsiteY4" fmla="*/ 109710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09710"/>
                  </a:moveTo>
                  <a:cubicBezTo>
                    <a:pt x="148431" y="122617"/>
                    <a:pt x="135524" y="135524"/>
                    <a:pt x="122617" y="135524"/>
                  </a:cubicBezTo>
                  <a:cubicBezTo>
                    <a:pt x="109710" y="135524"/>
                    <a:pt x="96803" y="122617"/>
                    <a:pt x="96803" y="109710"/>
                  </a:cubicBezTo>
                  <a:cubicBezTo>
                    <a:pt x="96803" y="96803"/>
                    <a:pt x="109710" y="96803"/>
                    <a:pt x="122617" y="96803"/>
                  </a:cubicBezTo>
                  <a:cubicBezTo>
                    <a:pt x="135524" y="96803"/>
                    <a:pt x="148431" y="96803"/>
                    <a:pt x="148431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2" name="Freeform: Shape 3511">
              <a:extLst>
                <a:ext uri="{FF2B5EF4-FFF2-40B4-BE49-F238E27FC236}">
                  <a16:creationId xmlns:a16="http://schemas.microsoft.com/office/drawing/2014/main" id="{745639C7-F2D9-4401-9D23-9EB1F20C6063}"/>
                </a:ext>
              </a:extLst>
            </p:cNvPr>
            <p:cNvSpPr/>
            <p:nvPr/>
          </p:nvSpPr>
          <p:spPr>
            <a:xfrm>
              <a:off x="9153808" y="373132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109710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3" name="Freeform: Shape 3512">
              <a:extLst>
                <a:ext uri="{FF2B5EF4-FFF2-40B4-BE49-F238E27FC236}">
                  <a16:creationId xmlns:a16="http://schemas.microsoft.com/office/drawing/2014/main" id="{D7DCA6FD-81EF-48FE-A628-788206C218FD}"/>
                </a:ext>
              </a:extLst>
            </p:cNvPr>
            <p:cNvSpPr/>
            <p:nvPr/>
          </p:nvSpPr>
          <p:spPr>
            <a:xfrm>
              <a:off x="9424857" y="3589344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4" name="Freeform: Shape 3513">
              <a:extLst>
                <a:ext uri="{FF2B5EF4-FFF2-40B4-BE49-F238E27FC236}">
                  <a16:creationId xmlns:a16="http://schemas.microsoft.com/office/drawing/2014/main" id="{7BA252DF-8B55-4318-8F23-E3F19174CBC1}"/>
                </a:ext>
              </a:extLst>
            </p:cNvPr>
            <p:cNvSpPr/>
            <p:nvPr/>
          </p:nvSpPr>
          <p:spPr>
            <a:xfrm>
              <a:off x="9812069" y="4144347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5" name="Freeform: Shape 3514">
              <a:extLst>
                <a:ext uri="{FF2B5EF4-FFF2-40B4-BE49-F238E27FC236}">
                  <a16:creationId xmlns:a16="http://schemas.microsoft.com/office/drawing/2014/main" id="{05B4E485-7129-47E4-9BEC-DF230DE185F4}"/>
                </a:ext>
              </a:extLst>
            </p:cNvPr>
            <p:cNvSpPr/>
            <p:nvPr/>
          </p:nvSpPr>
          <p:spPr>
            <a:xfrm>
              <a:off x="9295787" y="3847485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0" y="109710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6" name="Freeform: Shape 3515">
              <a:extLst>
                <a:ext uri="{FF2B5EF4-FFF2-40B4-BE49-F238E27FC236}">
                  <a16:creationId xmlns:a16="http://schemas.microsoft.com/office/drawing/2014/main" id="{739DEAE4-A911-41CF-90EC-C9DC3682CCE7}"/>
                </a:ext>
              </a:extLst>
            </p:cNvPr>
            <p:cNvSpPr/>
            <p:nvPr/>
          </p:nvSpPr>
          <p:spPr>
            <a:xfrm>
              <a:off x="9476485" y="380876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7" name="Freeform: Shape 3516">
              <a:extLst>
                <a:ext uri="{FF2B5EF4-FFF2-40B4-BE49-F238E27FC236}">
                  <a16:creationId xmlns:a16="http://schemas.microsoft.com/office/drawing/2014/main" id="{ED1E187C-E2C1-4329-A8D3-E4C26EE085EA}"/>
                </a:ext>
              </a:extLst>
            </p:cNvPr>
            <p:cNvSpPr/>
            <p:nvPr/>
          </p:nvSpPr>
          <p:spPr>
            <a:xfrm>
              <a:off x="9773348" y="437667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8" name="Freeform: Shape 3517">
              <a:extLst>
                <a:ext uri="{FF2B5EF4-FFF2-40B4-BE49-F238E27FC236}">
                  <a16:creationId xmlns:a16="http://schemas.microsoft.com/office/drawing/2014/main" id="{DF9CE3A1-6A41-4083-8B79-4E919CE3C35B}"/>
                </a:ext>
              </a:extLst>
            </p:cNvPr>
            <p:cNvSpPr/>
            <p:nvPr/>
          </p:nvSpPr>
          <p:spPr>
            <a:xfrm>
              <a:off x="10083117" y="4725165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19" name="Freeform: Shape 3518">
              <a:extLst>
                <a:ext uri="{FF2B5EF4-FFF2-40B4-BE49-F238E27FC236}">
                  <a16:creationId xmlns:a16="http://schemas.microsoft.com/office/drawing/2014/main" id="{D9A0A3BC-10F9-4FF8-A61E-477ED9474ACA}"/>
                </a:ext>
              </a:extLst>
            </p:cNvPr>
            <p:cNvSpPr/>
            <p:nvPr/>
          </p:nvSpPr>
          <p:spPr>
            <a:xfrm>
              <a:off x="9954047" y="5215633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48431"/>
                    <a:pt x="161338" y="174246"/>
                    <a:pt x="135524" y="174246"/>
                  </a:cubicBezTo>
                  <a:cubicBezTo>
                    <a:pt x="122617" y="174246"/>
                    <a:pt x="96803" y="161338"/>
                    <a:pt x="96803" y="135525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22617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0" name="Freeform: Shape 3519">
              <a:extLst>
                <a:ext uri="{FF2B5EF4-FFF2-40B4-BE49-F238E27FC236}">
                  <a16:creationId xmlns:a16="http://schemas.microsoft.com/office/drawing/2014/main" id="{1ECA3599-4B7B-4AA5-A199-24C89ECB0D1F}"/>
                </a:ext>
              </a:extLst>
            </p:cNvPr>
            <p:cNvSpPr/>
            <p:nvPr/>
          </p:nvSpPr>
          <p:spPr>
            <a:xfrm>
              <a:off x="10676842" y="502202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4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8" y="148431"/>
                  </a:cubicBezTo>
                  <a:cubicBezTo>
                    <a:pt x="108361" y="148431"/>
                    <a:pt x="96804" y="136874"/>
                    <a:pt x="96804" y="122617"/>
                  </a:cubicBezTo>
                  <a:cubicBezTo>
                    <a:pt x="96804" y="108360"/>
                    <a:pt x="108362" y="96803"/>
                    <a:pt x="122618" y="96803"/>
                  </a:cubicBezTo>
                  <a:cubicBezTo>
                    <a:pt x="136875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1" name="Freeform: Shape 3520">
              <a:extLst>
                <a:ext uri="{FF2B5EF4-FFF2-40B4-BE49-F238E27FC236}">
                  <a16:creationId xmlns:a16="http://schemas.microsoft.com/office/drawing/2014/main" id="{29772C13-8603-48EF-8893-F8C2A6953157}"/>
                </a:ext>
              </a:extLst>
            </p:cNvPr>
            <p:cNvSpPr/>
            <p:nvPr/>
          </p:nvSpPr>
          <p:spPr>
            <a:xfrm>
              <a:off x="10238002" y="5383425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4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3" y="148431"/>
                    <a:pt x="122618" y="148431"/>
                  </a:cubicBezTo>
                  <a:cubicBezTo>
                    <a:pt x="108361" y="148431"/>
                    <a:pt x="96804" y="136874"/>
                    <a:pt x="96804" y="122617"/>
                  </a:cubicBezTo>
                  <a:cubicBezTo>
                    <a:pt x="96804" y="108360"/>
                    <a:pt x="108362" y="96803"/>
                    <a:pt x="122618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2" name="Freeform: Shape 3521">
              <a:extLst>
                <a:ext uri="{FF2B5EF4-FFF2-40B4-BE49-F238E27FC236}">
                  <a16:creationId xmlns:a16="http://schemas.microsoft.com/office/drawing/2014/main" id="{5556F651-DB15-4796-AC69-510568DB240C}"/>
                </a:ext>
              </a:extLst>
            </p:cNvPr>
            <p:cNvSpPr/>
            <p:nvPr/>
          </p:nvSpPr>
          <p:spPr>
            <a:xfrm>
              <a:off x="10005675" y="6338548"/>
              <a:ext cx="129071" cy="129071"/>
            </a:xfrm>
            <a:custGeom>
              <a:avLst/>
              <a:gdLst>
                <a:gd name="connsiteX0" fmla="*/ 148430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0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0" y="122617"/>
                  </a:moveTo>
                  <a:cubicBezTo>
                    <a:pt x="148430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109710"/>
                    <a:pt x="148430" y="122617"/>
                    <a:pt x="148430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3" name="Freeform: Shape 3522">
              <a:extLst>
                <a:ext uri="{FF2B5EF4-FFF2-40B4-BE49-F238E27FC236}">
                  <a16:creationId xmlns:a16="http://schemas.microsoft.com/office/drawing/2014/main" id="{C0D73583-DEAD-44D6-A5FA-2FB83E59F983}"/>
                </a:ext>
              </a:extLst>
            </p:cNvPr>
            <p:cNvSpPr/>
            <p:nvPr/>
          </p:nvSpPr>
          <p:spPr>
            <a:xfrm>
              <a:off x="10108931" y="686773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4" name="Freeform: Shape 3523">
              <a:extLst>
                <a:ext uri="{FF2B5EF4-FFF2-40B4-BE49-F238E27FC236}">
                  <a16:creationId xmlns:a16="http://schemas.microsoft.com/office/drawing/2014/main" id="{AF7C527A-25C5-4222-9BAB-259FA76C4E4D}"/>
                </a:ext>
              </a:extLst>
            </p:cNvPr>
            <p:cNvSpPr/>
            <p:nvPr/>
          </p:nvSpPr>
          <p:spPr>
            <a:xfrm>
              <a:off x="10496143" y="708715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8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122617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5" name="Freeform: Shape 3524">
              <a:extLst>
                <a:ext uri="{FF2B5EF4-FFF2-40B4-BE49-F238E27FC236}">
                  <a16:creationId xmlns:a16="http://schemas.microsoft.com/office/drawing/2014/main" id="{88A7DC75-1E54-4C4E-8851-0671AB309E50}"/>
                </a:ext>
              </a:extLst>
            </p:cNvPr>
            <p:cNvSpPr/>
            <p:nvPr/>
          </p:nvSpPr>
          <p:spPr>
            <a:xfrm>
              <a:off x="10431608" y="733239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109710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6" name="Freeform: Shape 3525">
              <a:extLst>
                <a:ext uri="{FF2B5EF4-FFF2-40B4-BE49-F238E27FC236}">
                  <a16:creationId xmlns:a16="http://schemas.microsoft.com/office/drawing/2014/main" id="{7A7F34ED-A653-4D8F-9F00-BCC51871874E}"/>
                </a:ext>
              </a:extLst>
            </p:cNvPr>
            <p:cNvSpPr/>
            <p:nvPr/>
          </p:nvSpPr>
          <p:spPr>
            <a:xfrm>
              <a:off x="10225095" y="740983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4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8" y="148431"/>
                  </a:cubicBezTo>
                  <a:cubicBezTo>
                    <a:pt x="108361" y="148431"/>
                    <a:pt x="96804" y="136874"/>
                    <a:pt x="96804" y="122617"/>
                  </a:cubicBezTo>
                  <a:cubicBezTo>
                    <a:pt x="96804" y="108360"/>
                    <a:pt x="108362" y="96803"/>
                    <a:pt x="122618" y="96803"/>
                  </a:cubicBezTo>
                  <a:cubicBezTo>
                    <a:pt x="136875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7" name="Freeform: Shape 3526">
              <a:extLst>
                <a:ext uri="{FF2B5EF4-FFF2-40B4-BE49-F238E27FC236}">
                  <a16:creationId xmlns:a16="http://schemas.microsoft.com/office/drawing/2014/main" id="{520C578F-7D55-4F2B-BB91-EFC38C637ACA}"/>
                </a:ext>
              </a:extLst>
            </p:cNvPr>
            <p:cNvSpPr/>
            <p:nvPr/>
          </p:nvSpPr>
          <p:spPr>
            <a:xfrm>
              <a:off x="9489392" y="415725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3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1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8" name="Freeform: Shape 3527">
              <a:extLst>
                <a:ext uri="{FF2B5EF4-FFF2-40B4-BE49-F238E27FC236}">
                  <a16:creationId xmlns:a16="http://schemas.microsoft.com/office/drawing/2014/main" id="{47D601C1-5F64-4029-B2C6-6F9026187322}"/>
                </a:ext>
              </a:extLst>
            </p:cNvPr>
            <p:cNvSpPr/>
            <p:nvPr/>
          </p:nvSpPr>
          <p:spPr>
            <a:xfrm>
              <a:off x="8134150" y="377004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29" name="Freeform: Shape 3528">
              <a:extLst>
                <a:ext uri="{FF2B5EF4-FFF2-40B4-BE49-F238E27FC236}">
                  <a16:creationId xmlns:a16="http://schemas.microsoft.com/office/drawing/2014/main" id="{85101189-4FE7-4D0E-BF7C-9066A5BAF042}"/>
                </a:ext>
              </a:extLst>
            </p:cNvPr>
            <p:cNvSpPr/>
            <p:nvPr/>
          </p:nvSpPr>
          <p:spPr>
            <a:xfrm>
              <a:off x="7772753" y="379585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0" name="Freeform: Shape 3529">
              <a:extLst>
                <a:ext uri="{FF2B5EF4-FFF2-40B4-BE49-F238E27FC236}">
                  <a16:creationId xmlns:a16="http://schemas.microsoft.com/office/drawing/2014/main" id="{D71E60C1-CBB1-45FF-85A9-4F68850FB202}"/>
                </a:ext>
              </a:extLst>
            </p:cNvPr>
            <p:cNvSpPr/>
            <p:nvPr/>
          </p:nvSpPr>
          <p:spPr>
            <a:xfrm>
              <a:off x="8263221" y="293108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1" name="Freeform: Shape 3530">
              <a:extLst>
                <a:ext uri="{FF2B5EF4-FFF2-40B4-BE49-F238E27FC236}">
                  <a16:creationId xmlns:a16="http://schemas.microsoft.com/office/drawing/2014/main" id="{6B06D65E-5FEA-4D3E-80B1-FE8D4E44BB0C}"/>
                </a:ext>
              </a:extLst>
            </p:cNvPr>
            <p:cNvSpPr/>
            <p:nvPr/>
          </p:nvSpPr>
          <p:spPr>
            <a:xfrm>
              <a:off x="8624619" y="263422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2" name="Freeform: Shape 3531">
              <a:extLst>
                <a:ext uri="{FF2B5EF4-FFF2-40B4-BE49-F238E27FC236}">
                  <a16:creationId xmlns:a16="http://schemas.microsoft.com/office/drawing/2014/main" id="{2D51AADC-A465-47C5-9117-8C730F331C28}"/>
                </a:ext>
              </a:extLst>
            </p:cNvPr>
            <p:cNvSpPr/>
            <p:nvPr/>
          </p:nvSpPr>
          <p:spPr>
            <a:xfrm>
              <a:off x="8792411" y="275038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3" name="Freeform: Shape 3532">
              <a:extLst>
                <a:ext uri="{FF2B5EF4-FFF2-40B4-BE49-F238E27FC236}">
                  <a16:creationId xmlns:a16="http://schemas.microsoft.com/office/drawing/2014/main" id="{F773E70A-8CAC-42DD-A5F0-1D546E283091}"/>
                </a:ext>
              </a:extLst>
            </p:cNvPr>
            <p:cNvSpPr/>
            <p:nvPr/>
          </p:nvSpPr>
          <p:spPr>
            <a:xfrm>
              <a:off x="8572990" y="258259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8 w 129070"/>
                <a:gd name="connsiteY1" fmla="*/ 148431 h 129070"/>
                <a:gd name="connsiteX2" fmla="*/ 96803 w 129070"/>
                <a:gd name="connsiteY2" fmla="*/ 122617 h 129070"/>
                <a:gd name="connsiteX3" fmla="*/ 122618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8" y="148431"/>
                  </a:cubicBezTo>
                  <a:cubicBezTo>
                    <a:pt x="109711" y="148431"/>
                    <a:pt x="96803" y="135524"/>
                    <a:pt x="96803" y="122617"/>
                  </a:cubicBezTo>
                  <a:cubicBezTo>
                    <a:pt x="96803" y="109710"/>
                    <a:pt x="109711" y="96803"/>
                    <a:pt x="122618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4" name="Freeform: Shape 3533">
              <a:extLst>
                <a:ext uri="{FF2B5EF4-FFF2-40B4-BE49-F238E27FC236}">
                  <a16:creationId xmlns:a16="http://schemas.microsoft.com/office/drawing/2014/main" id="{3E592723-595E-42A0-982B-8E1226FF595F}"/>
                </a:ext>
              </a:extLst>
            </p:cNvPr>
            <p:cNvSpPr/>
            <p:nvPr/>
          </p:nvSpPr>
          <p:spPr>
            <a:xfrm>
              <a:off x="8727876" y="333120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5" name="Freeform: Shape 3534">
              <a:extLst>
                <a:ext uri="{FF2B5EF4-FFF2-40B4-BE49-F238E27FC236}">
                  <a16:creationId xmlns:a16="http://schemas.microsoft.com/office/drawing/2014/main" id="{D69E1434-9531-4E87-84D8-149126A96DF2}"/>
                </a:ext>
              </a:extLst>
            </p:cNvPr>
            <p:cNvSpPr/>
            <p:nvPr/>
          </p:nvSpPr>
          <p:spPr>
            <a:xfrm>
              <a:off x="7927638" y="251805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6" name="Freeform: Shape 3535">
              <a:extLst>
                <a:ext uri="{FF2B5EF4-FFF2-40B4-BE49-F238E27FC236}">
                  <a16:creationId xmlns:a16="http://schemas.microsoft.com/office/drawing/2014/main" id="{663F52F4-F5F7-431F-A243-E466B2984B10}"/>
                </a:ext>
              </a:extLst>
            </p:cNvPr>
            <p:cNvSpPr/>
            <p:nvPr/>
          </p:nvSpPr>
          <p:spPr>
            <a:xfrm>
              <a:off x="8766596" y="2053403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7" name="Freeform: Shape 3536">
              <a:extLst>
                <a:ext uri="{FF2B5EF4-FFF2-40B4-BE49-F238E27FC236}">
                  <a16:creationId xmlns:a16="http://schemas.microsoft.com/office/drawing/2014/main" id="{6C3A1843-15A0-4073-B3DC-9607CAB2525E}"/>
                </a:ext>
              </a:extLst>
            </p:cNvPr>
            <p:cNvSpPr/>
            <p:nvPr/>
          </p:nvSpPr>
          <p:spPr>
            <a:xfrm>
              <a:off x="9218344" y="2388987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8" name="Freeform: Shape 3537">
              <a:extLst>
                <a:ext uri="{FF2B5EF4-FFF2-40B4-BE49-F238E27FC236}">
                  <a16:creationId xmlns:a16="http://schemas.microsoft.com/office/drawing/2014/main" id="{A40175AE-228D-4AE2-A4D2-3D7AF661DD49}"/>
                </a:ext>
              </a:extLst>
            </p:cNvPr>
            <p:cNvSpPr/>
            <p:nvPr/>
          </p:nvSpPr>
          <p:spPr>
            <a:xfrm>
              <a:off x="9463578" y="1830550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5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26050"/>
                    <a:pt x="122618" y="100236"/>
                    <a:pt x="135525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39" name="Freeform: Shape 3538">
              <a:extLst>
                <a:ext uri="{FF2B5EF4-FFF2-40B4-BE49-F238E27FC236}">
                  <a16:creationId xmlns:a16="http://schemas.microsoft.com/office/drawing/2014/main" id="{BE9A7FC8-47D9-4DC5-9784-36F7E1136E40}"/>
                </a:ext>
              </a:extLst>
            </p:cNvPr>
            <p:cNvSpPr/>
            <p:nvPr/>
          </p:nvSpPr>
          <p:spPr>
            <a:xfrm>
              <a:off x="5668901" y="317631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0" name="Freeform: Shape 3539">
              <a:extLst>
                <a:ext uri="{FF2B5EF4-FFF2-40B4-BE49-F238E27FC236}">
                  <a16:creationId xmlns:a16="http://schemas.microsoft.com/office/drawing/2014/main" id="{62464A09-342A-4C0D-968D-6BB72B6053D2}"/>
                </a:ext>
              </a:extLst>
            </p:cNvPr>
            <p:cNvSpPr/>
            <p:nvPr/>
          </p:nvSpPr>
          <p:spPr>
            <a:xfrm>
              <a:off x="5449481" y="318922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1" name="Freeform: Shape 3540">
              <a:extLst>
                <a:ext uri="{FF2B5EF4-FFF2-40B4-BE49-F238E27FC236}">
                  <a16:creationId xmlns:a16="http://schemas.microsoft.com/office/drawing/2014/main" id="{CF778CD6-F25D-437D-9D27-67D80B01E8A4}"/>
                </a:ext>
              </a:extLst>
            </p:cNvPr>
            <p:cNvSpPr/>
            <p:nvPr/>
          </p:nvSpPr>
          <p:spPr>
            <a:xfrm>
              <a:off x="5217154" y="330538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2" name="Freeform: Shape 3541">
              <a:extLst>
                <a:ext uri="{FF2B5EF4-FFF2-40B4-BE49-F238E27FC236}">
                  <a16:creationId xmlns:a16="http://schemas.microsoft.com/office/drawing/2014/main" id="{09F8956F-4B2A-4194-AF5B-2A5EC5AF3613}"/>
                </a:ext>
              </a:extLst>
            </p:cNvPr>
            <p:cNvSpPr/>
            <p:nvPr/>
          </p:nvSpPr>
          <p:spPr>
            <a:xfrm>
              <a:off x="5139711" y="3137596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3" name="Freeform: Shape 3542">
              <a:extLst>
                <a:ext uri="{FF2B5EF4-FFF2-40B4-BE49-F238E27FC236}">
                  <a16:creationId xmlns:a16="http://schemas.microsoft.com/office/drawing/2014/main" id="{A4186AA1-39C6-4C88-9954-EB11EDF8F4C5}"/>
                </a:ext>
              </a:extLst>
            </p:cNvPr>
            <p:cNvSpPr/>
            <p:nvPr/>
          </p:nvSpPr>
          <p:spPr>
            <a:xfrm>
              <a:off x="5346225" y="276329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4" name="Freeform: Shape 3543">
              <a:extLst>
                <a:ext uri="{FF2B5EF4-FFF2-40B4-BE49-F238E27FC236}">
                  <a16:creationId xmlns:a16="http://schemas.microsoft.com/office/drawing/2014/main" id="{C3111072-BB41-4E05-BB62-847F799AC947}"/>
                </a:ext>
              </a:extLst>
            </p:cNvPr>
            <p:cNvSpPr/>
            <p:nvPr/>
          </p:nvSpPr>
          <p:spPr>
            <a:xfrm>
              <a:off x="351190" y="195014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5" name="Freeform: Shape 3544">
              <a:extLst>
                <a:ext uri="{FF2B5EF4-FFF2-40B4-BE49-F238E27FC236}">
                  <a16:creationId xmlns:a16="http://schemas.microsoft.com/office/drawing/2014/main" id="{AF667B73-2113-4A25-BBFF-348108603BE3}"/>
                </a:ext>
              </a:extLst>
            </p:cNvPr>
            <p:cNvSpPr/>
            <p:nvPr/>
          </p:nvSpPr>
          <p:spPr>
            <a:xfrm>
              <a:off x="286655" y="215665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6" name="Freeform: Shape 3545">
              <a:extLst>
                <a:ext uri="{FF2B5EF4-FFF2-40B4-BE49-F238E27FC236}">
                  <a16:creationId xmlns:a16="http://schemas.microsoft.com/office/drawing/2014/main" id="{F5107FAF-BBCA-4729-9B3D-3859375F4FD4}"/>
                </a:ext>
              </a:extLst>
            </p:cNvPr>
            <p:cNvSpPr/>
            <p:nvPr/>
          </p:nvSpPr>
          <p:spPr>
            <a:xfrm>
              <a:off x="919101" y="259550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7" name="Freeform: Shape 3546">
              <a:extLst>
                <a:ext uri="{FF2B5EF4-FFF2-40B4-BE49-F238E27FC236}">
                  <a16:creationId xmlns:a16="http://schemas.microsoft.com/office/drawing/2014/main" id="{88D04220-7ADE-4510-9B8B-0D7174AA658C}"/>
                </a:ext>
              </a:extLst>
            </p:cNvPr>
            <p:cNvSpPr/>
            <p:nvPr/>
          </p:nvSpPr>
          <p:spPr>
            <a:xfrm>
              <a:off x="377004" y="239846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8" name="Freeform: Shape 3547">
              <a:extLst>
                <a:ext uri="{FF2B5EF4-FFF2-40B4-BE49-F238E27FC236}">
                  <a16:creationId xmlns:a16="http://schemas.microsoft.com/office/drawing/2014/main" id="{F9BC6976-AD72-4300-9FB4-0B53DCE5BB83}"/>
                </a:ext>
              </a:extLst>
            </p:cNvPr>
            <p:cNvSpPr/>
            <p:nvPr/>
          </p:nvSpPr>
          <p:spPr>
            <a:xfrm>
              <a:off x="2364693" y="1649766"/>
              <a:ext cx="129071" cy="129071"/>
            </a:xfrm>
            <a:custGeom>
              <a:avLst/>
              <a:gdLst>
                <a:gd name="connsiteX0" fmla="*/ 148431 w 129070"/>
                <a:gd name="connsiteY0" fmla="*/ 126135 h 129070"/>
                <a:gd name="connsiteX1" fmla="*/ 122617 w 129070"/>
                <a:gd name="connsiteY1" fmla="*/ 151949 h 129070"/>
                <a:gd name="connsiteX2" fmla="*/ 96803 w 129070"/>
                <a:gd name="connsiteY2" fmla="*/ 126135 h 129070"/>
                <a:gd name="connsiteX3" fmla="*/ 122617 w 129070"/>
                <a:gd name="connsiteY3" fmla="*/ 100321 h 129070"/>
                <a:gd name="connsiteX4" fmla="*/ 148431 w 129070"/>
                <a:gd name="connsiteY4" fmla="*/ 126135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6135"/>
                  </a:moveTo>
                  <a:cubicBezTo>
                    <a:pt x="148431" y="139042"/>
                    <a:pt x="135524" y="151949"/>
                    <a:pt x="122617" y="151949"/>
                  </a:cubicBezTo>
                  <a:cubicBezTo>
                    <a:pt x="109710" y="151949"/>
                    <a:pt x="96803" y="139042"/>
                    <a:pt x="96803" y="126135"/>
                  </a:cubicBezTo>
                  <a:cubicBezTo>
                    <a:pt x="96803" y="113228"/>
                    <a:pt x="109710" y="100321"/>
                    <a:pt x="122617" y="100321"/>
                  </a:cubicBezTo>
                  <a:cubicBezTo>
                    <a:pt x="135524" y="87414"/>
                    <a:pt x="148431" y="113228"/>
                    <a:pt x="148431" y="1261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49" name="Freeform: Shape 3548">
              <a:extLst>
                <a:ext uri="{FF2B5EF4-FFF2-40B4-BE49-F238E27FC236}">
                  <a16:creationId xmlns:a16="http://schemas.microsoft.com/office/drawing/2014/main" id="{4610CE24-E047-4EC3-9E8F-3F8A486C6BF7}"/>
                </a:ext>
              </a:extLst>
            </p:cNvPr>
            <p:cNvSpPr/>
            <p:nvPr/>
          </p:nvSpPr>
          <p:spPr>
            <a:xfrm>
              <a:off x="2287250" y="1766014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26050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0" name="Freeform: Shape 3549">
              <a:extLst>
                <a:ext uri="{FF2B5EF4-FFF2-40B4-BE49-F238E27FC236}">
                  <a16:creationId xmlns:a16="http://schemas.microsoft.com/office/drawing/2014/main" id="{BD05233C-ED64-4EC2-9EBF-72A92362F7AF}"/>
                </a:ext>
              </a:extLst>
            </p:cNvPr>
            <p:cNvSpPr/>
            <p:nvPr/>
          </p:nvSpPr>
          <p:spPr>
            <a:xfrm>
              <a:off x="1900038" y="192433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1" name="Freeform: Shape 3550">
              <a:extLst>
                <a:ext uri="{FF2B5EF4-FFF2-40B4-BE49-F238E27FC236}">
                  <a16:creationId xmlns:a16="http://schemas.microsoft.com/office/drawing/2014/main" id="{96B04984-BA0B-4157-B0CC-33CF76B99D58}"/>
                </a:ext>
              </a:extLst>
            </p:cNvPr>
            <p:cNvSpPr/>
            <p:nvPr/>
          </p:nvSpPr>
          <p:spPr>
            <a:xfrm>
              <a:off x="2158179" y="188561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2" name="Freeform: Shape 3551">
              <a:extLst>
                <a:ext uri="{FF2B5EF4-FFF2-40B4-BE49-F238E27FC236}">
                  <a16:creationId xmlns:a16="http://schemas.microsoft.com/office/drawing/2014/main" id="{7A5E5B11-3D43-411B-8A2D-54B8E6BB643C}"/>
                </a:ext>
              </a:extLst>
            </p:cNvPr>
            <p:cNvSpPr/>
            <p:nvPr/>
          </p:nvSpPr>
          <p:spPr>
            <a:xfrm>
              <a:off x="2738997" y="229863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3" name="Freeform: Shape 3552">
              <a:extLst>
                <a:ext uri="{FF2B5EF4-FFF2-40B4-BE49-F238E27FC236}">
                  <a16:creationId xmlns:a16="http://schemas.microsoft.com/office/drawing/2014/main" id="{76ECEDC0-DE3F-4DC5-8066-12810D5E60A3}"/>
                </a:ext>
              </a:extLst>
            </p:cNvPr>
            <p:cNvSpPr/>
            <p:nvPr/>
          </p:nvSpPr>
          <p:spPr>
            <a:xfrm>
              <a:off x="3216559" y="166619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4" name="Freeform: Shape 3553">
              <a:extLst>
                <a:ext uri="{FF2B5EF4-FFF2-40B4-BE49-F238E27FC236}">
                  <a16:creationId xmlns:a16="http://schemas.microsoft.com/office/drawing/2014/main" id="{62361650-6280-456F-9FF6-8627B4733287}"/>
                </a:ext>
              </a:extLst>
            </p:cNvPr>
            <p:cNvSpPr/>
            <p:nvPr/>
          </p:nvSpPr>
          <p:spPr>
            <a:xfrm>
              <a:off x="2584112" y="164037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5" name="Freeform: Shape 3554">
              <a:extLst>
                <a:ext uri="{FF2B5EF4-FFF2-40B4-BE49-F238E27FC236}">
                  <a16:creationId xmlns:a16="http://schemas.microsoft.com/office/drawing/2014/main" id="{D52225D0-9BD2-4355-9B90-CAA88C00FAB1}"/>
                </a:ext>
              </a:extLst>
            </p:cNvPr>
            <p:cNvSpPr/>
            <p:nvPr/>
          </p:nvSpPr>
          <p:spPr>
            <a:xfrm>
              <a:off x="3010046" y="195014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6" name="Freeform: Shape 3555">
              <a:extLst>
                <a:ext uri="{FF2B5EF4-FFF2-40B4-BE49-F238E27FC236}">
                  <a16:creationId xmlns:a16="http://schemas.microsoft.com/office/drawing/2014/main" id="{1E0C9FDE-8F86-43A6-92AE-0998F8A49F1C}"/>
                </a:ext>
              </a:extLst>
            </p:cNvPr>
            <p:cNvSpPr/>
            <p:nvPr/>
          </p:nvSpPr>
          <p:spPr>
            <a:xfrm>
              <a:off x="2687369" y="1808169"/>
              <a:ext cx="258141" cy="258141"/>
            </a:xfrm>
            <a:custGeom>
              <a:avLst/>
              <a:gdLst>
                <a:gd name="connsiteX0" fmla="*/ 200059 w 258141"/>
                <a:gd name="connsiteY0" fmla="*/ 148431 h 258141"/>
                <a:gd name="connsiteX1" fmla="*/ 148431 w 258141"/>
                <a:gd name="connsiteY1" fmla="*/ 200060 h 258141"/>
                <a:gd name="connsiteX2" fmla="*/ 96803 w 258141"/>
                <a:gd name="connsiteY2" fmla="*/ 148431 h 258141"/>
                <a:gd name="connsiteX3" fmla="*/ 148431 w 258141"/>
                <a:gd name="connsiteY3" fmla="*/ 96803 h 258141"/>
                <a:gd name="connsiteX4" fmla="*/ 200059 w 258141"/>
                <a:gd name="connsiteY4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00059" y="148431"/>
                  </a:moveTo>
                  <a:cubicBezTo>
                    <a:pt x="200059" y="174245"/>
                    <a:pt x="174245" y="200060"/>
                    <a:pt x="148431" y="200060"/>
                  </a:cubicBezTo>
                  <a:cubicBezTo>
                    <a:pt x="122617" y="200060"/>
                    <a:pt x="96803" y="174245"/>
                    <a:pt x="96803" y="148431"/>
                  </a:cubicBezTo>
                  <a:cubicBezTo>
                    <a:pt x="96803" y="122617"/>
                    <a:pt x="122617" y="96803"/>
                    <a:pt x="148431" y="96803"/>
                  </a:cubicBezTo>
                  <a:cubicBezTo>
                    <a:pt x="174245" y="96803"/>
                    <a:pt x="200059" y="122617"/>
                    <a:pt x="200059" y="1484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7" name="Freeform: Shape 3556">
              <a:extLst>
                <a:ext uri="{FF2B5EF4-FFF2-40B4-BE49-F238E27FC236}">
                  <a16:creationId xmlns:a16="http://schemas.microsoft.com/office/drawing/2014/main" id="{2804BCAB-3017-45F0-9BA1-6E3660014B91}"/>
                </a:ext>
              </a:extLst>
            </p:cNvPr>
            <p:cNvSpPr/>
            <p:nvPr/>
          </p:nvSpPr>
          <p:spPr>
            <a:xfrm>
              <a:off x="2558298" y="2698756"/>
              <a:ext cx="258141" cy="258141"/>
            </a:xfrm>
            <a:custGeom>
              <a:avLst/>
              <a:gdLst>
                <a:gd name="connsiteX0" fmla="*/ 200059 w 258141"/>
                <a:gd name="connsiteY0" fmla="*/ 148431 h 258141"/>
                <a:gd name="connsiteX1" fmla="*/ 148431 w 258141"/>
                <a:gd name="connsiteY1" fmla="*/ 200059 h 258141"/>
                <a:gd name="connsiteX2" fmla="*/ 96803 w 258141"/>
                <a:gd name="connsiteY2" fmla="*/ 148431 h 258141"/>
                <a:gd name="connsiteX3" fmla="*/ 148431 w 258141"/>
                <a:gd name="connsiteY3" fmla="*/ 96803 h 258141"/>
                <a:gd name="connsiteX4" fmla="*/ 200059 w 258141"/>
                <a:gd name="connsiteY4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00059" y="148431"/>
                  </a:moveTo>
                  <a:cubicBezTo>
                    <a:pt x="200059" y="174245"/>
                    <a:pt x="174245" y="200059"/>
                    <a:pt x="148431" y="200059"/>
                  </a:cubicBezTo>
                  <a:cubicBezTo>
                    <a:pt x="122617" y="200059"/>
                    <a:pt x="96803" y="174245"/>
                    <a:pt x="96803" y="148431"/>
                  </a:cubicBezTo>
                  <a:cubicBezTo>
                    <a:pt x="96803" y="122617"/>
                    <a:pt x="122617" y="96803"/>
                    <a:pt x="148431" y="96803"/>
                  </a:cubicBezTo>
                  <a:cubicBezTo>
                    <a:pt x="174245" y="96803"/>
                    <a:pt x="200059" y="122617"/>
                    <a:pt x="200059" y="1484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8" name="Freeform: Shape 3557">
              <a:extLst>
                <a:ext uri="{FF2B5EF4-FFF2-40B4-BE49-F238E27FC236}">
                  <a16:creationId xmlns:a16="http://schemas.microsoft.com/office/drawing/2014/main" id="{DF9A4EBC-8A85-4914-AF50-A5C805A4B033}"/>
                </a:ext>
              </a:extLst>
            </p:cNvPr>
            <p:cNvSpPr/>
            <p:nvPr/>
          </p:nvSpPr>
          <p:spPr>
            <a:xfrm>
              <a:off x="2338878" y="3408645"/>
              <a:ext cx="258141" cy="258141"/>
            </a:xfrm>
            <a:custGeom>
              <a:avLst/>
              <a:gdLst>
                <a:gd name="connsiteX0" fmla="*/ 200060 w 258141"/>
                <a:gd name="connsiteY0" fmla="*/ 148431 h 258141"/>
                <a:gd name="connsiteX1" fmla="*/ 148431 w 258141"/>
                <a:gd name="connsiteY1" fmla="*/ 200059 h 258141"/>
                <a:gd name="connsiteX2" fmla="*/ 96803 w 258141"/>
                <a:gd name="connsiteY2" fmla="*/ 148431 h 258141"/>
                <a:gd name="connsiteX3" fmla="*/ 148431 w 258141"/>
                <a:gd name="connsiteY3" fmla="*/ 96803 h 258141"/>
                <a:gd name="connsiteX4" fmla="*/ 200060 w 258141"/>
                <a:gd name="connsiteY4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00060" y="148431"/>
                  </a:moveTo>
                  <a:cubicBezTo>
                    <a:pt x="200060" y="174245"/>
                    <a:pt x="174245" y="200059"/>
                    <a:pt x="148431" y="200059"/>
                  </a:cubicBezTo>
                  <a:cubicBezTo>
                    <a:pt x="122617" y="200059"/>
                    <a:pt x="96803" y="174245"/>
                    <a:pt x="96803" y="148431"/>
                  </a:cubicBezTo>
                  <a:cubicBezTo>
                    <a:pt x="96803" y="122617"/>
                    <a:pt x="122617" y="96803"/>
                    <a:pt x="148431" y="96803"/>
                  </a:cubicBezTo>
                  <a:cubicBezTo>
                    <a:pt x="174245" y="96803"/>
                    <a:pt x="200060" y="122617"/>
                    <a:pt x="200060" y="1484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59" name="Freeform: Shape 3558">
              <a:extLst>
                <a:ext uri="{FF2B5EF4-FFF2-40B4-BE49-F238E27FC236}">
                  <a16:creationId xmlns:a16="http://schemas.microsoft.com/office/drawing/2014/main" id="{85F8D526-4929-4A55-A24D-C9E6087A12B7}"/>
                </a:ext>
              </a:extLst>
            </p:cNvPr>
            <p:cNvSpPr/>
            <p:nvPr/>
          </p:nvSpPr>
          <p:spPr>
            <a:xfrm>
              <a:off x="2751904" y="4089361"/>
              <a:ext cx="258141" cy="258141"/>
            </a:xfrm>
            <a:custGeom>
              <a:avLst/>
              <a:gdLst>
                <a:gd name="connsiteX0" fmla="*/ 200059 w 258141"/>
                <a:gd name="connsiteY0" fmla="*/ 151789 h 258141"/>
                <a:gd name="connsiteX1" fmla="*/ 148431 w 258141"/>
                <a:gd name="connsiteY1" fmla="*/ 203417 h 258141"/>
                <a:gd name="connsiteX2" fmla="*/ 96803 w 258141"/>
                <a:gd name="connsiteY2" fmla="*/ 151789 h 258141"/>
                <a:gd name="connsiteX3" fmla="*/ 148431 w 258141"/>
                <a:gd name="connsiteY3" fmla="*/ 100161 h 258141"/>
                <a:gd name="connsiteX4" fmla="*/ 200059 w 258141"/>
                <a:gd name="connsiteY4" fmla="*/ 151789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00059" y="151789"/>
                  </a:moveTo>
                  <a:cubicBezTo>
                    <a:pt x="200059" y="177603"/>
                    <a:pt x="174245" y="203417"/>
                    <a:pt x="148431" y="203417"/>
                  </a:cubicBezTo>
                  <a:cubicBezTo>
                    <a:pt x="122617" y="203417"/>
                    <a:pt x="96803" y="177603"/>
                    <a:pt x="96803" y="151789"/>
                  </a:cubicBezTo>
                  <a:cubicBezTo>
                    <a:pt x="96803" y="125975"/>
                    <a:pt x="122617" y="100161"/>
                    <a:pt x="148431" y="100161"/>
                  </a:cubicBezTo>
                  <a:cubicBezTo>
                    <a:pt x="174245" y="87253"/>
                    <a:pt x="200059" y="113068"/>
                    <a:pt x="200059" y="1517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0" name="Freeform: Shape 3559">
              <a:extLst>
                <a:ext uri="{FF2B5EF4-FFF2-40B4-BE49-F238E27FC236}">
                  <a16:creationId xmlns:a16="http://schemas.microsoft.com/office/drawing/2014/main" id="{E06CAAF8-6F38-4ADF-8827-638650AA151D}"/>
                </a:ext>
              </a:extLst>
            </p:cNvPr>
            <p:cNvSpPr/>
            <p:nvPr/>
          </p:nvSpPr>
          <p:spPr>
            <a:xfrm>
              <a:off x="3603771" y="4312139"/>
              <a:ext cx="258141" cy="258141"/>
            </a:xfrm>
            <a:custGeom>
              <a:avLst/>
              <a:gdLst>
                <a:gd name="connsiteX0" fmla="*/ 200059 w 258141"/>
                <a:gd name="connsiteY0" fmla="*/ 148431 h 258141"/>
                <a:gd name="connsiteX1" fmla="*/ 148431 w 258141"/>
                <a:gd name="connsiteY1" fmla="*/ 200059 h 258141"/>
                <a:gd name="connsiteX2" fmla="*/ 96803 w 258141"/>
                <a:gd name="connsiteY2" fmla="*/ 148431 h 258141"/>
                <a:gd name="connsiteX3" fmla="*/ 148431 w 258141"/>
                <a:gd name="connsiteY3" fmla="*/ 96803 h 258141"/>
                <a:gd name="connsiteX4" fmla="*/ 200059 w 258141"/>
                <a:gd name="connsiteY4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00059" y="148431"/>
                  </a:moveTo>
                  <a:cubicBezTo>
                    <a:pt x="200059" y="174245"/>
                    <a:pt x="174245" y="200059"/>
                    <a:pt x="148431" y="200059"/>
                  </a:cubicBezTo>
                  <a:cubicBezTo>
                    <a:pt x="122617" y="200059"/>
                    <a:pt x="96803" y="174245"/>
                    <a:pt x="96803" y="148431"/>
                  </a:cubicBezTo>
                  <a:cubicBezTo>
                    <a:pt x="96803" y="122617"/>
                    <a:pt x="122617" y="96803"/>
                    <a:pt x="148431" y="96803"/>
                  </a:cubicBezTo>
                  <a:cubicBezTo>
                    <a:pt x="174245" y="96803"/>
                    <a:pt x="200059" y="122617"/>
                    <a:pt x="200059" y="1484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1" name="Freeform: Shape 3560">
              <a:extLst>
                <a:ext uri="{FF2B5EF4-FFF2-40B4-BE49-F238E27FC236}">
                  <a16:creationId xmlns:a16="http://schemas.microsoft.com/office/drawing/2014/main" id="{0EE96842-F456-4C97-93C8-2564E6761A11}"/>
                </a:ext>
              </a:extLst>
            </p:cNvPr>
            <p:cNvSpPr/>
            <p:nvPr/>
          </p:nvSpPr>
          <p:spPr>
            <a:xfrm>
              <a:off x="4016797" y="5202727"/>
              <a:ext cx="258141" cy="258141"/>
            </a:xfrm>
            <a:custGeom>
              <a:avLst/>
              <a:gdLst>
                <a:gd name="connsiteX0" fmla="*/ 200060 w 258141"/>
                <a:gd name="connsiteY0" fmla="*/ 148431 h 258141"/>
                <a:gd name="connsiteX1" fmla="*/ 148431 w 258141"/>
                <a:gd name="connsiteY1" fmla="*/ 200059 h 258141"/>
                <a:gd name="connsiteX2" fmla="*/ 96803 w 258141"/>
                <a:gd name="connsiteY2" fmla="*/ 148431 h 258141"/>
                <a:gd name="connsiteX3" fmla="*/ 148431 w 258141"/>
                <a:gd name="connsiteY3" fmla="*/ 96803 h 258141"/>
                <a:gd name="connsiteX4" fmla="*/ 200060 w 258141"/>
                <a:gd name="connsiteY4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00060" y="148431"/>
                  </a:moveTo>
                  <a:cubicBezTo>
                    <a:pt x="200060" y="174245"/>
                    <a:pt x="174245" y="200059"/>
                    <a:pt x="148431" y="200059"/>
                  </a:cubicBezTo>
                  <a:cubicBezTo>
                    <a:pt x="122617" y="200059"/>
                    <a:pt x="96803" y="174245"/>
                    <a:pt x="96803" y="148431"/>
                  </a:cubicBezTo>
                  <a:cubicBezTo>
                    <a:pt x="96803" y="122617"/>
                    <a:pt x="122617" y="96803"/>
                    <a:pt x="148431" y="96803"/>
                  </a:cubicBezTo>
                  <a:cubicBezTo>
                    <a:pt x="174245" y="96803"/>
                    <a:pt x="200060" y="122617"/>
                    <a:pt x="200060" y="1484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2" name="Freeform: Shape 3561">
              <a:extLst>
                <a:ext uri="{FF2B5EF4-FFF2-40B4-BE49-F238E27FC236}">
                  <a16:creationId xmlns:a16="http://schemas.microsoft.com/office/drawing/2014/main" id="{C9FFD27A-79FE-497A-BCAC-0D78CBAC00A9}"/>
                </a:ext>
              </a:extLst>
            </p:cNvPr>
            <p:cNvSpPr/>
            <p:nvPr/>
          </p:nvSpPr>
          <p:spPr>
            <a:xfrm>
              <a:off x="2855161" y="3240853"/>
              <a:ext cx="258141" cy="258141"/>
            </a:xfrm>
            <a:custGeom>
              <a:avLst/>
              <a:gdLst>
                <a:gd name="connsiteX0" fmla="*/ 200060 w 258141"/>
                <a:gd name="connsiteY0" fmla="*/ 148431 h 258141"/>
                <a:gd name="connsiteX1" fmla="*/ 148431 w 258141"/>
                <a:gd name="connsiteY1" fmla="*/ 200060 h 258141"/>
                <a:gd name="connsiteX2" fmla="*/ 96803 w 258141"/>
                <a:gd name="connsiteY2" fmla="*/ 148431 h 258141"/>
                <a:gd name="connsiteX3" fmla="*/ 148431 w 258141"/>
                <a:gd name="connsiteY3" fmla="*/ 96803 h 258141"/>
                <a:gd name="connsiteX4" fmla="*/ 200060 w 258141"/>
                <a:gd name="connsiteY4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00060" y="148431"/>
                  </a:moveTo>
                  <a:cubicBezTo>
                    <a:pt x="200060" y="174245"/>
                    <a:pt x="174245" y="200060"/>
                    <a:pt x="148431" y="200060"/>
                  </a:cubicBezTo>
                  <a:cubicBezTo>
                    <a:pt x="122617" y="200060"/>
                    <a:pt x="96803" y="174245"/>
                    <a:pt x="96803" y="148431"/>
                  </a:cubicBezTo>
                  <a:cubicBezTo>
                    <a:pt x="96803" y="122617"/>
                    <a:pt x="122617" y="96803"/>
                    <a:pt x="148431" y="96803"/>
                  </a:cubicBezTo>
                  <a:cubicBezTo>
                    <a:pt x="174245" y="96803"/>
                    <a:pt x="200060" y="122617"/>
                    <a:pt x="200060" y="1484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3" name="Freeform: Shape 3562">
              <a:extLst>
                <a:ext uri="{FF2B5EF4-FFF2-40B4-BE49-F238E27FC236}">
                  <a16:creationId xmlns:a16="http://schemas.microsoft.com/office/drawing/2014/main" id="{838652E1-0934-405E-95AB-81CAD734E73A}"/>
                </a:ext>
              </a:extLst>
            </p:cNvPr>
            <p:cNvSpPr/>
            <p:nvPr/>
          </p:nvSpPr>
          <p:spPr>
            <a:xfrm>
              <a:off x="3539235" y="166619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4" name="Freeform: Shape 3563">
              <a:extLst>
                <a:ext uri="{FF2B5EF4-FFF2-40B4-BE49-F238E27FC236}">
                  <a16:creationId xmlns:a16="http://schemas.microsoft.com/office/drawing/2014/main" id="{E8B229A3-9D69-4570-A73A-5CC0CA30C84F}"/>
                </a:ext>
              </a:extLst>
            </p:cNvPr>
            <p:cNvSpPr/>
            <p:nvPr/>
          </p:nvSpPr>
          <p:spPr>
            <a:xfrm>
              <a:off x="3539235" y="183398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96803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5" name="Freeform: Shape 3564">
              <a:extLst>
                <a:ext uri="{FF2B5EF4-FFF2-40B4-BE49-F238E27FC236}">
                  <a16:creationId xmlns:a16="http://schemas.microsoft.com/office/drawing/2014/main" id="{86D8D645-1DFB-444C-87B8-0FA7F933D7D8}"/>
                </a:ext>
              </a:extLst>
            </p:cNvPr>
            <p:cNvSpPr/>
            <p:nvPr/>
          </p:nvSpPr>
          <p:spPr>
            <a:xfrm>
              <a:off x="1719339" y="197596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6" name="Freeform: Shape 3565">
              <a:extLst>
                <a:ext uri="{FF2B5EF4-FFF2-40B4-BE49-F238E27FC236}">
                  <a16:creationId xmlns:a16="http://schemas.microsoft.com/office/drawing/2014/main" id="{63BB2592-ED97-49E5-A95F-6EE4CB44046F}"/>
                </a:ext>
              </a:extLst>
            </p:cNvPr>
            <p:cNvSpPr/>
            <p:nvPr/>
          </p:nvSpPr>
          <p:spPr>
            <a:xfrm>
              <a:off x="1203057" y="1898518"/>
              <a:ext cx="258141" cy="258141"/>
            </a:xfrm>
            <a:custGeom>
              <a:avLst/>
              <a:gdLst>
                <a:gd name="connsiteX0" fmla="*/ 187152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87152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87152" y="135524"/>
                  </a:moveTo>
                  <a:cubicBezTo>
                    <a:pt x="187152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87152" y="109710"/>
                    <a:pt x="187152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7" name="Freeform: Shape 3566">
              <a:extLst>
                <a:ext uri="{FF2B5EF4-FFF2-40B4-BE49-F238E27FC236}">
                  <a16:creationId xmlns:a16="http://schemas.microsoft.com/office/drawing/2014/main" id="{62543A53-D215-4589-9FFB-0168D847E4C7}"/>
                </a:ext>
              </a:extLst>
            </p:cNvPr>
            <p:cNvSpPr/>
            <p:nvPr/>
          </p:nvSpPr>
          <p:spPr>
            <a:xfrm>
              <a:off x="777123" y="254387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8" name="Freeform: Shape 3567">
              <a:extLst>
                <a:ext uri="{FF2B5EF4-FFF2-40B4-BE49-F238E27FC236}">
                  <a16:creationId xmlns:a16="http://schemas.microsoft.com/office/drawing/2014/main" id="{7F281281-42C7-4898-8D12-F177761ACA76}"/>
                </a:ext>
              </a:extLst>
            </p:cNvPr>
            <p:cNvSpPr/>
            <p:nvPr/>
          </p:nvSpPr>
          <p:spPr>
            <a:xfrm>
              <a:off x="377004" y="284073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69" name="Freeform: Shape 3568">
              <a:extLst>
                <a:ext uri="{FF2B5EF4-FFF2-40B4-BE49-F238E27FC236}">
                  <a16:creationId xmlns:a16="http://schemas.microsoft.com/office/drawing/2014/main" id="{9CA8037B-B6A2-4ADC-8883-052CD8FA30C6}"/>
                </a:ext>
              </a:extLst>
            </p:cNvPr>
            <p:cNvSpPr/>
            <p:nvPr/>
          </p:nvSpPr>
          <p:spPr>
            <a:xfrm>
              <a:off x="1164335" y="242770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0" name="Freeform: Shape 3569">
              <a:extLst>
                <a:ext uri="{FF2B5EF4-FFF2-40B4-BE49-F238E27FC236}">
                  <a16:creationId xmlns:a16="http://schemas.microsoft.com/office/drawing/2014/main" id="{595FE8B9-6ACD-4E19-B588-284DC95C39F7}"/>
                </a:ext>
              </a:extLst>
            </p:cNvPr>
            <p:cNvSpPr/>
            <p:nvPr/>
          </p:nvSpPr>
          <p:spPr>
            <a:xfrm>
              <a:off x="2042016" y="280201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1" name="Freeform: Shape 3570">
              <a:extLst>
                <a:ext uri="{FF2B5EF4-FFF2-40B4-BE49-F238E27FC236}">
                  <a16:creationId xmlns:a16="http://schemas.microsoft.com/office/drawing/2014/main" id="{6422071B-F2E3-426F-A1C8-CCF8F9924741}"/>
                </a:ext>
              </a:extLst>
            </p:cNvPr>
            <p:cNvSpPr/>
            <p:nvPr/>
          </p:nvSpPr>
          <p:spPr>
            <a:xfrm>
              <a:off x="2171087" y="2979278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2" name="Freeform: Shape 3571">
              <a:extLst>
                <a:ext uri="{FF2B5EF4-FFF2-40B4-BE49-F238E27FC236}">
                  <a16:creationId xmlns:a16="http://schemas.microsoft.com/office/drawing/2014/main" id="{319005A7-9AF3-4D93-B7A2-F1ED1CDBEBE1}"/>
                </a:ext>
              </a:extLst>
            </p:cNvPr>
            <p:cNvSpPr/>
            <p:nvPr/>
          </p:nvSpPr>
          <p:spPr>
            <a:xfrm>
              <a:off x="2377600" y="373132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3" name="Freeform: Shape 3572">
              <a:extLst>
                <a:ext uri="{FF2B5EF4-FFF2-40B4-BE49-F238E27FC236}">
                  <a16:creationId xmlns:a16="http://schemas.microsoft.com/office/drawing/2014/main" id="{8763536F-F5E6-4A59-90E7-5263447AF1D0}"/>
                </a:ext>
              </a:extLst>
            </p:cNvPr>
            <p:cNvSpPr/>
            <p:nvPr/>
          </p:nvSpPr>
          <p:spPr>
            <a:xfrm>
              <a:off x="2713183" y="422179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4" name="Freeform: Shape 3573">
              <a:extLst>
                <a:ext uri="{FF2B5EF4-FFF2-40B4-BE49-F238E27FC236}">
                  <a16:creationId xmlns:a16="http://schemas.microsoft.com/office/drawing/2014/main" id="{FF2C918C-2C40-45AB-8182-BBAB565284B0}"/>
                </a:ext>
              </a:extLst>
            </p:cNvPr>
            <p:cNvSpPr/>
            <p:nvPr/>
          </p:nvSpPr>
          <p:spPr>
            <a:xfrm>
              <a:off x="3113302" y="453155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5" name="Freeform: Shape 3574">
              <a:extLst>
                <a:ext uri="{FF2B5EF4-FFF2-40B4-BE49-F238E27FC236}">
                  <a16:creationId xmlns:a16="http://schemas.microsoft.com/office/drawing/2014/main" id="{13A54C64-9A7C-47D3-A736-E51621BFBB3D}"/>
                </a:ext>
              </a:extLst>
            </p:cNvPr>
            <p:cNvSpPr/>
            <p:nvPr/>
          </p:nvSpPr>
          <p:spPr>
            <a:xfrm>
              <a:off x="3642492" y="471225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6" name="Freeform: Shape 3575">
              <a:extLst>
                <a:ext uri="{FF2B5EF4-FFF2-40B4-BE49-F238E27FC236}">
                  <a16:creationId xmlns:a16="http://schemas.microsoft.com/office/drawing/2014/main" id="{F9DB1DA9-8FE8-49B6-95D2-81CA8B7EAB32}"/>
                </a:ext>
              </a:extLst>
            </p:cNvPr>
            <p:cNvSpPr/>
            <p:nvPr/>
          </p:nvSpPr>
          <p:spPr>
            <a:xfrm>
              <a:off x="3874819" y="490586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7" name="Freeform: Shape 3576">
              <a:extLst>
                <a:ext uri="{FF2B5EF4-FFF2-40B4-BE49-F238E27FC236}">
                  <a16:creationId xmlns:a16="http://schemas.microsoft.com/office/drawing/2014/main" id="{CDDE98D7-4436-468C-949E-46551E00A52C}"/>
                </a:ext>
              </a:extLst>
            </p:cNvPr>
            <p:cNvSpPr/>
            <p:nvPr/>
          </p:nvSpPr>
          <p:spPr>
            <a:xfrm>
              <a:off x="3707027" y="504784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8" name="Freeform: Shape 3577">
              <a:extLst>
                <a:ext uri="{FF2B5EF4-FFF2-40B4-BE49-F238E27FC236}">
                  <a16:creationId xmlns:a16="http://schemas.microsoft.com/office/drawing/2014/main" id="{DA5A7A2A-8C15-4BBC-A093-452AE717692E}"/>
                </a:ext>
              </a:extLst>
            </p:cNvPr>
            <p:cNvSpPr/>
            <p:nvPr/>
          </p:nvSpPr>
          <p:spPr>
            <a:xfrm>
              <a:off x="3448886" y="499621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79" name="Freeform: Shape 3578">
              <a:extLst>
                <a:ext uri="{FF2B5EF4-FFF2-40B4-BE49-F238E27FC236}">
                  <a16:creationId xmlns:a16="http://schemas.microsoft.com/office/drawing/2014/main" id="{B73AF628-ECB9-4B7B-8549-528CC8E1A39A}"/>
                </a:ext>
              </a:extLst>
            </p:cNvPr>
            <p:cNvSpPr/>
            <p:nvPr/>
          </p:nvSpPr>
          <p:spPr>
            <a:xfrm>
              <a:off x="3255280" y="489295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0" name="Freeform: Shape 3579">
              <a:extLst>
                <a:ext uri="{FF2B5EF4-FFF2-40B4-BE49-F238E27FC236}">
                  <a16:creationId xmlns:a16="http://schemas.microsoft.com/office/drawing/2014/main" id="{3E6B0766-6258-4F3B-9BAD-1A6291A1DE63}"/>
                </a:ext>
              </a:extLst>
            </p:cNvPr>
            <p:cNvSpPr/>
            <p:nvPr/>
          </p:nvSpPr>
          <p:spPr>
            <a:xfrm>
              <a:off x="3874819" y="121444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1" name="Freeform: Shape 3580">
              <a:extLst>
                <a:ext uri="{FF2B5EF4-FFF2-40B4-BE49-F238E27FC236}">
                  <a16:creationId xmlns:a16="http://schemas.microsoft.com/office/drawing/2014/main" id="{5A32180E-7938-4085-A551-E1489E4C7D72}"/>
                </a:ext>
              </a:extLst>
            </p:cNvPr>
            <p:cNvSpPr/>
            <p:nvPr/>
          </p:nvSpPr>
          <p:spPr>
            <a:xfrm>
              <a:off x="3681213" y="130479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2" name="Freeform: Shape 3581">
              <a:extLst>
                <a:ext uri="{FF2B5EF4-FFF2-40B4-BE49-F238E27FC236}">
                  <a16:creationId xmlns:a16="http://schemas.microsoft.com/office/drawing/2014/main" id="{2B6CC984-A3DC-4C06-92A7-BB6B5BCBD0FA}"/>
                </a:ext>
              </a:extLst>
            </p:cNvPr>
            <p:cNvSpPr/>
            <p:nvPr/>
          </p:nvSpPr>
          <p:spPr>
            <a:xfrm>
              <a:off x="3707027" y="126607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3" name="Freeform: Shape 3582">
              <a:extLst>
                <a:ext uri="{FF2B5EF4-FFF2-40B4-BE49-F238E27FC236}">
                  <a16:creationId xmlns:a16="http://schemas.microsoft.com/office/drawing/2014/main" id="{BC29A4CE-0B66-47D9-81AB-7274BDB04A45}"/>
                </a:ext>
              </a:extLst>
            </p:cNvPr>
            <p:cNvSpPr/>
            <p:nvPr/>
          </p:nvSpPr>
          <p:spPr>
            <a:xfrm>
              <a:off x="5307503" y="1159382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4" name="Freeform: Shape 3583">
              <a:extLst>
                <a:ext uri="{FF2B5EF4-FFF2-40B4-BE49-F238E27FC236}">
                  <a16:creationId xmlns:a16="http://schemas.microsoft.com/office/drawing/2014/main" id="{ECC11153-6E9D-4AB2-995E-B91F466E2F85}"/>
                </a:ext>
              </a:extLst>
            </p:cNvPr>
            <p:cNvSpPr/>
            <p:nvPr/>
          </p:nvSpPr>
          <p:spPr>
            <a:xfrm>
              <a:off x="5372039" y="118863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5" name="Freeform: Shape 3584">
              <a:extLst>
                <a:ext uri="{FF2B5EF4-FFF2-40B4-BE49-F238E27FC236}">
                  <a16:creationId xmlns:a16="http://schemas.microsoft.com/office/drawing/2014/main" id="{4F47EC62-3E4B-45B3-9C42-B2BFAC277C14}"/>
                </a:ext>
              </a:extLst>
            </p:cNvPr>
            <p:cNvSpPr/>
            <p:nvPr/>
          </p:nvSpPr>
          <p:spPr>
            <a:xfrm>
              <a:off x="4907384" y="143386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6" name="Freeform: Shape 3585">
              <a:extLst>
                <a:ext uri="{FF2B5EF4-FFF2-40B4-BE49-F238E27FC236}">
                  <a16:creationId xmlns:a16="http://schemas.microsoft.com/office/drawing/2014/main" id="{A8754F5B-BB8E-484D-AC7F-51B8B95FC05B}"/>
                </a:ext>
              </a:extLst>
            </p:cNvPr>
            <p:cNvSpPr/>
            <p:nvPr/>
          </p:nvSpPr>
          <p:spPr>
            <a:xfrm>
              <a:off x="4481451" y="142095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7" name="Freeform: Shape 3586">
              <a:extLst>
                <a:ext uri="{FF2B5EF4-FFF2-40B4-BE49-F238E27FC236}">
                  <a16:creationId xmlns:a16="http://schemas.microsoft.com/office/drawing/2014/main" id="{2838B75C-5F55-4982-AD27-18D194113FCB}"/>
                </a:ext>
              </a:extLst>
            </p:cNvPr>
            <p:cNvSpPr/>
            <p:nvPr/>
          </p:nvSpPr>
          <p:spPr>
            <a:xfrm>
              <a:off x="5630180" y="175654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8" name="Freeform: Shape 3587">
              <a:extLst>
                <a:ext uri="{FF2B5EF4-FFF2-40B4-BE49-F238E27FC236}">
                  <a16:creationId xmlns:a16="http://schemas.microsoft.com/office/drawing/2014/main" id="{C75C6202-187A-4B14-8FC3-F7BD9EFB4EC9}"/>
                </a:ext>
              </a:extLst>
            </p:cNvPr>
            <p:cNvSpPr/>
            <p:nvPr/>
          </p:nvSpPr>
          <p:spPr>
            <a:xfrm>
              <a:off x="5604366" y="1162815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89" name="Freeform: Shape 3588">
              <a:extLst>
                <a:ext uri="{FF2B5EF4-FFF2-40B4-BE49-F238E27FC236}">
                  <a16:creationId xmlns:a16="http://schemas.microsoft.com/office/drawing/2014/main" id="{F97D7223-5C88-4178-9871-3E1F809AE8ED}"/>
                </a:ext>
              </a:extLst>
            </p:cNvPr>
            <p:cNvSpPr/>
            <p:nvPr/>
          </p:nvSpPr>
          <p:spPr>
            <a:xfrm>
              <a:off x="5849600" y="1162815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48431"/>
                    <a:pt x="161338" y="174245"/>
                    <a:pt x="135525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5" y="96803"/>
                  </a:cubicBezTo>
                  <a:cubicBezTo>
                    <a:pt x="161338" y="109710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0" name="Freeform: Shape 3589">
              <a:extLst>
                <a:ext uri="{FF2B5EF4-FFF2-40B4-BE49-F238E27FC236}">
                  <a16:creationId xmlns:a16="http://schemas.microsoft.com/office/drawing/2014/main" id="{6C7F058A-E8C9-4E84-86CE-22E86C3A7A8C}"/>
                </a:ext>
              </a:extLst>
            </p:cNvPr>
            <p:cNvSpPr/>
            <p:nvPr/>
          </p:nvSpPr>
          <p:spPr>
            <a:xfrm>
              <a:off x="5036455" y="1537120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1" name="Freeform: Shape 3590">
              <a:extLst>
                <a:ext uri="{FF2B5EF4-FFF2-40B4-BE49-F238E27FC236}">
                  <a16:creationId xmlns:a16="http://schemas.microsoft.com/office/drawing/2014/main" id="{825E118F-F1FF-42E2-9789-7C673E6EA2C6}"/>
                </a:ext>
              </a:extLst>
            </p:cNvPr>
            <p:cNvSpPr/>
            <p:nvPr/>
          </p:nvSpPr>
          <p:spPr>
            <a:xfrm>
              <a:off x="4765407" y="139514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2" name="Freeform: Shape 3591">
              <a:extLst>
                <a:ext uri="{FF2B5EF4-FFF2-40B4-BE49-F238E27FC236}">
                  <a16:creationId xmlns:a16="http://schemas.microsoft.com/office/drawing/2014/main" id="{D19CEC15-1CDC-48DE-AB49-3199193512D0}"/>
                </a:ext>
              </a:extLst>
            </p:cNvPr>
            <p:cNvSpPr/>
            <p:nvPr/>
          </p:nvSpPr>
          <p:spPr>
            <a:xfrm>
              <a:off x="4778313" y="113700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109710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3" name="Freeform: Shape 3592">
              <a:extLst>
                <a:ext uri="{FF2B5EF4-FFF2-40B4-BE49-F238E27FC236}">
                  <a16:creationId xmlns:a16="http://schemas.microsoft.com/office/drawing/2014/main" id="{53C5DBA8-AFB7-4C11-8BF1-C2B82C9001EC}"/>
                </a:ext>
              </a:extLst>
            </p:cNvPr>
            <p:cNvSpPr/>
            <p:nvPr/>
          </p:nvSpPr>
          <p:spPr>
            <a:xfrm>
              <a:off x="5010641" y="1317700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5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4" name="Freeform: Shape 3593">
              <a:extLst>
                <a:ext uri="{FF2B5EF4-FFF2-40B4-BE49-F238E27FC236}">
                  <a16:creationId xmlns:a16="http://schemas.microsoft.com/office/drawing/2014/main" id="{F9C3AEB7-C294-4D10-A30A-4909A9D90386}"/>
                </a:ext>
              </a:extLst>
            </p:cNvPr>
            <p:cNvSpPr/>
            <p:nvPr/>
          </p:nvSpPr>
          <p:spPr>
            <a:xfrm>
              <a:off x="4791221" y="131770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5" name="Freeform: Shape 3594">
              <a:extLst>
                <a:ext uri="{FF2B5EF4-FFF2-40B4-BE49-F238E27FC236}">
                  <a16:creationId xmlns:a16="http://schemas.microsoft.com/office/drawing/2014/main" id="{0E24FD15-1738-4DFE-AA25-0D96306B76B4}"/>
                </a:ext>
              </a:extLst>
            </p:cNvPr>
            <p:cNvSpPr/>
            <p:nvPr/>
          </p:nvSpPr>
          <p:spPr>
            <a:xfrm>
              <a:off x="5346225" y="151130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6" name="Freeform: Shape 3595">
              <a:extLst>
                <a:ext uri="{FF2B5EF4-FFF2-40B4-BE49-F238E27FC236}">
                  <a16:creationId xmlns:a16="http://schemas.microsoft.com/office/drawing/2014/main" id="{FCD3DADD-1A39-4607-B542-96B500955B38}"/>
                </a:ext>
              </a:extLst>
            </p:cNvPr>
            <p:cNvSpPr/>
            <p:nvPr/>
          </p:nvSpPr>
          <p:spPr>
            <a:xfrm>
              <a:off x="6378790" y="134008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7" name="Freeform: Shape 3596">
              <a:extLst>
                <a:ext uri="{FF2B5EF4-FFF2-40B4-BE49-F238E27FC236}">
                  <a16:creationId xmlns:a16="http://schemas.microsoft.com/office/drawing/2014/main" id="{65EACB49-E169-4855-9F82-663F6261B0A6}"/>
                </a:ext>
              </a:extLst>
            </p:cNvPr>
            <p:cNvSpPr/>
            <p:nvPr/>
          </p:nvSpPr>
          <p:spPr>
            <a:xfrm>
              <a:off x="6352976" y="1520780"/>
              <a:ext cx="258141" cy="258141"/>
            </a:xfrm>
            <a:custGeom>
              <a:avLst/>
              <a:gdLst>
                <a:gd name="connsiteX0" fmla="*/ 187153 w 258141"/>
                <a:gd name="connsiteY0" fmla="*/ 138957 h 258141"/>
                <a:gd name="connsiteX1" fmla="*/ 148431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87153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87153" y="138957"/>
                  </a:moveTo>
                  <a:cubicBezTo>
                    <a:pt x="187153" y="164771"/>
                    <a:pt x="161338" y="177678"/>
                    <a:pt x="148431" y="177678"/>
                  </a:cubicBezTo>
                  <a:cubicBezTo>
                    <a:pt x="109710" y="177678"/>
                    <a:pt x="96803" y="164771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87153" y="113143"/>
                    <a:pt x="187153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8" name="Freeform: Shape 3597">
              <a:extLst>
                <a:ext uri="{FF2B5EF4-FFF2-40B4-BE49-F238E27FC236}">
                  <a16:creationId xmlns:a16="http://schemas.microsoft.com/office/drawing/2014/main" id="{883D6D61-C278-4088-80D6-1547D7516539}"/>
                </a:ext>
              </a:extLst>
            </p:cNvPr>
            <p:cNvSpPr/>
            <p:nvPr/>
          </p:nvSpPr>
          <p:spPr>
            <a:xfrm>
              <a:off x="6778909" y="1266072"/>
              <a:ext cx="258141" cy="258141"/>
            </a:xfrm>
            <a:custGeom>
              <a:avLst/>
              <a:gdLst>
                <a:gd name="connsiteX0" fmla="*/ 187153 w 258141"/>
                <a:gd name="connsiteY0" fmla="*/ 135524 h 258141"/>
                <a:gd name="connsiteX1" fmla="*/ 148431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87153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87153" y="135524"/>
                  </a:moveTo>
                  <a:cubicBezTo>
                    <a:pt x="187153" y="161338"/>
                    <a:pt x="161338" y="174245"/>
                    <a:pt x="148431" y="174245"/>
                  </a:cubicBezTo>
                  <a:cubicBezTo>
                    <a:pt x="135524" y="174245"/>
                    <a:pt x="96803" y="161338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87153" y="109710"/>
                    <a:pt x="187153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99" name="Freeform: Shape 3598">
              <a:extLst>
                <a:ext uri="{FF2B5EF4-FFF2-40B4-BE49-F238E27FC236}">
                  <a16:creationId xmlns:a16="http://schemas.microsoft.com/office/drawing/2014/main" id="{5726681A-A328-4150-94E4-959E80F09606}"/>
                </a:ext>
              </a:extLst>
            </p:cNvPr>
            <p:cNvSpPr/>
            <p:nvPr/>
          </p:nvSpPr>
          <p:spPr>
            <a:xfrm>
              <a:off x="7230656" y="1185196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0" name="Freeform: Shape 3599">
              <a:extLst>
                <a:ext uri="{FF2B5EF4-FFF2-40B4-BE49-F238E27FC236}">
                  <a16:creationId xmlns:a16="http://schemas.microsoft.com/office/drawing/2014/main" id="{CE7EA26B-883E-4D82-8C75-8F269230583B}"/>
                </a:ext>
              </a:extLst>
            </p:cNvPr>
            <p:cNvSpPr/>
            <p:nvPr/>
          </p:nvSpPr>
          <p:spPr>
            <a:xfrm>
              <a:off x="7256470" y="135642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1" name="Freeform: Shape 3600">
              <a:extLst>
                <a:ext uri="{FF2B5EF4-FFF2-40B4-BE49-F238E27FC236}">
                  <a16:creationId xmlns:a16="http://schemas.microsoft.com/office/drawing/2014/main" id="{7AEB477A-B65D-4A9B-922E-C5A61FBC1243}"/>
                </a:ext>
              </a:extLst>
            </p:cNvPr>
            <p:cNvSpPr/>
            <p:nvPr/>
          </p:nvSpPr>
          <p:spPr>
            <a:xfrm>
              <a:off x="7256470" y="162747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2" name="Freeform: Shape 3601">
              <a:extLst>
                <a:ext uri="{FF2B5EF4-FFF2-40B4-BE49-F238E27FC236}">
                  <a16:creationId xmlns:a16="http://schemas.microsoft.com/office/drawing/2014/main" id="{CFED7616-8210-44A5-9D3A-B096E9E13F84}"/>
                </a:ext>
              </a:extLst>
            </p:cNvPr>
            <p:cNvSpPr/>
            <p:nvPr/>
          </p:nvSpPr>
          <p:spPr>
            <a:xfrm>
              <a:off x="6972515" y="1717819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48431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22617" y="96803"/>
                    <a:pt x="148431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3" name="Freeform: Shape 3602">
              <a:extLst>
                <a:ext uri="{FF2B5EF4-FFF2-40B4-BE49-F238E27FC236}">
                  <a16:creationId xmlns:a16="http://schemas.microsoft.com/office/drawing/2014/main" id="{DA818223-B5EB-4AC2-AF23-725956EA1842}"/>
                </a:ext>
              </a:extLst>
            </p:cNvPr>
            <p:cNvSpPr/>
            <p:nvPr/>
          </p:nvSpPr>
          <p:spPr>
            <a:xfrm>
              <a:off x="7217749" y="142095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4" name="Freeform: Shape 3603">
              <a:extLst>
                <a:ext uri="{FF2B5EF4-FFF2-40B4-BE49-F238E27FC236}">
                  <a16:creationId xmlns:a16="http://schemas.microsoft.com/office/drawing/2014/main" id="{C957F90B-7745-4915-B666-BDF954DC8F27}"/>
                </a:ext>
              </a:extLst>
            </p:cNvPr>
            <p:cNvSpPr/>
            <p:nvPr/>
          </p:nvSpPr>
          <p:spPr>
            <a:xfrm>
              <a:off x="7166120" y="1699849"/>
              <a:ext cx="129071" cy="129071"/>
            </a:xfrm>
            <a:custGeom>
              <a:avLst/>
              <a:gdLst>
                <a:gd name="connsiteX0" fmla="*/ 148431 w 129070"/>
                <a:gd name="connsiteY0" fmla="*/ 127681 h 129070"/>
                <a:gd name="connsiteX1" fmla="*/ 122617 w 129070"/>
                <a:gd name="connsiteY1" fmla="*/ 153495 h 129070"/>
                <a:gd name="connsiteX2" fmla="*/ 96803 w 129070"/>
                <a:gd name="connsiteY2" fmla="*/ 127681 h 129070"/>
                <a:gd name="connsiteX3" fmla="*/ 122617 w 129070"/>
                <a:gd name="connsiteY3" fmla="*/ 101866 h 129070"/>
                <a:gd name="connsiteX4" fmla="*/ 148431 w 129070"/>
                <a:gd name="connsiteY4" fmla="*/ 127681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1"/>
                  </a:moveTo>
                  <a:cubicBezTo>
                    <a:pt x="148431" y="140588"/>
                    <a:pt x="135524" y="153495"/>
                    <a:pt x="122617" y="153495"/>
                  </a:cubicBezTo>
                  <a:cubicBezTo>
                    <a:pt x="109710" y="153495"/>
                    <a:pt x="96803" y="140588"/>
                    <a:pt x="96803" y="127681"/>
                  </a:cubicBezTo>
                  <a:cubicBezTo>
                    <a:pt x="96803" y="114774"/>
                    <a:pt x="109710" y="101866"/>
                    <a:pt x="122617" y="101866"/>
                  </a:cubicBezTo>
                  <a:cubicBezTo>
                    <a:pt x="135524" y="88959"/>
                    <a:pt x="148431" y="101866"/>
                    <a:pt x="148431" y="1276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5" name="Freeform: Shape 3604">
              <a:extLst>
                <a:ext uri="{FF2B5EF4-FFF2-40B4-BE49-F238E27FC236}">
                  <a16:creationId xmlns:a16="http://schemas.microsoft.com/office/drawing/2014/main" id="{E1B7C005-DD3F-4268-BA42-04DF8555DB4E}"/>
                </a:ext>
              </a:extLst>
            </p:cNvPr>
            <p:cNvSpPr/>
            <p:nvPr/>
          </p:nvSpPr>
          <p:spPr>
            <a:xfrm>
              <a:off x="7024143" y="166619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6" name="Freeform: Shape 3605">
              <a:extLst>
                <a:ext uri="{FF2B5EF4-FFF2-40B4-BE49-F238E27FC236}">
                  <a16:creationId xmlns:a16="http://schemas.microsoft.com/office/drawing/2014/main" id="{F955CB55-0F2D-4D3F-8A2E-B95676D33861}"/>
                </a:ext>
              </a:extLst>
            </p:cNvPr>
            <p:cNvSpPr/>
            <p:nvPr/>
          </p:nvSpPr>
          <p:spPr>
            <a:xfrm>
              <a:off x="7191935" y="1821076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7" name="Freeform: Shape 3606">
              <a:extLst>
                <a:ext uri="{FF2B5EF4-FFF2-40B4-BE49-F238E27FC236}">
                  <a16:creationId xmlns:a16="http://schemas.microsoft.com/office/drawing/2014/main" id="{9CF47C6D-E97F-4354-9447-035B00AA47BC}"/>
                </a:ext>
              </a:extLst>
            </p:cNvPr>
            <p:cNvSpPr/>
            <p:nvPr/>
          </p:nvSpPr>
          <p:spPr>
            <a:xfrm>
              <a:off x="7127399" y="124025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8" name="Freeform: Shape 3607">
              <a:extLst>
                <a:ext uri="{FF2B5EF4-FFF2-40B4-BE49-F238E27FC236}">
                  <a16:creationId xmlns:a16="http://schemas.microsoft.com/office/drawing/2014/main" id="{6C672C0F-1981-4054-85C0-E3D01DAB0606}"/>
                </a:ext>
              </a:extLst>
            </p:cNvPr>
            <p:cNvSpPr/>
            <p:nvPr/>
          </p:nvSpPr>
          <p:spPr>
            <a:xfrm>
              <a:off x="6701466" y="1998342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09" name="Freeform: Shape 3608">
              <a:extLst>
                <a:ext uri="{FF2B5EF4-FFF2-40B4-BE49-F238E27FC236}">
                  <a16:creationId xmlns:a16="http://schemas.microsoft.com/office/drawing/2014/main" id="{54059F05-FE03-4709-8423-5AC82FB88B55}"/>
                </a:ext>
              </a:extLst>
            </p:cNvPr>
            <p:cNvSpPr/>
            <p:nvPr/>
          </p:nvSpPr>
          <p:spPr>
            <a:xfrm>
              <a:off x="6301347" y="218247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48431"/>
                    <a:pt x="161338" y="174245"/>
                    <a:pt x="135525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5" y="96803"/>
                  </a:cubicBezTo>
                  <a:cubicBezTo>
                    <a:pt x="161338" y="109710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0" name="Freeform: Shape 3609">
              <a:extLst>
                <a:ext uri="{FF2B5EF4-FFF2-40B4-BE49-F238E27FC236}">
                  <a16:creationId xmlns:a16="http://schemas.microsoft.com/office/drawing/2014/main" id="{7187A8CB-40FF-4986-BB1C-0BF80DD36E2A}"/>
                </a:ext>
              </a:extLst>
            </p:cNvPr>
            <p:cNvSpPr/>
            <p:nvPr/>
          </p:nvSpPr>
          <p:spPr>
            <a:xfrm>
              <a:off x="6004485" y="233735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1" name="Freeform: Shape 3610">
              <a:extLst>
                <a:ext uri="{FF2B5EF4-FFF2-40B4-BE49-F238E27FC236}">
                  <a16:creationId xmlns:a16="http://schemas.microsoft.com/office/drawing/2014/main" id="{4AA291FB-0C48-4D32-A804-D496BC7ECF8F}"/>
                </a:ext>
              </a:extLst>
            </p:cNvPr>
            <p:cNvSpPr/>
            <p:nvPr/>
          </p:nvSpPr>
          <p:spPr>
            <a:xfrm>
              <a:off x="5927042" y="242770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2" name="Freeform: Shape 3611">
              <a:extLst>
                <a:ext uri="{FF2B5EF4-FFF2-40B4-BE49-F238E27FC236}">
                  <a16:creationId xmlns:a16="http://schemas.microsoft.com/office/drawing/2014/main" id="{39695785-94B7-4EDF-9735-5548AD36395A}"/>
                </a:ext>
              </a:extLst>
            </p:cNvPr>
            <p:cNvSpPr/>
            <p:nvPr/>
          </p:nvSpPr>
          <p:spPr>
            <a:xfrm>
              <a:off x="6120648" y="247933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3" name="Freeform: Shape 3612">
              <a:extLst>
                <a:ext uri="{FF2B5EF4-FFF2-40B4-BE49-F238E27FC236}">
                  <a16:creationId xmlns:a16="http://schemas.microsoft.com/office/drawing/2014/main" id="{A0BE5A1B-04D3-44AF-A04E-256A45ACA0B3}"/>
                </a:ext>
              </a:extLst>
            </p:cNvPr>
            <p:cNvSpPr/>
            <p:nvPr/>
          </p:nvSpPr>
          <p:spPr>
            <a:xfrm>
              <a:off x="5746343" y="223410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4" name="Freeform: Shape 3613">
              <a:extLst>
                <a:ext uri="{FF2B5EF4-FFF2-40B4-BE49-F238E27FC236}">
                  <a16:creationId xmlns:a16="http://schemas.microsoft.com/office/drawing/2014/main" id="{9EA8BB34-962A-4075-B581-3DA1BD6F78B8}"/>
                </a:ext>
              </a:extLst>
            </p:cNvPr>
            <p:cNvSpPr/>
            <p:nvPr/>
          </p:nvSpPr>
          <p:spPr>
            <a:xfrm>
              <a:off x="5655994" y="2105031"/>
              <a:ext cx="258141" cy="258141"/>
            </a:xfrm>
            <a:custGeom>
              <a:avLst/>
              <a:gdLst>
                <a:gd name="connsiteX0" fmla="*/ 174246 w 258141"/>
                <a:gd name="connsiteY0" fmla="*/ 122617 h 258141"/>
                <a:gd name="connsiteX1" fmla="*/ 135525 w 258141"/>
                <a:gd name="connsiteY1" fmla="*/ 161338 h 258141"/>
                <a:gd name="connsiteX2" fmla="*/ 96803 w 258141"/>
                <a:gd name="connsiteY2" fmla="*/ 122617 h 258141"/>
                <a:gd name="connsiteX3" fmla="*/ 148431 w 258141"/>
                <a:gd name="connsiteY3" fmla="*/ 96803 h 258141"/>
                <a:gd name="connsiteX4" fmla="*/ 174246 w 258141"/>
                <a:gd name="connsiteY4" fmla="*/ 12261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22617"/>
                  </a:moveTo>
                  <a:cubicBezTo>
                    <a:pt x="174246" y="135524"/>
                    <a:pt x="161338" y="161338"/>
                    <a:pt x="135525" y="161338"/>
                  </a:cubicBezTo>
                  <a:cubicBezTo>
                    <a:pt x="122617" y="161338"/>
                    <a:pt x="96803" y="148431"/>
                    <a:pt x="96803" y="122617"/>
                  </a:cubicBezTo>
                  <a:cubicBezTo>
                    <a:pt x="96803" y="96803"/>
                    <a:pt x="122617" y="96803"/>
                    <a:pt x="148431" y="96803"/>
                  </a:cubicBezTo>
                  <a:cubicBezTo>
                    <a:pt x="161338" y="96803"/>
                    <a:pt x="174246" y="109710"/>
                    <a:pt x="174246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5" name="Freeform: Shape 3614">
              <a:extLst>
                <a:ext uri="{FF2B5EF4-FFF2-40B4-BE49-F238E27FC236}">
                  <a16:creationId xmlns:a16="http://schemas.microsoft.com/office/drawing/2014/main" id="{4451E7A7-81BF-4172-A118-A48B2AC5163E}"/>
                </a:ext>
              </a:extLst>
            </p:cNvPr>
            <p:cNvSpPr/>
            <p:nvPr/>
          </p:nvSpPr>
          <p:spPr>
            <a:xfrm>
              <a:off x="5849600" y="189851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5" y="96803"/>
                  </a:cubicBezTo>
                  <a:cubicBezTo>
                    <a:pt x="148431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6" name="Freeform: Shape 3615">
              <a:extLst>
                <a:ext uri="{FF2B5EF4-FFF2-40B4-BE49-F238E27FC236}">
                  <a16:creationId xmlns:a16="http://schemas.microsoft.com/office/drawing/2014/main" id="{ADC387DB-1A46-4313-ABD1-81C4564E3B32}"/>
                </a:ext>
              </a:extLst>
            </p:cNvPr>
            <p:cNvSpPr/>
            <p:nvPr/>
          </p:nvSpPr>
          <p:spPr>
            <a:xfrm>
              <a:off x="5702559" y="1975961"/>
              <a:ext cx="258141" cy="258141"/>
            </a:xfrm>
            <a:custGeom>
              <a:avLst/>
              <a:gdLst>
                <a:gd name="connsiteX0" fmla="*/ 179309 w 258141"/>
                <a:gd name="connsiteY0" fmla="*/ 135524 h 258141"/>
                <a:gd name="connsiteX1" fmla="*/ 140588 w 258141"/>
                <a:gd name="connsiteY1" fmla="*/ 174245 h 258141"/>
                <a:gd name="connsiteX2" fmla="*/ 101866 w 258141"/>
                <a:gd name="connsiteY2" fmla="*/ 135524 h 258141"/>
                <a:gd name="connsiteX3" fmla="*/ 127681 w 258141"/>
                <a:gd name="connsiteY3" fmla="*/ 96803 h 258141"/>
                <a:gd name="connsiteX4" fmla="*/ 179309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9309" y="135524"/>
                  </a:moveTo>
                  <a:cubicBezTo>
                    <a:pt x="179309" y="161338"/>
                    <a:pt x="153495" y="174245"/>
                    <a:pt x="140588" y="174245"/>
                  </a:cubicBezTo>
                  <a:cubicBezTo>
                    <a:pt x="114773" y="174245"/>
                    <a:pt x="101866" y="148431"/>
                    <a:pt x="101866" y="135524"/>
                  </a:cubicBezTo>
                  <a:cubicBezTo>
                    <a:pt x="88960" y="109710"/>
                    <a:pt x="101866" y="96803"/>
                    <a:pt x="127681" y="96803"/>
                  </a:cubicBezTo>
                  <a:cubicBezTo>
                    <a:pt x="153495" y="96803"/>
                    <a:pt x="179309" y="109710"/>
                    <a:pt x="179309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7" name="Freeform: Shape 3616">
              <a:extLst>
                <a:ext uri="{FF2B5EF4-FFF2-40B4-BE49-F238E27FC236}">
                  <a16:creationId xmlns:a16="http://schemas.microsoft.com/office/drawing/2014/main" id="{9699FB2E-C816-4D7B-A6F8-FB50F4BCAA27}"/>
                </a:ext>
              </a:extLst>
            </p:cNvPr>
            <p:cNvSpPr/>
            <p:nvPr/>
          </p:nvSpPr>
          <p:spPr>
            <a:xfrm>
              <a:off x="7604961" y="1188630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60"/>
                    <a:pt x="200059" y="225874"/>
                    <a:pt x="161338" y="225874"/>
                  </a:cubicBez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8" name="Freeform: Shape 3617">
              <a:extLst>
                <a:ext uri="{FF2B5EF4-FFF2-40B4-BE49-F238E27FC236}">
                  <a16:creationId xmlns:a16="http://schemas.microsoft.com/office/drawing/2014/main" id="{5EB8FBA8-9B89-4312-8802-D31295B1519B}"/>
                </a:ext>
              </a:extLst>
            </p:cNvPr>
            <p:cNvSpPr/>
            <p:nvPr/>
          </p:nvSpPr>
          <p:spPr>
            <a:xfrm>
              <a:off x="5746343" y="1201537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19" name="Freeform: Shape 3618">
              <a:extLst>
                <a:ext uri="{FF2B5EF4-FFF2-40B4-BE49-F238E27FC236}">
                  <a16:creationId xmlns:a16="http://schemas.microsoft.com/office/drawing/2014/main" id="{DCCD3684-E731-4AC1-8AAB-F99BD5F4BB66}"/>
                </a:ext>
              </a:extLst>
            </p:cNvPr>
            <p:cNvSpPr/>
            <p:nvPr/>
          </p:nvSpPr>
          <p:spPr>
            <a:xfrm>
              <a:off x="6004485" y="126607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1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0" name="Freeform: Shape 3619">
              <a:extLst>
                <a:ext uri="{FF2B5EF4-FFF2-40B4-BE49-F238E27FC236}">
                  <a16:creationId xmlns:a16="http://schemas.microsoft.com/office/drawing/2014/main" id="{2DB18AE2-0D73-43D3-B89B-61DBEF369936}"/>
                </a:ext>
              </a:extLst>
            </p:cNvPr>
            <p:cNvSpPr/>
            <p:nvPr/>
          </p:nvSpPr>
          <p:spPr>
            <a:xfrm>
              <a:off x="7088678" y="189851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1" name="Freeform: Shape 3620">
              <a:extLst>
                <a:ext uri="{FF2B5EF4-FFF2-40B4-BE49-F238E27FC236}">
                  <a16:creationId xmlns:a16="http://schemas.microsoft.com/office/drawing/2014/main" id="{7CD2F2EB-C332-46AC-8DF1-ABD378361489}"/>
                </a:ext>
              </a:extLst>
            </p:cNvPr>
            <p:cNvSpPr/>
            <p:nvPr/>
          </p:nvSpPr>
          <p:spPr>
            <a:xfrm>
              <a:off x="6507860" y="2127412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2" name="Freeform: Shape 3621">
              <a:extLst>
                <a:ext uri="{FF2B5EF4-FFF2-40B4-BE49-F238E27FC236}">
                  <a16:creationId xmlns:a16="http://schemas.microsoft.com/office/drawing/2014/main" id="{904441C3-5765-45D0-96B4-54DAC89078D7}"/>
                </a:ext>
              </a:extLst>
            </p:cNvPr>
            <p:cNvSpPr/>
            <p:nvPr/>
          </p:nvSpPr>
          <p:spPr>
            <a:xfrm>
              <a:off x="5888321" y="2027589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3" name="Freeform: Shape 3622">
              <a:extLst>
                <a:ext uri="{FF2B5EF4-FFF2-40B4-BE49-F238E27FC236}">
                  <a16:creationId xmlns:a16="http://schemas.microsoft.com/office/drawing/2014/main" id="{8C76EC2E-7522-44F1-8FDC-89B1CA4DED12}"/>
                </a:ext>
              </a:extLst>
            </p:cNvPr>
            <p:cNvSpPr/>
            <p:nvPr/>
          </p:nvSpPr>
          <p:spPr>
            <a:xfrm>
              <a:off x="5785064" y="179526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4" name="Freeform: Shape 3623">
              <a:extLst>
                <a:ext uri="{FF2B5EF4-FFF2-40B4-BE49-F238E27FC236}">
                  <a16:creationId xmlns:a16="http://schemas.microsoft.com/office/drawing/2014/main" id="{F792F36C-FF80-4384-BDE4-9F863839257D}"/>
                </a:ext>
              </a:extLst>
            </p:cNvPr>
            <p:cNvSpPr/>
            <p:nvPr/>
          </p:nvSpPr>
          <p:spPr>
            <a:xfrm>
              <a:off x="7321005" y="211793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5" name="Freeform: Shape 3624">
              <a:extLst>
                <a:ext uri="{FF2B5EF4-FFF2-40B4-BE49-F238E27FC236}">
                  <a16:creationId xmlns:a16="http://schemas.microsoft.com/office/drawing/2014/main" id="{3CF7FD2C-6027-47CE-BF1E-1F770F48D31E}"/>
                </a:ext>
              </a:extLst>
            </p:cNvPr>
            <p:cNvSpPr/>
            <p:nvPr/>
          </p:nvSpPr>
          <p:spPr>
            <a:xfrm>
              <a:off x="7179028" y="2230669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6" name="Freeform: Shape 3625">
              <a:extLst>
                <a:ext uri="{FF2B5EF4-FFF2-40B4-BE49-F238E27FC236}">
                  <a16:creationId xmlns:a16="http://schemas.microsoft.com/office/drawing/2014/main" id="{3D960A95-31A6-4AF2-B2B5-944138F74D96}"/>
                </a:ext>
              </a:extLst>
            </p:cNvPr>
            <p:cNvSpPr/>
            <p:nvPr/>
          </p:nvSpPr>
          <p:spPr>
            <a:xfrm>
              <a:off x="7424262" y="2254852"/>
              <a:ext cx="129071" cy="129071"/>
            </a:xfrm>
            <a:custGeom>
              <a:avLst/>
              <a:gdLst>
                <a:gd name="connsiteX0" fmla="*/ 148431 w 129070"/>
                <a:gd name="connsiteY0" fmla="*/ 127681 h 129070"/>
                <a:gd name="connsiteX1" fmla="*/ 122617 w 129070"/>
                <a:gd name="connsiteY1" fmla="*/ 153495 h 129070"/>
                <a:gd name="connsiteX2" fmla="*/ 96803 w 129070"/>
                <a:gd name="connsiteY2" fmla="*/ 127681 h 129070"/>
                <a:gd name="connsiteX3" fmla="*/ 122617 w 129070"/>
                <a:gd name="connsiteY3" fmla="*/ 101866 h 129070"/>
                <a:gd name="connsiteX4" fmla="*/ 148431 w 129070"/>
                <a:gd name="connsiteY4" fmla="*/ 127681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1"/>
                  </a:moveTo>
                  <a:cubicBezTo>
                    <a:pt x="148431" y="140588"/>
                    <a:pt x="135524" y="153495"/>
                    <a:pt x="122617" y="153495"/>
                  </a:cubicBezTo>
                  <a:cubicBezTo>
                    <a:pt x="109710" y="153495"/>
                    <a:pt x="96803" y="140588"/>
                    <a:pt x="96803" y="127681"/>
                  </a:cubicBezTo>
                  <a:cubicBezTo>
                    <a:pt x="96803" y="114774"/>
                    <a:pt x="109710" y="101866"/>
                    <a:pt x="122617" y="101866"/>
                  </a:cubicBezTo>
                  <a:cubicBezTo>
                    <a:pt x="135524" y="88959"/>
                    <a:pt x="148431" y="101866"/>
                    <a:pt x="148431" y="1276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7" name="Freeform: Shape 3626">
              <a:extLst>
                <a:ext uri="{FF2B5EF4-FFF2-40B4-BE49-F238E27FC236}">
                  <a16:creationId xmlns:a16="http://schemas.microsoft.com/office/drawing/2014/main" id="{7D57E2EE-7B31-4CEE-8CAC-BCC5B0FBA7F8}"/>
                </a:ext>
              </a:extLst>
            </p:cNvPr>
            <p:cNvSpPr/>
            <p:nvPr/>
          </p:nvSpPr>
          <p:spPr>
            <a:xfrm>
              <a:off x="7075771" y="214375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109710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8" name="Freeform: Shape 3627">
              <a:extLst>
                <a:ext uri="{FF2B5EF4-FFF2-40B4-BE49-F238E27FC236}">
                  <a16:creationId xmlns:a16="http://schemas.microsoft.com/office/drawing/2014/main" id="{FBF1FAAD-C6DB-4B1D-BFA1-BB9750FA0343}"/>
                </a:ext>
              </a:extLst>
            </p:cNvPr>
            <p:cNvSpPr/>
            <p:nvPr/>
          </p:nvSpPr>
          <p:spPr>
            <a:xfrm>
              <a:off x="7566240" y="218247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29" name="Freeform: Shape 3628">
              <a:extLst>
                <a:ext uri="{FF2B5EF4-FFF2-40B4-BE49-F238E27FC236}">
                  <a16:creationId xmlns:a16="http://schemas.microsoft.com/office/drawing/2014/main" id="{E62803F1-370C-4DCA-9E97-0C8CE9343B3D}"/>
                </a:ext>
              </a:extLst>
            </p:cNvPr>
            <p:cNvSpPr/>
            <p:nvPr/>
          </p:nvSpPr>
          <p:spPr>
            <a:xfrm>
              <a:off x="7308099" y="228573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0" name="Freeform: Shape 3629">
              <a:extLst>
                <a:ext uri="{FF2B5EF4-FFF2-40B4-BE49-F238E27FC236}">
                  <a16:creationId xmlns:a16="http://schemas.microsoft.com/office/drawing/2014/main" id="{23D03EFE-4978-47DB-AE9A-994DD81B96B9}"/>
                </a:ext>
              </a:extLst>
            </p:cNvPr>
            <p:cNvSpPr/>
            <p:nvPr/>
          </p:nvSpPr>
          <p:spPr>
            <a:xfrm>
              <a:off x="7166120" y="211793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1" name="Freeform: Shape 3630">
              <a:extLst>
                <a:ext uri="{FF2B5EF4-FFF2-40B4-BE49-F238E27FC236}">
                  <a16:creationId xmlns:a16="http://schemas.microsoft.com/office/drawing/2014/main" id="{342FB2B8-C0F7-4634-8D23-1FD12DD9C970}"/>
                </a:ext>
              </a:extLst>
            </p:cNvPr>
            <p:cNvSpPr/>
            <p:nvPr/>
          </p:nvSpPr>
          <p:spPr>
            <a:xfrm>
              <a:off x="7462983" y="210503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2" name="Freeform: Shape 3631">
              <a:extLst>
                <a:ext uri="{FF2B5EF4-FFF2-40B4-BE49-F238E27FC236}">
                  <a16:creationId xmlns:a16="http://schemas.microsoft.com/office/drawing/2014/main" id="{191DB07A-3960-41BC-8BB4-8BE4F80ED63B}"/>
                </a:ext>
              </a:extLst>
            </p:cNvPr>
            <p:cNvSpPr/>
            <p:nvPr/>
          </p:nvSpPr>
          <p:spPr>
            <a:xfrm>
              <a:off x="7398448" y="214375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3" name="Freeform: Shape 3632">
              <a:extLst>
                <a:ext uri="{FF2B5EF4-FFF2-40B4-BE49-F238E27FC236}">
                  <a16:creationId xmlns:a16="http://schemas.microsoft.com/office/drawing/2014/main" id="{A62A3774-F464-491F-B64D-94A2F8730B5B}"/>
                </a:ext>
              </a:extLst>
            </p:cNvPr>
            <p:cNvSpPr/>
            <p:nvPr/>
          </p:nvSpPr>
          <p:spPr>
            <a:xfrm>
              <a:off x="7101585" y="2202551"/>
              <a:ext cx="129071" cy="129071"/>
            </a:xfrm>
            <a:custGeom>
              <a:avLst/>
              <a:gdLst>
                <a:gd name="connsiteX0" fmla="*/ 135524 w 129070"/>
                <a:gd name="connsiteY0" fmla="*/ 102539 h 129070"/>
                <a:gd name="connsiteX1" fmla="*/ 109710 w 129070"/>
                <a:gd name="connsiteY1" fmla="*/ 128354 h 129070"/>
                <a:gd name="connsiteX2" fmla="*/ 96803 w 129070"/>
                <a:gd name="connsiteY2" fmla="*/ 115446 h 129070"/>
                <a:gd name="connsiteX3" fmla="*/ 109710 w 129070"/>
                <a:gd name="connsiteY3" fmla="*/ 102539 h 129070"/>
                <a:gd name="connsiteX4" fmla="*/ 135524 w 129070"/>
                <a:gd name="connsiteY4" fmla="*/ 102539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35524" y="102539"/>
                  </a:moveTo>
                  <a:cubicBezTo>
                    <a:pt x="135524" y="115446"/>
                    <a:pt x="122617" y="128354"/>
                    <a:pt x="109710" y="128354"/>
                  </a:cubicBezTo>
                  <a:cubicBezTo>
                    <a:pt x="96803" y="128354"/>
                    <a:pt x="96803" y="115446"/>
                    <a:pt x="96803" y="115446"/>
                  </a:cubicBezTo>
                  <a:cubicBezTo>
                    <a:pt x="96803" y="102539"/>
                    <a:pt x="109710" y="102539"/>
                    <a:pt x="109710" y="102539"/>
                  </a:cubicBezTo>
                  <a:cubicBezTo>
                    <a:pt x="122617" y="89632"/>
                    <a:pt x="135524" y="102539"/>
                    <a:pt x="135524" y="1025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4" name="Freeform: Shape 3633">
              <a:extLst>
                <a:ext uri="{FF2B5EF4-FFF2-40B4-BE49-F238E27FC236}">
                  <a16:creationId xmlns:a16="http://schemas.microsoft.com/office/drawing/2014/main" id="{4400592C-9CFF-4E53-BD18-FB5DAB9D3F42}"/>
                </a:ext>
              </a:extLst>
            </p:cNvPr>
            <p:cNvSpPr/>
            <p:nvPr/>
          </p:nvSpPr>
          <p:spPr>
            <a:xfrm>
              <a:off x="7243563" y="2195381"/>
              <a:ext cx="129071" cy="129071"/>
            </a:xfrm>
            <a:custGeom>
              <a:avLst/>
              <a:gdLst>
                <a:gd name="connsiteX0" fmla="*/ 122617 w 129070"/>
                <a:gd name="connsiteY0" fmla="*/ 109710 h 129070"/>
                <a:gd name="connsiteX1" fmla="*/ 109710 w 129070"/>
                <a:gd name="connsiteY1" fmla="*/ 122617 h 129070"/>
                <a:gd name="connsiteX2" fmla="*/ 96803 w 129070"/>
                <a:gd name="connsiteY2" fmla="*/ 109710 h 129070"/>
                <a:gd name="connsiteX3" fmla="*/ 109710 w 129070"/>
                <a:gd name="connsiteY3" fmla="*/ 96803 h 129070"/>
                <a:gd name="connsiteX4" fmla="*/ 122617 w 129070"/>
                <a:gd name="connsiteY4" fmla="*/ 109710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22617" y="109710"/>
                  </a:moveTo>
                  <a:cubicBezTo>
                    <a:pt x="122617" y="116838"/>
                    <a:pt x="116838" y="122617"/>
                    <a:pt x="109710" y="122617"/>
                  </a:cubicBezTo>
                  <a:cubicBezTo>
                    <a:pt x="102582" y="122617"/>
                    <a:pt x="96803" y="116839"/>
                    <a:pt x="96803" y="109710"/>
                  </a:cubicBezTo>
                  <a:cubicBezTo>
                    <a:pt x="96803" y="102582"/>
                    <a:pt x="102582" y="96803"/>
                    <a:pt x="109710" y="96803"/>
                  </a:cubicBezTo>
                  <a:cubicBezTo>
                    <a:pt x="116839" y="96803"/>
                    <a:pt x="122617" y="102582"/>
                    <a:pt x="122617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5" name="Freeform: Shape 3634">
              <a:extLst>
                <a:ext uri="{FF2B5EF4-FFF2-40B4-BE49-F238E27FC236}">
                  <a16:creationId xmlns:a16="http://schemas.microsoft.com/office/drawing/2014/main" id="{89872915-23DD-4BD7-9542-EBAB8CEF7D3E}"/>
                </a:ext>
              </a:extLst>
            </p:cNvPr>
            <p:cNvSpPr/>
            <p:nvPr/>
          </p:nvSpPr>
          <p:spPr>
            <a:xfrm>
              <a:off x="4842849" y="1472585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6" name="Freeform: Shape 3635">
              <a:extLst>
                <a:ext uri="{FF2B5EF4-FFF2-40B4-BE49-F238E27FC236}">
                  <a16:creationId xmlns:a16="http://schemas.microsoft.com/office/drawing/2014/main" id="{E4967326-83C3-480E-BBE7-1CE9CEE54CC7}"/>
                </a:ext>
              </a:extLst>
            </p:cNvPr>
            <p:cNvSpPr/>
            <p:nvPr/>
          </p:nvSpPr>
          <p:spPr>
            <a:xfrm>
              <a:off x="4029704" y="1494966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7" name="Freeform: Shape 3636">
              <a:extLst>
                <a:ext uri="{FF2B5EF4-FFF2-40B4-BE49-F238E27FC236}">
                  <a16:creationId xmlns:a16="http://schemas.microsoft.com/office/drawing/2014/main" id="{66EB1209-980C-4F24-AE69-F5686F393904}"/>
                </a:ext>
              </a:extLst>
            </p:cNvPr>
            <p:cNvSpPr/>
            <p:nvPr/>
          </p:nvSpPr>
          <p:spPr>
            <a:xfrm>
              <a:off x="3745748" y="160165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8" name="Freeform: Shape 3637">
              <a:extLst>
                <a:ext uri="{FF2B5EF4-FFF2-40B4-BE49-F238E27FC236}">
                  <a16:creationId xmlns:a16="http://schemas.microsoft.com/office/drawing/2014/main" id="{6F686E3C-1893-4719-BA67-EF7091D47252}"/>
                </a:ext>
              </a:extLst>
            </p:cNvPr>
            <p:cNvSpPr/>
            <p:nvPr/>
          </p:nvSpPr>
          <p:spPr>
            <a:xfrm>
              <a:off x="3397258" y="1872704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196980"/>
                    <a:pt x="196980" y="225874"/>
                    <a:pt x="161338" y="225874"/>
                  </a:cubicBezTo>
                  <a:cubicBezTo>
                    <a:pt x="125697" y="225874"/>
                    <a:pt x="96803" y="196980"/>
                    <a:pt x="96803" y="161338"/>
                  </a:cubicBezTo>
                  <a:cubicBezTo>
                    <a:pt x="96803" y="125696"/>
                    <a:pt x="125697" y="96803"/>
                    <a:pt x="161338" y="96803"/>
                  </a:cubicBezTo>
                  <a:cubicBezTo>
                    <a:pt x="196980" y="96803"/>
                    <a:pt x="225874" y="125696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39" name="Freeform: Shape 3638">
              <a:extLst>
                <a:ext uri="{FF2B5EF4-FFF2-40B4-BE49-F238E27FC236}">
                  <a16:creationId xmlns:a16="http://schemas.microsoft.com/office/drawing/2014/main" id="{57F6371E-6D7F-4BAB-BE24-1F055F735DCB}"/>
                </a:ext>
              </a:extLst>
            </p:cNvPr>
            <p:cNvSpPr/>
            <p:nvPr/>
          </p:nvSpPr>
          <p:spPr>
            <a:xfrm>
              <a:off x="3719934" y="2347734"/>
              <a:ext cx="258141" cy="258141"/>
            </a:xfrm>
            <a:custGeom>
              <a:avLst/>
              <a:gdLst>
                <a:gd name="connsiteX0" fmla="*/ 225874 w 258141"/>
                <a:gd name="connsiteY0" fmla="*/ 163870 h 258141"/>
                <a:gd name="connsiteX1" fmla="*/ 161338 w 258141"/>
                <a:gd name="connsiteY1" fmla="*/ 228405 h 258141"/>
                <a:gd name="connsiteX2" fmla="*/ 96803 w 258141"/>
                <a:gd name="connsiteY2" fmla="*/ 163870 h 258141"/>
                <a:gd name="connsiteX3" fmla="*/ 161338 w 258141"/>
                <a:gd name="connsiteY3" fmla="*/ 99335 h 258141"/>
                <a:gd name="connsiteX4" fmla="*/ 225874 w 258141"/>
                <a:gd name="connsiteY4" fmla="*/ 16387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3870"/>
                  </a:moveTo>
                  <a:cubicBezTo>
                    <a:pt x="225874" y="202591"/>
                    <a:pt x="200059" y="228405"/>
                    <a:pt x="161338" y="228405"/>
                  </a:cubicBezTo>
                  <a:cubicBezTo>
                    <a:pt x="122617" y="228405"/>
                    <a:pt x="96803" y="202591"/>
                    <a:pt x="96803" y="163870"/>
                  </a:cubicBezTo>
                  <a:cubicBezTo>
                    <a:pt x="96803" y="125149"/>
                    <a:pt x="122617" y="99335"/>
                    <a:pt x="161338" y="99335"/>
                  </a:cubicBezTo>
                  <a:cubicBezTo>
                    <a:pt x="200059" y="86428"/>
                    <a:pt x="225874" y="125149"/>
                    <a:pt x="225874" y="163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0" name="Freeform: Shape 3639">
              <a:extLst>
                <a:ext uri="{FF2B5EF4-FFF2-40B4-BE49-F238E27FC236}">
                  <a16:creationId xmlns:a16="http://schemas.microsoft.com/office/drawing/2014/main" id="{9E0B2208-B67F-4470-80EC-AB1D706295DE}"/>
                </a:ext>
              </a:extLst>
            </p:cNvPr>
            <p:cNvSpPr/>
            <p:nvPr/>
          </p:nvSpPr>
          <p:spPr>
            <a:xfrm>
              <a:off x="2467949" y="1898518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196980"/>
                    <a:pt x="196980" y="225874"/>
                    <a:pt x="161338" y="225874"/>
                  </a:cubicBezTo>
                  <a:cubicBezTo>
                    <a:pt x="125696" y="225874"/>
                    <a:pt x="96803" y="196980"/>
                    <a:pt x="96803" y="161338"/>
                  </a:cubicBezTo>
                  <a:cubicBezTo>
                    <a:pt x="96803" y="125696"/>
                    <a:pt x="125696" y="96803"/>
                    <a:pt x="161338" y="96803"/>
                  </a:cubicBezTo>
                  <a:cubicBezTo>
                    <a:pt x="196980" y="96803"/>
                    <a:pt x="225874" y="125696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1" name="Freeform: Shape 3640">
              <a:extLst>
                <a:ext uri="{FF2B5EF4-FFF2-40B4-BE49-F238E27FC236}">
                  <a16:creationId xmlns:a16="http://schemas.microsoft.com/office/drawing/2014/main" id="{308801C4-5F6D-4B01-94EC-2507E3E24DA5}"/>
                </a:ext>
              </a:extLst>
            </p:cNvPr>
            <p:cNvSpPr/>
            <p:nvPr/>
          </p:nvSpPr>
          <p:spPr>
            <a:xfrm>
              <a:off x="2635741" y="2117938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196980"/>
                    <a:pt x="196980" y="225874"/>
                    <a:pt x="161338" y="225874"/>
                  </a:cubicBezTo>
                  <a:cubicBezTo>
                    <a:pt x="125697" y="225874"/>
                    <a:pt x="96803" y="196980"/>
                    <a:pt x="96803" y="161338"/>
                  </a:cubicBezTo>
                  <a:cubicBezTo>
                    <a:pt x="96803" y="125697"/>
                    <a:pt x="125697" y="96803"/>
                    <a:pt x="161338" y="96803"/>
                  </a:cubicBezTo>
                  <a:cubicBezTo>
                    <a:pt x="196980" y="96803"/>
                    <a:pt x="225874" y="12569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2" name="Freeform: Shape 3641">
              <a:extLst>
                <a:ext uri="{FF2B5EF4-FFF2-40B4-BE49-F238E27FC236}">
                  <a16:creationId xmlns:a16="http://schemas.microsoft.com/office/drawing/2014/main" id="{63BE84EB-F034-44CC-B34C-131BA2108465}"/>
                </a:ext>
              </a:extLst>
            </p:cNvPr>
            <p:cNvSpPr/>
            <p:nvPr/>
          </p:nvSpPr>
          <p:spPr>
            <a:xfrm>
              <a:off x="2003295" y="2182474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60" y="225874"/>
                    <a:pt x="161338" y="225874"/>
                  </a:cubicBez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3" name="Freeform: Shape 3642">
              <a:extLst>
                <a:ext uri="{FF2B5EF4-FFF2-40B4-BE49-F238E27FC236}">
                  <a16:creationId xmlns:a16="http://schemas.microsoft.com/office/drawing/2014/main" id="{BEB0FB2F-D585-441F-AF03-3441298AF5BA}"/>
                </a:ext>
              </a:extLst>
            </p:cNvPr>
            <p:cNvSpPr/>
            <p:nvPr/>
          </p:nvSpPr>
          <p:spPr>
            <a:xfrm>
              <a:off x="1487012" y="2453522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196980"/>
                    <a:pt x="196980" y="225874"/>
                    <a:pt x="161338" y="225874"/>
                  </a:cubicBezTo>
                  <a:cubicBezTo>
                    <a:pt x="125696" y="225874"/>
                    <a:pt x="96803" y="196980"/>
                    <a:pt x="96803" y="161338"/>
                  </a:cubicBezTo>
                  <a:cubicBezTo>
                    <a:pt x="96803" y="125696"/>
                    <a:pt x="125696" y="96803"/>
                    <a:pt x="161338" y="96803"/>
                  </a:cubicBezTo>
                  <a:cubicBezTo>
                    <a:pt x="196980" y="96803"/>
                    <a:pt x="225874" y="125696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4" name="Freeform: Shape 3643">
              <a:extLst>
                <a:ext uri="{FF2B5EF4-FFF2-40B4-BE49-F238E27FC236}">
                  <a16:creationId xmlns:a16="http://schemas.microsoft.com/office/drawing/2014/main" id="{3418757D-3B4C-4B22-A839-87D7C5578FD2}"/>
                </a:ext>
              </a:extLst>
            </p:cNvPr>
            <p:cNvSpPr/>
            <p:nvPr/>
          </p:nvSpPr>
          <p:spPr>
            <a:xfrm>
              <a:off x="506075" y="2079217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196980"/>
                    <a:pt x="196980" y="225874"/>
                    <a:pt x="161338" y="225874"/>
                  </a:cubicBezTo>
                  <a:cubicBezTo>
                    <a:pt x="125696" y="225874"/>
                    <a:pt x="96803" y="196980"/>
                    <a:pt x="96803" y="161338"/>
                  </a:cubicBezTo>
                  <a:cubicBezTo>
                    <a:pt x="96803" y="125696"/>
                    <a:pt x="125696" y="96803"/>
                    <a:pt x="161338" y="96803"/>
                  </a:cubicBezTo>
                  <a:cubicBezTo>
                    <a:pt x="196980" y="96803"/>
                    <a:pt x="225874" y="125696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5" name="Freeform: Shape 3644">
              <a:extLst>
                <a:ext uri="{FF2B5EF4-FFF2-40B4-BE49-F238E27FC236}">
                  <a16:creationId xmlns:a16="http://schemas.microsoft.com/office/drawing/2014/main" id="{34075DF0-83D6-4D53-A8EB-0BBD0654967A}"/>
                </a:ext>
              </a:extLst>
            </p:cNvPr>
            <p:cNvSpPr/>
            <p:nvPr/>
          </p:nvSpPr>
          <p:spPr>
            <a:xfrm>
              <a:off x="544796" y="2466429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196980"/>
                    <a:pt x="196980" y="225874"/>
                    <a:pt x="161338" y="225874"/>
                  </a:cubicBezTo>
                  <a:cubicBezTo>
                    <a:pt x="125696" y="225874"/>
                    <a:pt x="96803" y="196980"/>
                    <a:pt x="96803" y="161338"/>
                  </a:cubicBezTo>
                  <a:cubicBezTo>
                    <a:pt x="96803" y="125696"/>
                    <a:pt x="125696" y="96803"/>
                    <a:pt x="161338" y="96803"/>
                  </a:cubicBezTo>
                  <a:cubicBezTo>
                    <a:pt x="196980" y="96803"/>
                    <a:pt x="225874" y="125696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6" name="Freeform: Shape 3645">
              <a:extLst>
                <a:ext uri="{FF2B5EF4-FFF2-40B4-BE49-F238E27FC236}">
                  <a16:creationId xmlns:a16="http://schemas.microsoft.com/office/drawing/2014/main" id="{869AC3A8-2FE2-4263-BC13-2F39A542646B}"/>
                </a:ext>
              </a:extLst>
            </p:cNvPr>
            <p:cNvSpPr/>
            <p:nvPr/>
          </p:nvSpPr>
          <p:spPr>
            <a:xfrm>
              <a:off x="4378195" y="164037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7" name="Freeform: Shape 3646">
              <a:extLst>
                <a:ext uri="{FF2B5EF4-FFF2-40B4-BE49-F238E27FC236}">
                  <a16:creationId xmlns:a16="http://schemas.microsoft.com/office/drawing/2014/main" id="{813FA4D7-9146-4F48-9BAD-758C646CEC66}"/>
                </a:ext>
              </a:extLst>
            </p:cNvPr>
            <p:cNvSpPr/>
            <p:nvPr/>
          </p:nvSpPr>
          <p:spPr>
            <a:xfrm>
              <a:off x="4933198" y="193723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8" name="Freeform: Shape 3647">
              <a:extLst>
                <a:ext uri="{FF2B5EF4-FFF2-40B4-BE49-F238E27FC236}">
                  <a16:creationId xmlns:a16="http://schemas.microsoft.com/office/drawing/2014/main" id="{6DCA7E67-2A8D-4CBF-B629-275C6BAB54B3}"/>
                </a:ext>
              </a:extLst>
            </p:cNvPr>
            <p:cNvSpPr/>
            <p:nvPr/>
          </p:nvSpPr>
          <p:spPr>
            <a:xfrm>
              <a:off x="4339473" y="1920899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26050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49" name="Freeform: Shape 3648">
              <a:extLst>
                <a:ext uri="{FF2B5EF4-FFF2-40B4-BE49-F238E27FC236}">
                  <a16:creationId xmlns:a16="http://schemas.microsoft.com/office/drawing/2014/main" id="{6F552ADE-C850-4DAC-891A-B7CA01AC604D}"/>
                </a:ext>
              </a:extLst>
            </p:cNvPr>
            <p:cNvSpPr/>
            <p:nvPr/>
          </p:nvSpPr>
          <p:spPr>
            <a:xfrm>
              <a:off x="4120053" y="166619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0" name="Freeform: Shape 3649">
              <a:extLst>
                <a:ext uri="{FF2B5EF4-FFF2-40B4-BE49-F238E27FC236}">
                  <a16:creationId xmlns:a16="http://schemas.microsoft.com/office/drawing/2014/main" id="{0B5F3A02-979E-442F-990B-5F4806015560}"/>
                </a:ext>
              </a:extLst>
            </p:cNvPr>
            <p:cNvSpPr/>
            <p:nvPr/>
          </p:nvSpPr>
          <p:spPr>
            <a:xfrm>
              <a:off x="5268782" y="2066310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1" name="Freeform: Shape 3650">
              <a:extLst>
                <a:ext uri="{FF2B5EF4-FFF2-40B4-BE49-F238E27FC236}">
                  <a16:creationId xmlns:a16="http://schemas.microsoft.com/office/drawing/2014/main" id="{E7AE8C7B-C0B4-4BF6-972B-A82A80BE7FDC}"/>
                </a:ext>
              </a:extLst>
            </p:cNvPr>
            <p:cNvSpPr/>
            <p:nvPr/>
          </p:nvSpPr>
          <p:spPr>
            <a:xfrm>
              <a:off x="5191340" y="250515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2" name="Freeform: Shape 3651">
              <a:extLst>
                <a:ext uri="{FF2B5EF4-FFF2-40B4-BE49-F238E27FC236}">
                  <a16:creationId xmlns:a16="http://schemas.microsoft.com/office/drawing/2014/main" id="{3F5833BE-D4E6-40D8-AF12-611A3AD5A3D6}"/>
                </a:ext>
              </a:extLst>
            </p:cNvPr>
            <p:cNvSpPr/>
            <p:nvPr/>
          </p:nvSpPr>
          <p:spPr>
            <a:xfrm>
              <a:off x="4636336" y="2234102"/>
              <a:ext cx="129071" cy="258141"/>
            </a:xfrm>
            <a:custGeom>
              <a:avLst/>
              <a:gdLst>
                <a:gd name="connsiteX0" fmla="*/ 148431 w 129070"/>
                <a:gd name="connsiteY0" fmla="*/ 135524 h 258141"/>
                <a:gd name="connsiteX1" fmla="*/ 122617 w 129070"/>
                <a:gd name="connsiteY1" fmla="*/ 161338 h 258141"/>
                <a:gd name="connsiteX2" fmla="*/ 96803 w 129070"/>
                <a:gd name="connsiteY2" fmla="*/ 135524 h 258141"/>
                <a:gd name="connsiteX3" fmla="*/ 122617 w 129070"/>
                <a:gd name="connsiteY3" fmla="*/ 96803 h 258141"/>
                <a:gd name="connsiteX4" fmla="*/ 148431 w 129070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258141">
                  <a:moveTo>
                    <a:pt x="148431" y="135524"/>
                  </a:moveTo>
                  <a:cubicBezTo>
                    <a:pt x="148431" y="148431"/>
                    <a:pt x="135524" y="161338"/>
                    <a:pt x="122617" y="161338"/>
                  </a:cubicBezTo>
                  <a:cubicBezTo>
                    <a:pt x="109710" y="161338"/>
                    <a:pt x="96803" y="148431"/>
                    <a:pt x="96803" y="135524"/>
                  </a:cubicBezTo>
                  <a:cubicBezTo>
                    <a:pt x="96803" y="122617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3" name="Freeform: Shape 3652">
              <a:extLst>
                <a:ext uri="{FF2B5EF4-FFF2-40B4-BE49-F238E27FC236}">
                  <a16:creationId xmlns:a16="http://schemas.microsoft.com/office/drawing/2014/main" id="{F0619979-3F40-43FA-8D5F-394E167213CF}"/>
                </a:ext>
              </a:extLst>
            </p:cNvPr>
            <p:cNvSpPr/>
            <p:nvPr/>
          </p:nvSpPr>
          <p:spPr>
            <a:xfrm>
              <a:off x="4623429" y="174363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4" name="Freeform: Shape 3653">
              <a:extLst>
                <a:ext uri="{FF2B5EF4-FFF2-40B4-BE49-F238E27FC236}">
                  <a16:creationId xmlns:a16="http://schemas.microsoft.com/office/drawing/2014/main" id="{8BD7599E-A022-4872-8347-E5AA02DBC2FD}"/>
                </a:ext>
              </a:extLst>
            </p:cNvPr>
            <p:cNvSpPr/>
            <p:nvPr/>
          </p:nvSpPr>
          <p:spPr>
            <a:xfrm>
              <a:off x="4455637" y="229863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5" name="Freeform: Shape 3654">
              <a:extLst>
                <a:ext uri="{FF2B5EF4-FFF2-40B4-BE49-F238E27FC236}">
                  <a16:creationId xmlns:a16="http://schemas.microsoft.com/office/drawing/2014/main" id="{C0C9F5F6-8852-4463-BDCA-56A0224EDF23}"/>
                </a:ext>
              </a:extLst>
            </p:cNvPr>
            <p:cNvSpPr/>
            <p:nvPr/>
          </p:nvSpPr>
          <p:spPr>
            <a:xfrm>
              <a:off x="4274938" y="2247009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6" name="Freeform: Shape 3655">
              <a:extLst>
                <a:ext uri="{FF2B5EF4-FFF2-40B4-BE49-F238E27FC236}">
                  <a16:creationId xmlns:a16="http://schemas.microsoft.com/office/drawing/2014/main" id="{8CD29F8C-486B-44F8-8264-0EC2B4EA59A3}"/>
                </a:ext>
              </a:extLst>
            </p:cNvPr>
            <p:cNvSpPr/>
            <p:nvPr/>
          </p:nvSpPr>
          <p:spPr>
            <a:xfrm>
              <a:off x="4481451" y="1880548"/>
              <a:ext cx="129071" cy="129071"/>
            </a:xfrm>
            <a:custGeom>
              <a:avLst/>
              <a:gdLst>
                <a:gd name="connsiteX0" fmla="*/ 148431 w 129070"/>
                <a:gd name="connsiteY0" fmla="*/ 127681 h 129070"/>
                <a:gd name="connsiteX1" fmla="*/ 122617 w 129070"/>
                <a:gd name="connsiteY1" fmla="*/ 153495 h 129070"/>
                <a:gd name="connsiteX2" fmla="*/ 96803 w 129070"/>
                <a:gd name="connsiteY2" fmla="*/ 127681 h 129070"/>
                <a:gd name="connsiteX3" fmla="*/ 122617 w 129070"/>
                <a:gd name="connsiteY3" fmla="*/ 101867 h 129070"/>
                <a:gd name="connsiteX4" fmla="*/ 148431 w 129070"/>
                <a:gd name="connsiteY4" fmla="*/ 127681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1"/>
                  </a:moveTo>
                  <a:cubicBezTo>
                    <a:pt x="148431" y="140588"/>
                    <a:pt x="135524" y="153495"/>
                    <a:pt x="122617" y="153495"/>
                  </a:cubicBezTo>
                  <a:cubicBezTo>
                    <a:pt x="109710" y="153495"/>
                    <a:pt x="96803" y="140588"/>
                    <a:pt x="96803" y="127681"/>
                  </a:cubicBezTo>
                  <a:cubicBezTo>
                    <a:pt x="96803" y="114774"/>
                    <a:pt x="109710" y="101867"/>
                    <a:pt x="122617" y="101867"/>
                  </a:cubicBezTo>
                  <a:cubicBezTo>
                    <a:pt x="135524" y="88959"/>
                    <a:pt x="148431" y="101867"/>
                    <a:pt x="148431" y="1276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7" name="Freeform: Shape 3656">
              <a:extLst>
                <a:ext uri="{FF2B5EF4-FFF2-40B4-BE49-F238E27FC236}">
                  <a16:creationId xmlns:a16="http://schemas.microsoft.com/office/drawing/2014/main" id="{24A2A8D7-8095-46E1-AAFB-AFB3051324A2}"/>
                </a:ext>
              </a:extLst>
            </p:cNvPr>
            <p:cNvSpPr/>
            <p:nvPr/>
          </p:nvSpPr>
          <p:spPr>
            <a:xfrm>
              <a:off x="4752499" y="198886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8" name="Freeform: Shape 3657">
              <a:extLst>
                <a:ext uri="{FF2B5EF4-FFF2-40B4-BE49-F238E27FC236}">
                  <a16:creationId xmlns:a16="http://schemas.microsoft.com/office/drawing/2014/main" id="{260AA63C-DB60-4567-8B3A-429E8B786F87}"/>
                </a:ext>
              </a:extLst>
            </p:cNvPr>
            <p:cNvSpPr/>
            <p:nvPr/>
          </p:nvSpPr>
          <p:spPr>
            <a:xfrm>
              <a:off x="5152619" y="2319388"/>
              <a:ext cx="129071" cy="129071"/>
            </a:xfrm>
            <a:custGeom>
              <a:avLst/>
              <a:gdLst>
                <a:gd name="connsiteX0" fmla="*/ 148431 w 129070"/>
                <a:gd name="connsiteY0" fmla="*/ 127681 h 129070"/>
                <a:gd name="connsiteX1" fmla="*/ 122617 w 129070"/>
                <a:gd name="connsiteY1" fmla="*/ 153495 h 129070"/>
                <a:gd name="connsiteX2" fmla="*/ 96803 w 129070"/>
                <a:gd name="connsiteY2" fmla="*/ 127681 h 129070"/>
                <a:gd name="connsiteX3" fmla="*/ 122617 w 129070"/>
                <a:gd name="connsiteY3" fmla="*/ 101866 h 129070"/>
                <a:gd name="connsiteX4" fmla="*/ 148431 w 129070"/>
                <a:gd name="connsiteY4" fmla="*/ 127681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1"/>
                  </a:moveTo>
                  <a:cubicBezTo>
                    <a:pt x="148431" y="140588"/>
                    <a:pt x="135524" y="153495"/>
                    <a:pt x="122617" y="153495"/>
                  </a:cubicBezTo>
                  <a:cubicBezTo>
                    <a:pt x="109710" y="153495"/>
                    <a:pt x="96803" y="140588"/>
                    <a:pt x="96803" y="127681"/>
                  </a:cubicBezTo>
                  <a:cubicBezTo>
                    <a:pt x="96803" y="114774"/>
                    <a:pt x="109710" y="101866"/>
                    <a:pt x="122617" y="101866"/>
                  </a:cubicBezTo>
                  <a:cubicBezTo>
                    <a:pt x="135524" y="88959"/>
                    <a:pt x="148431" y="101866"/>
                    <a:pt x="148431" y="1276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59" name="Freeform: Shape 3658">
              <a:extLst>
                <a:ext uri="{FF2B5EF4-FFF2-40B4-BE49-F238E27FC236}">
                  <a16:creationId xmlns:a16="http://schemas.microsoft.com/office/drawing/2014/main" id="{C6247942-2B02-49EF-87E5-87BD49897DAC}"/>
                </a:ext>
              </a:extLst>
            </p:cNvPr>
            <p:cNvSpPr/>
            <p:nvPr/>
          </p:nvSpPr>
          <p:spPr>
            <a:xfrm>
              <a:off x="5139711" y="2448458"/>
              <a:ext cx="129071" cy="129071"/>
            </a:xfrm>
            <a:custGeom>
              <a:avLst/>
              <a:gdLst>
                <a:gd name="connsiteX0" fmla="*/ 148431 w 129070"/>
                <a:gd name="connsiteY0" fmla="*/ 127681 h 129070"/>
                <a:gd name="connsiteX1" fmla="*/ 122617 w 129070"/>
                <a:gd name="connsiteY1" fmla="*/ 153495 h 129070"/>
                <a:gd name="connsiteX2" fmla="*/ 96803 w 129070"/>
                <a:gd name="connsiteY2" fmla="*/ 127681 h 129070"/>
                <a:gd name="connsiteX3" fmla="*/ 122617 w 129070"/>
                <a:gd name="connsiteY3" fmla="*/ 101866 h 129070"/>
                <a:gd name="connsiteX4" fmla="*/ 148431 w 129070"/>
                <a:gd name="connsiteY4" fmla="*/ 127681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1"/>
                  </a:moveTo>
                  <a:cubicBezTo>
                    <a:pt x="148431" y="140588"/>
                    <a:pt x="135525" y="153495"/>
                    <a:pt x="122617" y="153495"/>
                  </a:cubicBezTo>
                  <a:cubicBezTo>
                    <a:pt x="109710" y="153495"/>
                    <a:pt x="96803" y="140588"/>
                    <a:pt x="96803" y="127681"/>
                  </a:cubicBezTo>
                  <a:cubicBezTo>
                    <a:pt x="96803" y="114774"/>
                    <a:pt x="109710" y="101866"/>
                    <a:pt x="122617" y="101866"/>
                  </a:cubicBezTo>
                  <a:cubicBezTo>
                    <a:pt x="135525" y="88959"/>
                    <a:pt x="148431" y="101866"/>
                    <a:pt x="148431" y="1276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0" name="Freeform: Shape 3659">
              <a:extLst>
                <a:ext uri="{FF2B5EF4-FFF2-40B4-BE49-F238E27FC236}">
                  <a16:creationId xmlns:a16="http://schemas.microsoft.com/office/drawing/2014/main" id="{C053A518-C67C-44FC-BACF-14721111B93F}"/>
                </a:ext>
              </a:extLst>
            </p:cNvPr>
            <p:cNvSpPr/>
            <p:nvPr/>
          </p:nvSpPr>
          <p:spPr>
            <a:xfrm>
              <a:off x="5359131" y="3043814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1" name="Freeform: Shape 3660">
              <a:extLst>
                <a:ext uri="{FF2B5EF4-FFF2-40B4-BE49-F238E27FC236}">
                  <a16:creationId xmlns:a16="http://schemas.microsoft.com/office/drawing/2014/main" id="{69682CAC-8251-448D-BBD5-ED290946E0F1}"/>
                </a:ext>
              </a:extLst>
            </p:cNvPr>
            <p:cNvSpPr/>
            <p:nvPr/>
          </p:nvSpPr>
          <p:spPr>
            <a:xfrm>
              <a:off x="5088083" y="3327769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2" name="Freeform: Shape 3661">
              <a:extLst>
                <a:ext uri="{FF2B5EF4-FFF2-40B4-BE49-F238E27FC236}">
                  <a16:creationId xmlns:a16="http://schemas.microsoft.com/office/drawing/2014/main" id="{0E11820D-CF58-4036-9CFD-2B26F7E27702}"/>
                </a:ext>
              </a:extLst>
            </p:cNvPr>
            <p:cNvSpPr/>
            <p:nvPr/>
          </p:nvSpPr>
          <p:spPr>
            <a:xfrm>
              <a:off x="4481451" y="401527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3" name="Freeform: Shape 3662">
              <a:extLst>
                <a:ext uri="{FF2B5EF4-FFF2-40B4-BE49-F238E27FC236}">
                  <a16:creationId xmlns:a16="http://schemas.microsoft.com/office/drawing/2014/main" id="{E15FBCEB-1516-4AC9-A855-8AEEE3223C71}"/>
                </a:ext>
              </a:extLst>
            </p:cNvPr>
            <p:cNvSpPr/>
            <p:nvPr/>
          </p:nvSpPr>
          <p:spPr>
            <a:xfrm>
              <a:off x="4817035" y="3573003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4" name="Freeform: Shape 3663">
              <a:extLst>
                <a:ext uri="{FF2B5EF4-FFF2-40B4-BE49-F238E27FC236}">
                  <a16:creationId xmlns:a16="http://schemas.microsoft.com/office/drawing/2014/main" id="{C9B12BD0-7EB4-45DA-A0D4-3F6C46DA65D6}"/>
                </a:ext>
              </a:extLst>
            </p:cNvPr>
            <p:cNvSpPr/>
            <p:nvPr/>
          </p:nvSpPr>
          <p:spPr>
            <a:xfrm>
              <a:off x="4533080" y="321503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5" name="Freeform: Shape 3664">
              <a:extLst>
                <a:ext uri="{FF2B5EF4-FFF2-40B4-BE49-F238E27FC236}">
                  <a16:creationId xmlns:a16="http://schemas.microsoft.com/office/drawing/2014/main" id="{3C08428F-7EE9-4F4E-9DAB-95725BFAAAEF}"/>
                </a:ext>
              </a:extLst>
            </p:cNvPr>
            <p:cNvSpPr/>
            <p:nvPr/>
          </p:nvSpPr>
          <p:spPr>
            <a:xfrm>
              <a:off x="4391102" y="451865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6" name="Freeform: Shape 3665">
              <a:extLst>
                <a:ext uri="{FF2B5EF4-FFF2-40B4-BE49-F238E27FC236}">
                  <a16:creationId xmlns:a16="http://schemas.microsoft.com/office/drawing/2014/main" id="{03B86D25-B7C6-4FEF-9A74-B7B6D71CD06C}"/>
                </a:ext>
              </a:extLst>
            </p:cNvPr>
            <p:cNvSpPr/>
            <p:nvPr/>
          </p:nvSpPr>
          <p:spPr>
            <a:xfrm>
              <a:off x="3952261" y="477679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7" name="Freeform: Shape 3666">
              <a:extLst>
                <a:ext uri="{FF2B5EF4-FFF2-40B4-BE49-F238E27FC236}">
                  <a16:creationId xmlns:a16="http://schemas.microsoft.com/office/drawing/2014/main" id="{450196A2-467F-43A4-8729-CF937DA64A98}"/>
                </a:ext>
              </a:extLst>
            </p:cNvPr>
            <p:cNvSpPr/>
            <p:nvPr/>
          </p:nvSpPr>
          <p:spPr>
            <a:xfrm>
              <a:off x="4120053" y="5073656"/>
              <a:ext cx="258141" cy="258141"/>
            </a:xfrm>
            <a:custGeom>
              <a:avLst/>
              <a:gdLst>
                <a:gd name="connsiteX0" fmla="*/ 174245 w 258141"/>
                <a:gd name="connsiteY0" fmla="*/ 148431 h 258141"/>
                <a:gd name="connsiteX1" fmla="*/ 135524 w 258141"/>
                <a:gd name="connsiteY1" fmla="*/ 187153 h 258141"/>
                <a:gd name="connsiteX2" fmla="*/ 96803 w 258141"/>
                <a:gd name="connsiteY2" fmla="*/ 148431 h 258141"/>
                <a:gd name="connsiteX3" fmla="*/ 135524 w 258141"/>
                <a:gd name="connsiteY3" fmla="*/ 96803 h 258141"/>
                <a:gd name="connsiteX4" fmla="*/ 174245 w 258141"/>
                <a:gd name="connsiteY4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48431"/>
                  </a:moveTo>
                  <a:cubicBezTo>
                    <a:pt x="174245" y="174245"/>
                    <a:pt x="148431" y="187153"/>
                    <a:pt x="135524" y="187153"/>
                  </a:cubicBezTo>
                  <a:cubicBezTo>
                    <a:pt x="109710" y="187153"/>
                    <a:pt x="96803" y="161338"/>
                    <a:pt x="96803" y="148431"/>
                  </a:cubicBezTo>
                  <a:cubicBezTo>
                    <a:pt x="96803" y="135524"/>
                    <a:pt x="109710" y="96803"/>
                    <a:pt x="135524" y="96803"/>
                  </a:cubicBezTo>
                  <a:cubicBezTo>
                    <a:pt x="161338" y="96803"/>
                    <a:pt x="174245" y="122617"/>
                    <a:pt x="174245" y="1484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8" name="Freeform: Shape 3667">
              <a:extLst>
                <a:ext uri="{FF2B5EF4-FFF2-40B4-BE49-F238E27FC236}">
                  <a16:creationId xmlns:a16="http://schemas.microsoft.com/office/drawing/2014/main" id="{5AD069F6-300E-4DB6-B8F3-4DF974DF58FD}"/>
                </a:ext>
              </a:extLst>
            </p:cNvPr>
            <p:cNvSpPr/>
            <p:nvPr/>
          </p:nvSpPr>
          <p:spPr>
            <a:xfrm>
              <a:off x="3655399" y="4837896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26050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69" name="Freeform: Shape 3668">
              <a:extLst>
                <a:ext uri="{FF2B5EF4-FFF2-40B4-BE49-F238E27FC236}">
                  <a16:creationId xmlns:a16="http://schemas.microsoft.com/office/drawing/2014/main" id="{7DDEE468-0B76-4440-8AE5-D7C18F431D09}"/>
                </a:ext>
              </a:extLst>
            </p:cNvPr>
            <p:cNvSpPr/>
            <p:nvPr/>
          </p:nvSpPr>
          <p:spPr>
            <a:xfrm>
              <a:off x="3900633" y="5210570"/>
              <a:ext cx="129071" cy="129071"/>
            </a:xfrm>
            <a:custGeom>
              <a:avLst/>
              <a:gdLst>
                <a:gd name="connsiteX0" fmla="*/ 148431 w 129070"/>
                <a:gd name="connsiteY0" fmla="*/ 127681 h 129070"/>
                <a:gd name="connsiteX1" fmla="*/ 122617 w 129070"/>
                <a:gd name="connsiteY1" fmla="*/ 153495 h 129070"/>
                <a:gd name="connsiteX2" fmla="*/ 96803 w 129070"/>
                <a:gd name="connsiteY2" fmla="*/ 127681 h 129070"/>
                <a:gd name="connsiteX3" fmla="*/ 122617 w 129070"/>
                <a:gd name="connsiteY3" fmla="*/ 101866 h 129070"/>
                <a:gd name="connsiteX4" fmla="*/ 148431 w 129070"/>
                <a:gd name="connsiteY4" fmla="*/ 127681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1"/>
                  </a:moveTo>
                  <a:cubicBezTo>
                    <a:pt x="148431" y="140588"/>
                    <a:pt x="135524" y="153495"/>
                    <a:pt x="122617" y="153495"/>
                  </a:cubicBezTo>
                  <a:cubicBezTo>
                    <a:pt x="109710" y="153495"/>
                    <a:pt x="96803" y="140588"/>
                    <a:pt x="96803" y="127681"/>
                  </a:cubicBezTo>
                  <a:cubicBezTo>
                    <a:pt x="96803" y="114774"/>
                    <a:pt x="109710" y="101866"/>
                    <a:pt x="122617" y="101866"/>
                  </a:cubicBezTo>
                  <a:cubicBezTo>
                    <a:pt x="135524" y="88960"/>
                    <a:pt x="148431" y="101866"/>
                    <a:pt x="148431" y="1276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0" name="Freeform: Shape 3669">
              <a:extLst>
                <a:ext uri="{FF2B5EF4-FFF2-40B4-BE49-F238E27FC236}">
                  <a16:creationId xmlns:a16="http://schemas.microsoft.com/office/drawing/2014/main" id="{B236E524-94E5-41B1-BAF2-1197566C3BD5}"/>
                </a:ext>
              </a:extLst>
            </p:cNvPr>
            <p:cNvSpPr/>
            <p:nvPr/>
          </p:nvSpPr>
          <p:spPr>
            <a:xfrm>
              <a:off x="4274938" y="5134758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1" name="Freeform: Shape 3670">
              <a:extLst>
                <a:ext uri="{FF2B5EF4-FFF2-40B4-BE49-F238E27FC236}">
                  <a16:creationId xmlns:a16="http://schemas.microsoft.com/office/drawing/2014/main" id="{235CC79C-C1B5-4385-84C7-291C7EF7A7A0}"/>
                </a:ext>
              </a:extLst>
            </p:cNvPr>
            <p:cNvSpPr/>
            <p:nvPr/>
          </p:nvSpPr>
          <p:spPr>
            <a:xfrm>
              <a:off x="3242373" y="468301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2" name="Freeform: Shape 3671">
              <a:extLst>
                <a:ext uri="{FF2B5EF4-FFF2-40B4-BE49-F238E27FC236}">
                  <a16:creationId xmlns:a16="http://schemas.microsoft.com/office/drawing/2014/main" id="{D2C5F68B-8C95-45E3-B8D8-3A4C32663090}"/>
                </a:ext>
              </a:extLst>
            </p:cNvPr>
            <p:cNvSpPr/>
            <p:nvPr/>
          </p:nvSpPr>
          <p:spPr>
            <a:xfrm>
              <a:off x="3035860" y="468644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1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3" name="Freeform: Shape 3672">
              <a:extLst>
                <a:ext uri="{FF2B5EF4-FFF2-40B4-BE49-F238E27FC236}">
                  <a16:creationId xmlns:a16="http://schemas.microsoft.com/office/drawing/2014/main" id="{4E6DCC80-1CB8-4802-8CEB-1CD9C21579FD}"/>
                </a:ext>
              </a:extLst>
            </p:cNvPr>
            <p:cNvSpPr/>
            <p:nvPr/>
          </p:nvSpPr>
          <p:spPr>
            <a:xfrm>
              <a:off x="4158774" y="5392899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4" name="Freeform: Shape 3673">
              <a:extLst>
                <a:ext uri="{FF2B5EF4-FFF2-40B4-BE49-F238E27FC236}">
                  <a16:creationId xmlns:a16="http://schemas.microsoft.com/office/drawing/2014/main" id="{AFA3EAF3-C2E6-405B-89E1-1CBC7BF48541}"/>
                </a:ext>
              </a:extLst>
            </p:cNvPr>
            <p:cNvSpPr/>
            <p:nvPr/>
          </p:nvSpPr>
          <p:spPr>
            <a:xfrm>
              <a:off x="4571801" y="5586505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5" name="Freeform: Shape 3674">
              <a:extLst>
                <a:ext uri="{FF2B5EF4-FFF2-40B4-BE49-F238E27FC236}">
                  <a16:creationId xmlns:a16="http://schemas.microsoft.com/office/drawing/2014/main" id="{AA743F07-8801-4958-9F5E-9D42D48DA07E}"/>
                </a:ext>
              </a:extLst>
            </p:cNvPr>
            <p:cNvSpPr/>
            <p:nvPr/>
          </p:nvSpPr>
          <p:spPr>
            <a:xfrm>
              <a:off x="4416916" y="609331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6" name="Freeform: Shape 3675">
              <a:extLst>
                <a:ext uri="{FF2B5EF4-FFF2-40B4-BE49-F238E27FC236}">
                  <a16:creationId xmlns:a16="http://schemas.microsoft.com/office/drawing/2014/main" id="{12BD209C-DF7D-4835-9124-B9120E392438}"/>
                </a:ext>
              </a:extLst>
            </p:cNvPr>
            <p:cNvSpPr/>
            <p:nvPr/>
          </p:nvSpPr>
          <p:spPr>
            <a:xfrm>
              <a:off x="4623429" y="650634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7" name="Freeform: Shape 3676">
              <a:extLst>
                <a:ext uri="{FF2B5EF4-FFF2-40B4-BE49-F238E27FC236}">
                  <a16:creationId xmlns:a16="http://schemas.microsoft.com/office/drawing/2014/main" id="{87DD5223-1EB0-44FC-B393-59FD7C7B682A}"/>
                </a:ext>
              </a:extLst>
            </p:cNvPr>
            <p:cNvSpPr/>
            <p:nvPr/>
          </p:nvSpPr>
          <p:spPr>
            <a:xfrm>
              <a:off x="4778313" y="694518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8" name="Freeform: Shape 3677">
              <a:extLst>
                <a:ext uri="{FF2B5EF4-FFF2-40B4-BE49-F238E27FC236}">
                  <a16:creationId xmlns:a16="http://schemas.microsoft.com/office/drawing/2014/main" id="{DEBD1092-B201-4797-A052-959B6098FC39}"/>
                </a:ext>
              </a:extLst>
            </p:cNvPr>
            <p:cNvSpPr/>
            <p:nvPr/>
          </p:nvSpPr>
          <p:spPr>
            <a:xfrm>
              <a:off x="4391102" y="557703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79" name="Freeform: Shape 3678">
              <a:extLst>
                <a:ext uri="{FF2B5EF4-FFF2-40B4-BE49-F238E27FC236}">
                  <a16:creationId xmlns:a16="http://schemas.microsoft.com/office/drawing/2014/main" id="{1E597983-571E-4EA5-AFCA-7E61AFCBDE41}"/>
                </a:ext>
              </a:extLst>
            </p:cNvPr>
            <p:cNvSpPr/>
            <p:nvPr/>
          </p:nvSpPr>
          <p:spPr>
            <a:xfrm>
              <a:off x="4365288" y="548668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0" name="Freeform: Shape 3679">
              <a:extLst>
                <a:ext uri="{FF2B5EF4-FFF2-40B4-BE49-F238E27FC236}">
                  <a16:creationId xmlns:a16="http://schemas.microsoft.com/office/drawing/2014/main" id="{0894FEC3-3A8C-4A67-924C-65A0B630561A}"/>
                </a:ext>
              </a:extLst>
            </p:cNvPr>
            <p:cNvSpPr/>
            <p:nvPr/>
          </p:nvSpPr>
          <p:spPr>
            <a:xfrm>
              <a:off x="4494358" y="546086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5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1" name="Freeform: Shape 3680">
              <a:extLst>
                <a:ext uri="{FF2B5EF4-FFF2-40B4-BE49-F238E27FC236}">
                  <a16:creationId xmlns:a16="http://schemas.microsoft.com/office/drawing/2014/main" id="{EA1C21ED-99FD-465B-99AF-E56ADB3DB0D0}"/>
                </a:ext>
              </a:extLst>
            </p:cNvPr>
            <p:cNvSpPr/>
            <p:nvPr/>
          </p:nvSpPr>
          <p:spPr>
            <a:xfrm>
              <a:off x="4507265" y="540924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2" name="Freeform: Shape 3681">
              <a:extLst>
                <a:ext uri="{FF2B5EF4-FFF2-40B4-BE49-F238E27FC236}">
                  <a16:creationId xmlns:a16="http://schemas.microsoft.com/office/drawing/2014/main" id="{479F5286-933E-4515-BD54-A06FEA15B04C}"/>
                </a:ext>
              </a:extLst>
            </p:cNvPr>
            <p:cNvSpPr/>
            <p:nvPr/>
          </p:nvSpPr>
          <p:spPr>
            <a:xfrm>
              <a:off x="4236217" y="5357611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3" name="Freeform: Shape 3682">
              <a:extLst>
                <a:ext uri="{FF2B5EF4-FFF2-40B4-BE49-F238E27FC236}">
                  <a16:creationId xmlns:a16="http://schemas.microsoft.com/office/drawing/2014/main" id="{EB6A8582-D02D-4BE5-9E4A-4BA6B731D9A1}"/>
                </a:ext>
              </a:extLst>
            </p:cNvPr>
            <p:cNvSpPr/>
            <p:nvPr/>
          </p:nvSpPr>
          <p:spPr>
            <a:xfrm>
              <a:off x="4675057" y="534470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4" name="Freeform: Shape 3683">
              <a:extLst>
                <a:ext uri="{FF2B5EF4-FFF2-40B4-BE49-F238E27FC236}">
                  <a16:creationId xmlns:a16="http://schemas.microsoft.com/office/drawing/2014/main" id="{09A3C25C-D150-4E74-A621-668166EA01BA}"/>
                </a:ext>
              </a:extLst>
            </p:cNvPr>
            <p:cNvSpPr/>
            <p:nvPr/>
          </p:nvSpPr>
          <p:spPr>
            <a:xfrm>
              <a:off x="4933198" y="526726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5" name="Freeform: Shape 3684">
              <a:extLst>
                <a:ext uri="{FF2B5EF4-FFF2-40B4-BE49-F238E27FC236}">
                  <a16:creationId xmlns:a16="http://schemas.microsoft.com/office/drawing/2014/main" id="{0E0C9D61-E27C-42DD-995F-DF259DAB8028}"/>
                </a:ext>
              </a:extLst>
            </p:cNvPr>
            <p:cNvSpPr/>
            <p:nvPr/>
          </p:nvSpPr>
          <p:spPr>
            <a:xfrm>
              <a:off x="5281689" y="5331797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6" name="Freeform: Shape 3685">
              <a:extLst>
                <a:ext uri="{FF2B5EF4-FFF2-40B4-BE49-F238E27FC236}">
                  <a16:creationId xmlns:a16="http://schemas.microsoft.com/office/drawing/2014/main" id="{7226D79D-C4A2-4DB9-B0D2-941A0EA5B0B0}"/>
                </a:ext>
              </a:extLst>
            </p:cNvPr>
            <p:cNvSpPr/>
            <p:nvPr/>
          </p:nvSpPr>
          <p:spPr>
            <a:xfrm>
              <a:off x="5630180" y="5731916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7" name="Freeform: Shape 3686">
              <a:extLst>
                <a:ext uri="{FF2B5EF4-FFF2-40B4-BE49-F238E27FC236}">
                  <a16:creationId xmlns:a16="http://schemas.microsoft.com/office/drawing/2014/main" id="{7B561A8F-49EF-4610-BDAB-7EA04DE3F0DB}"/>
                </a:ext>
              </a:extLst>
            </p:cNvPr>
            <p:cNvSpPr/>
            <p:nvPr/>
          </p:nvSpPr>
          <p:spPr>
            <a:xfrm>
              <a:off x="5475295" y="5654474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8" name="Freeform: Shape 3687">
              <a:extLst>
                <a:ext uri="{FF2B5EF4-FFF2-40B4-BE49-F238E27FC236}">
                  <a16:creationId xmlns:a16="http://schemas.microsoft.com/office/drawing/2014/main" id="{AF781A7D-8286-4783-B20E-94042B4E5330}"/>
                </a:ext>
              </a:extLst>
            </p:cNvPr>
            <p:cNvSpPr/>
            <p:nvPr/>
          </p:nvSpPr>
          <p:spPr>
            <a:xfrm>
              <a:off x="5191340" y="605459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4" y="148431"/>
                    <a:pt x="122617" y="148431"/>
                  </a:cubicBezTo>
                  <a:cubicBezTo>
                    <a:pt x="109710" y="148431"/>
                    <a:pt x="96803" y="148431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89" name="Freeform: Shape 3688">
              <a:extLst>
                <a:ext uri="{FF2B5EF4-FFF2-40B4-BE49-F238E27FC236}">
                  <a16:creationId xmlns:a16="http://schemas.microsoft.com/office/drawing/2014/main" id="{5349AD4A-04E0-47DC-8192-D49D26518821}"/>
                </a:ext>
              </a:extLst>
            </p:cNvPr>
            <p:cNvSpPr/>
            <p:nvPr/>
          </p:nvSpPr>
          <p:spPr>
            <a:xfrm>
              <a:off x="6120648" y="614494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96803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0" name="Freeform: Shape 3689">
              <a:extLst>
                <a:ext uri="{FF2B5EF4-FFF2-40B4-BE49-F238E27FC236}">
                  <a16:creationId xmlns:a16="http://schemas.microsoft.com/office/drawing/2014/main" id="{52D2491E-8DBE-4535-AA02-7604CDE2B14E}"/>
                </a:ext>
              </a:extLst>
            </p:cNvPr>
            <p:cNvSpPr/>
            <p:nvPr/>
          </p:nvSpPr>
          <p:spPr>
            <a:xfrm>
              <a:off x="6559489" y="628692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1" name="Freeform: Shape 3690">
              <a:extLst>
                <a:ext uri="{FF2B5EF4-FFF2-40B4-BE49-F238E27FC236}">
                  <a16:creationId xmlns:a16="http://schemas.microsoft.com/office/drawing/2014/main" id="{7AC4D694-FAD4-40E2-ABAD-697A39D3A9D8}"/>
                </a:ext>
              </a:extLst>
            </p:cNvPr>
            <p:cNvSpPr/>
            <p:nvPr/>
          </p:nvSpPr>
          <p:spPr>
            <a:xfrm>
              <a:off x="6404604" y="671285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2" name="Freeform: Shape 3691">
              <a:extLst>
                <a:ext uri="{FF2B5EF4-FFF2-40B4-BE49-F238E27FC236}">
                  <a16:creationId xmlns:a16="http://schemas.microsoft.com/office/drawing/2014/main" id="{706D3D41-768E-44C4-9C4A-3DB04E1C5AA4}"/>
                </a:ext>
              </a:extLst>
            </p:cNvPr>
            <p:cNvSpPr/>
            <p:nvPr/>
          </p:nvSpPr>
          <p:spPr>
            <a:xfrm>
              <a:off x="4610522" y="552540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3" name="Freeform: Shape 3692">
              <a:extLst>
                <a:ext uri="{FF2B5EF4-FFF2-40B4-BE49-F238E27FC236}">
                  <a16:creationId xmlns:a16="http://schemas.microsoft.com/office/drawing/2014/main" id="{C97726EE-277C-4005-8718-09BAB9824F1C}"/>
                </a:ext>
              </a:extLst>
            </p:cNvPr>
            <p:cNvSpPr/>
            <p:nvPr/>
          </p:nvSpPr>
          <p:spPr>
            <a:xfrm>
              <a:off x="4584708" y="575773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4" name="Freeform: Shape 3693">
              <a:extLst>
                <a:ext uri="{FF2B5EF4-FFF2-40B4-BE49-F238E27FC236}">
                  <a16:creationId xmlns:a16="http://schemas.microsoft.com/office/drawing/2014/main" id="{29BE2381-CEEC-4C8A-B4AA-FE37975424E7}"/>
                </a:ext>
              </a:extLst>
            </p:cNvPr>
            <p:cNvSpPr/>
            <p:nvPr/>
          </p:nvSpPr>
          <p:spPr>
            <a:xfrm>
              <a:off x="4391102" y="6248199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5" name="Freeform: Shape 3694">
              <a:extLst>
                <a:ext uri="{FF2B5EF4-FFF2-40B4-BE49-F238E27FC236}">
                  <a16:creationId xmlns:a16="http://schemas.microsoft.com/office/drawing/2014/main" id="{F0FB64EF-E679-4763-9485-17D76038AE36}"/>
                </a:ext>
              </a:extLst>
            </p:cNvPr>
            <p:cNvSpPr/>
            <p:nvPr/>
          </p:nvSpPr>
          <p:spPr>
            <a:xfrm>
              <a:off x="5126804" y="535761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6" name="Freeform: Shape 3695">
              <a:extLst>
                <a:ext uri="{FF2B5EF4-FFF2-40B4-BE49-F238E27FC236}">
                  <a16:creationId xmlns:a16="http://schemas.microsoft.com/office/drawing/2014/main" id="{9A5B61E4-D8EB-4281-BB90-9FCE3D517986}"/>
                </a:ext>
              </a:extLst>
            </p:cNvPr>
            <p:cNvSpPr/>
            <p:nvPr/>
          </p:nvSpPr>
          <p:spPr>
            <a:xfrm>
              <a:off x="5617273" y="558993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7" name="Freeform: Shape 3696">
              <a:extLst>
                <a:ext uri="{FF2B5EF4-FFF2-40B4-BE49-F238E27FC236}">
                  <a16:creationId xmlns:a16="http://schemas.microsoft.com/office/drawing/2014/main" id="{40ACDE96-A2CA-46BE-B33F-5D3AF9FA4768}"/>
                </a:ext>
              </a:extLst>
            </p:cNvPr>
            <p:cNvSpPr/>
            <p:nvPr/>
          </p:nvSpPr>
          <p:spPr>
            <a:xfrm>
              <a:off x="4997734" y="5715576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8" name="Freeform: Shape 3697">
              <a:extLst>
                <a:ext uri="{FF2B5EF4-FFF2-40B4-BE49-F238E27FC236}">
                  <a16:creationId xmlns:a16="http://schemas.microsoft.com/office/drawing/2014/main" id="{9DA10C54-E917-4C7D-B3BA-DEF9DFD70240}"/>
                </a:ext>
              </a:extLst>
            </p:cNvPr>
            <p:cNvSpPr/>
            <p:nvPr/>
          </p:nvSpPr>
          <p:spPr>
            <a:xfrm>
              <a:off x="4842849" y="5925522"/>
              <a:ext cx="258141" cy="258141"/>
            </a:xfrm>
            <a:custGeom>
              <a:avLst/>
              <a:gdLst>
                <a:gd name="connsiteX0" fmla="*/ 174246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6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5"/>
                  </a:moveTo>
                  <a:cubicBezTo>
                    <a:pt x="174246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1" y="96803"/>
                    <a:pt x="174246" y="109710"/>
                    <a:pt x="174246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99" name="Freeform: Shape 3698">
              <a:extLst>
                <a:ext uri="{FF2B5EF4-FFF2-40B4-BE49-F238E27FC236}">
                  <a16:creationId xmlns:a16="http://schemas.microsoft.com/office/drawing/2014/main" id="{4F500698-A526-4F56-9550-1A59611CBED1}"/>
                </a:ext>
              </a:extLst>
            </p:cNvPr>
            <p:cNvSpPr/>
            <p:nvPr/>
          </p:nvSpPr>
          <p:spPr>
            <a:xfrm>
              <a:off x="6546581" y="652872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0" name="Freeform: Shape 3699">
              <a:extLst>
                <a:ext uri="{FF2B5EF4-FFF2-40B4-BE49-F238E27FC236}">
                  <a16:creationId xmlns:a16="http://schemas.microsoft.com/office/drawing/2014/main" id="{86A5037A-8236-48EF-B8E6-ACE34ECECF11}"/>
                </a:ext>
              </a:extLst>
            </p:cNvPr>
            <p:cNvSpPr/>
            <p:nvPr/>
          </p:nvSpPr>
          <p:spPr>
            <a:xfrm>
              <a:off x="5862507" y="7006282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1" name="Freeform: Shape 3700">
              <a:extLst>
                <a:ext uri="{FF2B5EF4-FFF2-40B4-BE49-F238E27FC236}">
                  <a16:creationId xmlns:a16="http://schemas.microsoft.com/office/drawing/2014/main" id="{26AE1FAE-274E-44BA-BCB9-7F14EDE677DE}"/>
                </a:ext>
              </a:extLst>
            </p:cNvPr>
            <p:cNvSpPr/>
            <p:nvPr/>
          </p:nvSpPr>
          <p:spPr>
            <a:xfrm>
              <a:off x="5927042" y="7432215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2" name="Freeform: Shape 3701">
              <a:extLst>
                <a:ext uri="{FF2B5EF4-FFF2-40B4-BE49-F238E27FC236}">
                  <a16:creationId xmlns:a16="http://schemas.microsoft.com/office/drawing/2014/main" id="{FC639A1A-867F-47AE-BFFD-58CBF3A8EA37}"/>
                </a:ext>
              </a:extLst>
            </p:cNvPr>
            <p:cNvSpPr/>
            <p:nvPr/>
          </p:nvSpPr>
          <p:spPr>
            <a:xfrm>
              <a:off x="5836693" y="771617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3" name="Freeform: Shape 3702">
              <a:extLst>
                <a:ext uri="{FF2B5EF4-FFF2-40B4-BE49-F238E27FC236}">
                  <a16:creationId xmlns:a16="http://schemas.microsoft.com/office/drawing/2014/main" id="{1B89F6B4-F733-4861-9F76-8229BCE0AFC0}"/>
                </a:ext>
              </a:extLst>
            </p:cNvPr>
            <p:cNvSpPr/>
            <p:nvPr/>
          </p:nvSpPr>
          <p:spPr>
            <a:xfrm>
              <a:off x="6340069" y="6115695"/>
              <a:ext cx="258141" cy="258141"/>
            </a:xfrm>
            <a:custGeom>
              <a:avLst/>
              <a:gdLst>
                <a:gd name="connsiteX0" fmla="*/ 174245 w 258141"/>
                <a:gd name="connsiteY0" fmla="*/ 138958 h 258141"/>
                <a:gd name="connsiteX1" fmla="*/ 135524 w 258141"/>
                <a:gd name="connsiteY1" fmla="*/ 177679 h 258141"/>
                <a:gd name="connsiteX2" fmla="*/ 96803 w 258141"/>
                <a:gd name="connsiteY2" fmla="*/ 138958 h 258141"/>
                <a:gd name="connsiteX3" fmla="*/ 135524 w 258141"/>
                <a:gd name="connsiteY3" fmla="*/ 100236 h 258141"/>
                <a:gd name="connsiteX4" fmla="*/ 174245 w 258141"/>
                <a:gd name="connsiteY4" fmla="*/ 13895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8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8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4" name="Freeform: Shape 3703">
              <a:extLst>
                <a:ext uri="{FF2B5EF4-FFF2-40B4-BE49-F238E27FC236}">
                  <a16:creationId xmlns:a16="http://schemas.microsoft.com/office/drawing/2014/main" id="{6EEBC455-6BC5-4D9E-AFF7-F9C6560F9F3F}"/>
                </a:ext>
              </a:extLst>
            </p:cNvPr>
            <p:cNvSpPr/>
            <p:nvPr/>
          </p:nvSpPr>
          <p:spPr>
            <a:xfrm>
              <a:off x="6249719" y="7332392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48431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5" name="Freeform: Shape 3704">
              <a:extLst>
                <a:ext uri="{FF2B5EF4-FFF2-40B4-BE49-F238E27FC236}">
                  <a16:creationId xmlns:a16="http://schemas.microsoft.com/office/drawing/2014/main" id="{25169BDB-5882-4CE8-8533-9F56EEFF1501}"/>
                </a:ext>
              </a:extLst>
            </p:cNvPr>
            <p:cNvSpPr/>
            <p:nvPr/>
          </p:nvSpPr>
          <p:spPr>
            <a:xfrm>
              <a:off x="6107741" y="7345299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5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5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6" name="Freeform: Shape 3705">
              <a:extLst>
                <a:ext uri="{FF2B5EF4-FFF2-40B4-BE49-F238E27FC236}">
                  <a16:creationId xmlns:a16="http://schemas.microsoft.com/office/drawing/2014/main" id="{4AACE0A1-3762-4B30-91EC-81D8ADF39BDE}"/>
                </a:ext>
              </a:extLst>
            </p:cNvPr>
            <p:cNvSpPr/>
            <p:nvPr/>
          </p:nvSpPr>
          <p:spPr>
            <a:xfrm>
              <a:off x="5952857" y="760344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7" name="Freeform: Shape 3706">
              <a:extLst>
                <a:ext uri="{FF2B5EF4-FFF2-40B4-BE49-F238E27FC236}">
                  <a16:creationId xmlns:a16="http://schemas.microsoft.com/office/drawing/2014/main" id="{B2E553B8-5E3C-4CCF-AB06-00CFA81CE95F}"/>
                </a:ext>
              </a:extLst>
            </p:cNvPr>
            <p:cNvSpPr/>
            <p:nvPr/>
          </p:nvSpPr>
          <p:spPr>
            <a:xfrm>
              <a:off x="6378790" y="6996809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8" name="Freeform: Shape 3707">
              <a:extLst>
                <a:ext uri="{FF2B5EF4-FFF2-40B4-BE49-F238E27FC236}">
                  <a16:creationId xmlns:a16="http://schemas.microsoft.com/office/drawing/2014/main" id="{EDB97C2D-D8B7-415A-82FA-AA3BB7CE6A8F}"/>
                </a:ext>
              </a:extLst>
            </p:cNvPr>
            <p:cNvSpPr/>
            <p:nvPr/>
          </p:nvSpPr>
          <p:spPr>
            <a:xfrm>
              <a:off x="5785064" y="5977150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09" name="Freeform: Shape 3708">
              <a:extLst>
                <a:ext uri="{FF2B5EF4-FFF2-40B4-BE49-F238E27FC236}">
                  <a16:creationId xmlns:a16="http://schemas.microsoft.com/office/drawing/2014/main" id="{BA3C949C-B4C4-43D3-AB8E-1BFEC0BEDB43}"/>
                </a:ext>
              </a:extLst>
            </p:cNvPr>
            <p:cNvSpPr/>
            <p:nvPr/>
          </p:nvSpPr>
          <p:spPr>
            <a:xfrm>
              <a:off x="5410760" y="629982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0" name="Freeform: Shape 3709">
              <a:extLst>
                <a:ext uri="{FF2B5EF4-FFF2-40B4-BE49-F238E27FC236}">
                  <a16:creationId xmlns:a16="http://schemas.microsoft.com/office/drawing/2014/main" id="{1573F098-4990-4902-9E88-7F55AC8E9F14}"/>
                </a:ext>
              </a:extLst>
            </p:cNvPr>
            <p:cNvSpPr/>
            <p:nvPr/>
          </p:nvSpPr>
          <p:spPr>
            <a:xfrm>
              <a:off x="5978670" y="5986624"/>
              <a:ext cx="258141" cy="258141"/>
            </a:xfrm>
            <a:custGeom>
              <a:avLst/>
              <a:gdLst>
                <a:gd name="connsiteX0" fmla="*/ 174246 w 258141"/>
                <a:gd name="connsiteY0" fmla="*/ 138958 h 258141"/>
                <a:gd name="connsiteX1" fmla="*/ 135525 w 258141"/>
                <a:gd name="connsiteY1" fmla="*/ 177679 h 258141"/>
                <a:gd name="connsiteX2" fmla="*/ 96803 w 258141"/>
                <a:gd name="connsiteY2" fmla="*/ 138958 h 258141"/>
                <a:gd name="connsiteX3" fmla="*/ 135525 w 258141"/>
                <a:gd name="connsiteY3" fmla="*/ 100236 h 258141"/>
                <a:gd name="connsiteX4" fmla="*/ 174246 w 258141"/>
                <a:gd name="connsiteY4" fmla="*/ 13895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8"/>
                  </a:moveTo>
                  <a:cubicBezTo>
                    <a:pt x="174246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8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61338" y="87329"/>
                    <a:pt x="174246" y="113143"/>
                    <a:pt x="174246" y="1389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1" name="Freeform: Shape 3710">
              <a:extLst>
                <a:ext uri="{FF2B5EF4-FFF2-40B4-BE49-F238E27FC236}">
                  <a16:creationId xmlns:a16="http://schemas.microsoft.com/office/drawing/2014/main" id="{6D7AECAC-3E24-4412-9A38-313D741CCF91}"/>
                </a:ext>
              </a:extLst>
            </p:cNvPr>
            <p:cNvSpPr/>
            <p:nvPr/>
          </p:nvSpPr>
          <p:spPr>
            <a:xfrm>
              <a:off x="5604366" y="6644885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2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2" name="Freeform: Shape 3711">
              <a:extLst>
                <a:ext uri="{FF2B5EF4-FFF2-40B4-BE49-F238E27FC236}">
                  <a16:creationId xmlns:a16="http://schemas.microsoft.com/office/drawing/2014/main" id="{ED1EFF86-A049-4FAA-B9B1-7EAEBCC01C88}"/>
                </a:ext>
              </a:extLst>
            </p:cNvPr>
            <p:cNvSpPr/>
            <p:nvPr/>
          </p:nvSpPr>
          <p:spPr>
            <a:xfrm>
              <a:off x="4455637" y="6386743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2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3" name="Freeform: Shape 3712">
              <a:extLst>
                <a:ext uri="{FF2B5EF4-FFF2-40B4-BE49-F238E27FC236}">
                  <a16:creationId xmlns:a16="http://schemas.microsoft.com/office/drawing/2014/main" id="{541F80BE-8885-4C93-90A4-5B333A28C425}"/>
                </a:ext>
              </a:extLst>
            </p:cNvPr>
            <p:cNvSpPr/>
            <p:nvPr/>
          </p:nvSpPr>
          <p:spPr>
            <a:xfrm>
              <a:off x="4636336" y="683849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2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4" name="Freeform: Shape 3713">
              <a:extLst>
                <a:ext uri="{FF2B5EF4-FFF2-40B4-BE49-F238E27FC236}">
                  <a16:creationId xmlns:a16="http://schemas.microsoft.com/office/drawing/2014/main" id="{C3EF49EB-5A2A-4E7F-BFC5-9E9A54E9BC86}"/>
                </a:ext>
              </a:extLst>
            </p:cNvPr>
            <p:cNvSpPr/>
            <p:nvPr/>
          </p:nvSpPr>
          <p:spPr>
            <a:xfrm>
              <a:off x="4894477" y="733239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5" name="Freeform: Shape 3714">
              <a:extLst>
                <a:ext uri="{FF2B5EF4-FFF2-40B4-BE49-F238E27FC236}">
                  <a16:creationId xmlns:a16="http://schemas.microsoft.com/office/drawing/2014/main" id="{BC1812D3-421F-4455-94DC-0B27E37497A8}"/>
                </a:ext>
              </a:extLst>
            </p:cNvPr>
            <p:cNvSpPr/>
            <p:nvPr/>
          </p:nvSpPr>
          <p:spPr>
            <a:xfrm>
              <a:off x="4971919" y="8929435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2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6" name="Freeform: Shape 3715">
              <a:extLst>
                <a:ext uri="{FF2B5EF4-FFF2-40B4-BE49-F238E27FC236}">
                  <a16:creationId xmlns:a16="http://schemas.microsoft.com/office/drawing/2014/main" id="{C5B725BD-CD3F-4BEC-9E91-D62263F3227F}"/>
                </a:ext>
              </a:extLst>
            </p:cNvPr>
            <p:cNvSpPr/>
            <p:nvPr/>
          </p:nvSpPr>
          <p:spPr>
            <a:xfrm>
              <a:off x="4765407" y="8710015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2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7" name="Freeform: Shape 3716">
              <a:extLst>
                <a:ext uri="{FF2B5EF4-FFF2-40B4-BE49-F238E27FC236}">
                  <a16:creationId xmlns:a16="http://schemas.microsoft.com/office/drawing/2014/main" id="{66252BE1-6F01-4B1D-9388-EA2F0A3567CF}"/>
                </a:ext>
              </a:extLst>
            </p:cNvPr>
            <p:cNvSpPr/>
            <p:nvPr/>
          </p:nvSpPr>
          <p:spPr>
            <a:xfrm>
              <a:off x="5178433" y="919101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48431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8" name="Freeform: Shape 3717">
              <a:extLst>
                <a:ext uri="{FF2B5EF4-FFF2-40B4-BE49-F238E27FC236}">
                  <a16:creationId xmlns:a16="http://schemas.microsoft.com/office/drawing/2014/main" id="{E9D86A98-CB15-4839-884C-4188453516A8}"/>
                </a:ext>
              </a:extLst>
            </p:cNvPr>
            <p:cNvSpPr/>
            <p:nvPr/>
          </p:nvSpPr>
          <p:spPr>
            <a:xfrm>
              <a:off x="5100990" y="8765076"/>
              <a:ext cx="258141" cy="258141"/>
            </a:xfrm>
            <a:custGeom>
              <a:avLst/>
              <a:gdLst>
                <a:gd name="connsiteX0" fmla="*/ 174246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6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5"/>
                  </a:moveTo>
                  <a:cubicBezTo>
                    <a:pt x="174246" y="161338"/>
                    <a:pt x="161338" y="174246"/>
                    <a:pt x="135524" y="174246"/>
                  </a:cubicBezTo>
                  <a:cubicBezTo>
                    <a:pt x="109710" y="174246"/>
                    <a:pt x="96803" y="161338"/>
                    <a:pt x="96803" y="135525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6" y="122617"/>
                    <a:pt x="174246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19" name="Freeform: Shape 3718">
              <a:extLst>
                <a:ext uri="{FF2B5EF4-FFF2-40B4-BE49-F238E27FC236}">
                  <a16:creationId xmlns:a16="http://schemas.microsoft.com/office/drawing/2014/main" id="{662DE3BD-4262-4782-873B-C4F2F5ADD2D1}"/>
                </a:ext>
              </a:extLst>
            </p:cNvPr>
            <p:cNvSpPr/>
            <p:nvPr/>
          </p:nvSpPr>
          <p:spPr>
            <a:xfrm>
              <a:off x="4829942" y="845530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0" name="Freeform: Shape 3719">
              <a:extLst>
                <a:ext uri="{FF2B5EF4-FFF2-40B4-BE49-F238E27FC236}">
                  <a16:creationId xmlns:a16="http://schemas.microsoft.com/office/drawing/2014/main" id="{8DA6F14B-D611-47AE-A486-1E459CE517B5}"/>
                </a:ext>
              </a:extLst>
            </p:cNvPr>
            <p:cNvSpPr/>
            <p:nvPr/>
          </p:nvSpPr>
          <p:spPr>
            <a:xfrm>
              <a:off x="5100990" y="859728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6"/>
                    <a:pt x="135524" y="174246"/>
                  </a:cubicBezTo>
                  <a:cubicBezTo>
                    <a:pt x="109710" y="174246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1" name="Freeform: Shape 3720">
              <a:extLst>
                <a:ext uri="{FF2B5EF4-FFF2-40B4-BE49-F238E27FC236}">
                  <a16:creationId xmlns:a16="http://schemas.microsoft.com/office/drawing/2014/main" id="{6CFA6EC4-2A28-40F4-A2FB-955B4E40F3AA}"/>
                </a:ext>
              </a:extLst>
            </p:cNvPr>
            <p:cNvSpPr/>
            <p:nvPr/>
          </p:nvSpPr>
          <p:spPr>
            <a:xfrm>
              <a:off x="4881570" y="9229731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61338" y="174245"/>
                    <a:pt x="135525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2" name="Freeform: Shape 3721">
              <a:extLst>
                <a:ext uri="{FF2B5EF4-FFF2-40B4-BE49-F238E27FC236}">
                  <a16:creationId xmlns:a16="http://schemas.microsoft.com/office/drawing/2014/main" id="{25B7959A-6876-4F12-9548-757FFDB5852E}"/>
                </a:ext>
              </a:extLst>
            </p:cNvPr>
            <p:cNvSpPr/>
            <p:nvPr/>
          </p:nvSpPr>
          <p:spPr>
            <a:xfrm>
              <a:off x="4752499" y="915228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6874"/>
                    <a:pt x="136874" y="148431"/>
                    <a:pt x="122617" y="148431"/>
                  </a:cubicBezTo>
                  <a:cubicBezTo>
                    <a:pt x="108360" y="148431"/>
                    <a:pt x="96803" y="136874"/>
                    <a:pt x="96803" y="122617"/>
                  </a:cubicBezTo>
                  <a:cubicBezTo>
                    <a:pt x="96803" y="108360"/>
                    <a:pt x="108360" y="96803"/>
                    <a:pt x="122617" y="96803"/>
                  </a:cubicBezTo>
                  <a:cubicBezTo>
                    <a:pt x="136874" y="96803"/>
                    <a:pt x="148431" y="10836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3" name="Freeform: Shape 3722">
              <a:extLst>
                <a:ext uri="{FF2B5EF4-FFF2-40B4-BE49-F238E27FC236}">
                  <a16:creationId xmlns:a16="http://schemas.microsoft.com/office/drawing/2014/main" id="{78C7807A-5B1C-4498-99A0-A7F65D95522F}"/>
                </a:ext>
              </a:extLst>
            </p:cNvPr>
            <p:cNvSpPr/>
            <p:nvPr/>
          </p:nvSpPr>
          <p:spPr>
            <a:xfrm>
              <a:off x="5681808" y="8003560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4" name="Freeform: Shape 3723">
              <a:extLst>
                <a:ext uri="{FF2B5EF4-FFF2-40B4-BE49-F238E27FC236}">
                  <a16:creationId xmlns:a16="http://schemas.microsoft.com/office/drawing/2014/main" id="{0EACBBEE-85D5-4696-AC27-DA05792A96BB}"/>
                </a:ext>
              </a:extLst>
            </p:cNvPr>
            <p:cNvSpPr/>
            <p:nvPr/>
          </p:nvSpPr>
          <p:spPr>
            <a:xfrm>
              <a:off x="4842849" y="7926117"/>
              <a:ext cx="258141" cy="258141"/>
            </a:xfrm>
            <a:custGeom>
              <a:avLst/>
              <a:gdLst>
                <a:gd name="connsiteX0" fmla="*/ 174246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6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5"/>
                  </a:moveTo>
                  <a:cubicBezTo>
                    <a:pt x="174246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09710"/>
                    <a:pt x="174246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5" name="Freeform: Shape 3724">
              <a:extLst>
                <a:ext uri="{FF2B5EF4-FFF2-40B4-BE49-F238E27FC236}">
                  <a16:creationId xmlns:a16="http://schemas.microsoft.com/office/drawing/2014/main" id="{3A287D75-FBF0-457F-8619-34942604D31B}"/>
                </a:ext>
              </a:extLst>
            </p:cNvPr>
            <p:cNvSpPr/>
            <p:nvPr/>
          </p:nvSpPr>
          <p:spPr>
            <a:xfrm>
              <a:off x="4997734" y="8055187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6" name="Freeform: Shape 3725">
              <a:extLst>
                <a:ext uri="{FF2B5EF4-FFF2-40B4-BE49-F238E27FC236}">
                  <a16:creationId xmlns:a16="http://schemas.microsoft.com/office/drawing/2014/main" id="{7F70C42F-40F1-4493-AA39-CC10E612062B}"/>
                </a:ext>
              </a:extLst>
            </p:cNvPr>
            <p:cNvSpPr/>
            <p:nvPr/>
          </p:nvSpPr>
          <p:spPr>
            <a:xfrm>
              <a:off x="5281689" y="8377864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7" name="Freeform: Shape 3726">
              <a:extLst>
                <a:ext uri="{FF2B5EF4-FFF2-40B4-BE49-F238E27FC236}">
                  <a16:creationId xmlns:a16="http://schemas.microsoft.com/office/drawing/2014/main" id="{6A02A351-EFEE-4388-891C-BABEA16C3212}"/>
                </a:ext>
              </a:extLst>
            </p:cNvPr>
            <p:cNvSpPr/>
            <p:nvPr/>
          </p:nvSpPr>
          <p:spPr>
            <a:xfrm>
              <a:off x="5139711" y="8364957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8" name="Freeform: Shape 3727">
              <a:extLst>
                <a:ext uri="{FF2B5EF4-FFF2-40B4-BE49-F238E27FC236}">
                  <a16:creationId xmlns:a16="http://schemas.microsoft.com/office/drawing/2014/main" id="{7AD8AE54-78F7-4529-9F1E-407447824D3C}"/>
                </a:ext>
              </a:extLst>
            </p:cNvPr>
            <p:cNvSpPr/>
            <p:nvPr/>
          </p:nvSpPr>
          <p:spPr>
            <a:xfrm>
              <a:off x="5075176" y="7767799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2"/>
                    <a:pt x="148431" y="177678"/>
                    <a:pt x="135525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29" name="Freeform: Shape 3728">
              <a:extLst>
                <a:ext uri="{FF2B5EF4-FFF2-40B4-BE49-F238E27FC236}">
                  <a16:creationId xmlns:a16="http://schemas.microsoft.com/office/drawing/2014/main" id="{4C3CA2B1-C0ED-442C-9BFA-98282E9C2F41}"/>
                </a:ext>
              </a:extLst>
            </p:cNvPr>
            <p:cNvSpPr/>
            <p:nvPr/>
          </p:nvSpPr>
          <p:spPr>
            <a:xfrm>
              <a:off x="5410760" y="752599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0" name="Freeform: Shape 3729">
              <a:extLst>
                <a:ext uri="{FF2B5EF4-FFF2-40B4-BE49-F238E27FC236}">
                  <a16:creationId xmlns:a16="http://schemas.microsoft.com/office/drawing/2014/main" id="{88D0406B-7E9A-4EAE-A0E3-B795A357C537}"/>
                </a:ext>
              </a:extLst>
            </p:cNvPr>
            <p:cNvSpPr/>
            <p:nvPr/>
          </p:nvSpPr>
          <p:spPr>
            <a:xfrm>
              <a:off x="4752499" y="8197165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1" name="Freeform: Shape 3730">
              <a:extLst>
                <a:ext uri="{FF2B5EF4-FFF2-40B4-BE49-F238E27FC236}">
                  <a16:creationId xmlns:a16="http://schemas.microsoft.com/office/drawing/2014/main" id="{42E0C99E-60B2-46A2-8CC9-A21B9059B152}"/>
                </a:ext>
              </a:extLst>
            </p:cNvPr>
            <p:cNvSpPr/>
            <p:nvPr/>
          </p:nvSpPr>
          <p:spPr>
            <a:xfrm>
              <a:off x="4933198" y="853274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2" name="Freeform: Shape 3731">
              <a:extLst>
                <a:ext uri="{FF2B5EF4-FFF2-40B4-BE49-F238E27FC236}">
                  <a16:creationId xmlns:a16="http://schemas.microsoft.com/office/drawing/2014/main" id="{8B42EAF9-BC4C-4662-93AB-BA7145175C10}"/>
                </a:ext>
              </a:extLst>
            </p:cNvPr>
            <p:cNvSpPr/>
            <p:nvPr/>
          </p:nvSpPr>
          <p:spPr>
            <a:xfrm>
              <a:off x="5501109" y="8248793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5"/>
                    <a:pt x="135524" y="148431"/>
                    <a:pt x="122617" y="148431"/>
                  </a:cubicBezTo>
                  <a:cubicBezTo>
                    <a:pt x="109710" y="148431"/>
                    <a:pt x="96803" y="135525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3" name="Freeform: Shape 3732">
              <a:extLst>
                <a:ext uri="{FF2B5EF4-FFF2-40B4-BE49-F238E27FC236}">
                  <a16:creationId xmlns:a16="http://schemas.microsoft.com/office/drawing/2014/main" id="{527A5CC3-2CCB-491B-8281-CDD845CD3A69}"/>
                </a:ext>
              </a:extLst>
            </p:cNvPr>
            <p:cNvSpPr/>
            <p:nvPr/>
          </p:nvSpPr>
          <p:spPr>
            <a:xfrm>
              <a:off x="5307503" y="8274608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4" name="Freeform: Shape 3733">
              <a:extLst>
                <a:ext uri="{FF2B5EF4-FFF2-40B4-BE49-F238E27FC236}">
                  <a16:creationId xmlns:a16="http://schemas.microsoft.com/office/drawing/2014/main" id="{6813CF0B-C39A-49D7-809B-832836A5926C}"/>
                </a:ext>
              </a:extLst>
            </p:cNvPr>
            <p:cNvSpPr/>
            <p:nvPr/>
          </p:nvSpPr>
          <p:spPr>
            <a:xfrm>
              <a:off x="5552737" y="8132630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96803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5" name="Freeform: Shape 3734">
              <a:extLst>
                <a:ext uri="{FF2B5EF4-FFF2-40B4-BE49-F238E27FC236}">
                  <a16:creationId xmlns:a16="http://schemas.microsoft.com/office/drawing/2014/main" id="{F24C389C-4D21-4CC2-BB9E-078CFB75CB64}"/>
                </a:ext>
              </a:extLst>
            </p:cNvPr>
            <p:cNvSpPr/>
            <p:nvPr/>
          </p:nvSpPr>
          <p:spPr>
            <a:xfrm>
              <a:off x="4894477" y="7045004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6" name="Freeform: Shape 3735">
              <a:extLst>
                <a:ext uri="{FF2B5EF4-FFF2-40B4-BE49-F238E27FC236}">
                  <a16:creationId xmlns:a16="http://schemas.microsoft.com/office/drawing/2014/main" id="{6E0B539D-1E7C-4749-B01D-56F64624DF2F}"/>
                </a:ext>
              </a:extLst>
            </p:cNvPr>
            <p:cNvSpPr/>
            <p:nvPr/>
          </p:nvSpPr>
          <p:spPr>
            <a:xfrm>
              <a:off x="4726686" y="673866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7" name="Freeform: Shape 3736">
              <a:extLst>
                <a:ext uri="{FF2B5EF4-FFF2-40B4-BE49-F238E27FC236}">
                  <a16:creationId xmlns:a16="http://schemas.microsoft.com/office/drawing/2014/main" id="{88C98921-4B9F-4EF0-ADB2-7BCD841DA7A9}"/>
                </a:ext>
              </a:extLst>
            </p:cNvPr>
            <p:cNvSpPr/>
            <p:nvPr/>
          </p:nvSpPr>
          <p:spPr>
            <a:xfrm>
              <a:off x="5204247" y="7022622"/>
              <a:ext cx="258141" cy="258141"/>
            </a:xfrm>
            <a:custGeom>
              <a:avLst/>
              <a:gdLst>
                <a:gd name="connsiteX0" fmla="*/ 174246 w 258141"/>
                <a:gd name="connsiteY0" fmla="*/ 135525 h 258141"/>
                <a:gd name="connsiteX1" fmla="*/ 135525 w 258141"/>
                <a:gd name="connsiteY1" fmla="*/ 174246 h 258141"/>
                <a:gd name="connsiteX2" fmla="*/ 96803 w 258141"/>
                <a:gd name="connsiteY2" fmla="*/ 135525 h 258141"/>
                <a:gd name="connsiteX3" fmla="*/ 135525 w 258141"/>
                <a:gd name="connsiteY3" fmla="*/ 96803 h 258141"/>
                <a:gd name="connsiteX4" fmla="*/ 174246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5"/>
                  </a:moveTo>
                  <a:cubicBezTo>
                    <a:pt x="174246" y="161338"/>
                    <a:pt x="148431" y="174246"/>
                    <a:pt x="135525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6" y="109710"/>
                    <a:pt x="174246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8" name="Freeform: Shape 3737">
              <a:extLst>
                <a:ext uri="{FF2B5EF4-FFF2-40B4-BE49-F238E27FC236}">
                  <a16:creationId xmlns:a16="http://schemas.microsoft.com/office/drawing/2014/main" id="{1D47CACC-5E85-41E1-8084-6E7C06B33AA4}"/>
                </a:ext>
              </a:extLst>
            </p:cNvPr>
            <p:cNvSpPr/>
            <p:nvPr/>
          </p:nvSpPr>
          <p:spPr>
            <a:xfrm>
              <a:off x="4649243" y="8919961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39" name="Freeform: Shape 3738">
              <a:extLst>
                <a:ext uri="{FF2B5EF4-FFF2-40B4-BE49-F238E27FC236}">
                  <a16:creationId xmlns:a16="http://schemas.microsoft.com/office/drawing/2014/main" id="{1A67499E-12B1-470C-A05E-45D8E088A9F3}"/>
                </a:ext>
              </a:extLst>
            </p:cNvPr>
            <p:cNvSpPr/>
            <p:nvPr/>
          </p:nvSpPr>
          <p:spPr>
            <a:xfrm>
              <a:off x="596425" y="1893455"/>
              <a:ext cx="129071" cy="129071"/>
            </a:xfrm>
            <a:custGeom>
              <a:avLst/>
              <a:gdLst>
                <a:gd name="connsiteX0" fmla="*/ 148431 w 129070"/>
                <a:gd name="connsiteY0" fmla="*/ 127681 h 129070"/>
                <a:gd name="connsiteX1" fmla="*/ 122617 w 129070"/>
                <a:gd name="connsiteY1" fmla="*/ 153495 h 129070"/>
                <a:gd name="connsiteX2" fmla="*/ 96803 w 129070"/>
                <a:gd name="connsiteY2" fmla="*/ 127681 h 129070"/>
                <a:gd name="connsiteX3" fmla="*/ 122617 w 129070"/>
                <a:gd name="connsiteY3" fmla="*/ 101866 h 129070"/>
                <a:gd name="connsiteX4" fmla="*/ 148431 w 129070"/>
                <a:gd name="connsiteY4" fmla="*/ 127681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7681"/>
                  </a:moveTo>
                  <a:cubicBezTo>
                    <a:pt x="148431" y="140588"/>
                    <a:pt x="135524" y="153495"/>
                    <a:pt x="122617" y="153495"/>
                  </a:cubicBezTo>
                  <a:cubicBezTo>
                    <a:pt x="109710" y="153495"/>
                    <a:pt x="96803" y="140588"/>
                    <a:pt x="96803" y="127681"/>
                  </a:cubicBezTo>
                  <a:cubicBezTo>
                    <a:pt x="96803" y="114774"/>
                    <a:pt x="109710" y="101866"/>
                    <a:pt x="122617" y="101866"/>
                  </a:cubicBezTo>
                  <a:cubicBezTo>
                    <a:pt x="135524" y="88959"/>
                    <a:pt x="148431" y="101866"/>
                    <a:pt x="148431" y="12768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0" name="Freeform: Shape 3739">
              <a:extLst>
                <a:ext uri="{FF2B5EF4-FFF2-40B4-BE49-F238E27FC236}">
                  <a16:creationId xmlns:a16="http://schemas.microsoft.com/office/drawing/2014/main" id="{C4F665E3-7F74-4730-8E74-3E711110739F}"/>
                </a:ext>
              </a:extLst>
            </p:cNvPr>
            <p:cNvSpPr/>
            <p:nvPr/>
          </p:nvSpPr>
          <p:spPr>
            <a:xfrm>
              <a:off x="4184589" y="393783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1" name="Freeform: Shape 3740">
              <a:extLst>
                <a:ext uri="{FF2B5EF4-FFF2-40B4-BE49-F238E27FC236}">
                  <a16:creationId xmlns:a16="http://schemas.microsoft.com/office/drawing/2014/main" id="{D0385C39-DA46-4C18-849E-ECF5DD07FF0C}"/>
                </a:ext>
              </a:extLst>
            </p:cNvPr>
            <p:cNvSpPr/>
            <p:nvPr/>
          </p:nvSpPr>
          <p:spPr>
            <a:xfrm>
              <a:off x="3913540" y="423469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2" name="Freeform: Shape 3741">
              <a:extLst>
                <a:ext uri="{FF2B5EF4-FFF2-40B4-BE49-F238E27FC236}">
                  <a16:creationId xmlns:a16="http://schemas.microsoft.com/office/drawing/2014/main" id="{1A17B82E-E51A-46EE-A562-C08E53FC0FC5}"/>
                </a:ext>
              </a:extLst>
            </p:cNvPr>
            <p:cNvSpPr/>
            <p:nvPr/>
          </p:nvSpPr>
          <p:spPr>
            <a:xfrm>
              <a:off x="4339473" y="417016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09710" y="174245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3" name="Freeform: Shape 3742">
              <a:extLst>
                <a:ext uri="{FF2B5EF4-FFF2-40B4-BE49-F238E27FC236}">
                  <a16:creationId xmlns:a16="http://schemas.microsoft.com/office/drawing/2014/main" id="{1DAE062C-5FCE-43DF-88CE-E3DFB9484639}"/>
                </a:ext>
              </a:extLst>
            </p:cNvPr>
            <p:cNvSpPr/>
            <p:nvPr/>
          </p:nvSpPr>
          <p:spPr>
            <a:xfrm>
              <a:off x="4571801" y="371841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4" name="Freeform: Shape 3743">
              <a:extLst>
                <a:ext uri="{FF2B5EF4-FFF2-40B4-BE49-F238E27FC236}">
                  <a16:creationId xmlns:a16="http://schemas.microsoft.com/office/drawing/2014/main" id="{3ACBD873-8FC1-4726-BECE-562F06351B93}"/>
                </a:ext>
              </a:extLst>
            </p:cNvPr>
            <p:cNvSpPr/>
            <p:nvPr/>
          </p:nvSpPr>
          <p:spPr>
            <a:xfrm>
              <a:off x="4249124" y="427341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5" name="Freeform: Shape 3744">
              <a:extLst>
                <a:ext uri="{FF2B5EF4-FFF2-40B4-BE49-F238E27FC236}">
                  <a16:creationId xmlns:a16="http://schemas.microsoft.com/office/drawing/2014/main" id="{456D8AD3-32F4-4CC2-AA22-6EA734897BC7}"/>
                </a:ext>
              </a:extLst>
            </p:cNvPr>
            <p:cNvSpPr/>
            <p:nvPr/>
          </p:nvSpPr>
          <p:spPr>
            <a:xfrm>
              <a:off x="4416916" y="446702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5"/>
                    <a:pt x="135524" y="174245"/>
                  </a:cubicBezTo>
                  <a:cubicBezTo>
                    <a:pt x="122617" y="174245"/>
                    <a:pt x="96803" y="161338"/>
                    <a:pt x="96803" y="135524"/>
                  </a:cubicBezTo>
                  <a:cubicBezTo>
                    <a:pt x="96803" y="109710"/>
                    <a:pt x="109710" y="96803"/>
                    <a:pt x="135524" y="96803"/>
                  </a:cubicBezTo>
                  <a:cubicBezTo>
                    <a:pt x="161338" y="109710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6" name="Freeform: Shape 3745">
              <a:extLst>
                <a:ext uri="{FF2B5EF4-FFF2-40B4-BE49-F238E27FC236}">
                  <a16:creationId xmlns:a16="http://schemas.microsoft.com/office/drawing/2014/main" id="{8C39DB8C-E4F7-48BA-BB5E-00F798F0D03D}"/>
                </a:ext>
              </a:extLst>
            </p:cNvPr>
            <p:cNvSpPr/>
            <p:nvPr/>
          </p:nvSpPr>
          <p:spPr>
            <a:xfrm>
              <a:off x="4120053" y="273747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7" name="Freeform: Shape 3746">
              <a:extLst>
                <a:ext uri="{FF2B5EF4-FFF2-40B4-BE49-F238E27FC236}">
                  <a16:creationId xmlns:a16="http://schemas.microsoft.com/office/drawing/2014/main" id="{C6832E42-37D5-4B3C-A50D-E9F54FA524CF}"/>
                </a:ext>
              </a:extLst>
            </p:cNvPr>
            <p:cNvSpPr/>
            <p:nvPr/>
          </p:nvSpPr>
          <p:spPr>
            <a:xfrm>
              <a:off x="4842849" y="231154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8" name="Freeform: Shape 3747">
              <a:extLst>
                <a:ext uri="{FF2B5EF4-FFF2-40B4-BE49-F238E27FC236}">
                  <a16:creationId xmlns:a16="http://schemas.microsoft.com/office/drawing/2014/main" id="{B020B91C-DE14-480C-9590-162D27F7733C}"/>
                </a:ext>
              </a:extLst>
            </p:cNvPr>
            <p:cNvSpPr/>
            <p:nvPr/>
          </p:nvSpPr>
          <p:spPr>
            <a:xfrm>
              <a:off x="4520172" y="2333925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49" name="Freeform: Shape 3748">
              <a:extLst>
                <a:ext uri="{FF2B5EF4-FFF2-40B4-BE49-F238E27FC236}">
                  <a16:creationId xmlns:a16="http://schemas.microsoft.com/office/drawing/2014/main" id="{3B38C08E-B3B1-41CC-BBD3-1D976A5F4D0C}"/>
                </a:ext>
              </a:extLst>
            </p:cNvPr>
            <p:cNvSpPr/>
            <p:nvPr/>
          </p:nvSpPr>
          <p:spPr>
            <a:xfrm>
              <a:off x="3939354" y="225991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0" name="Freeform: Shape 3749">
              <a:extLst>
                <a:ext uri="{FF2B5EF4-FFF2-40B4-BE49-F238E27FC236}">
                  <a16:creationId xmlns:a16="http://schemas.microsoft.com/office/drawing/2014/main" id="{A8F8DD5B-D7BC-48A4-9ADC-7C1DCE64445E}"/>
                </a:ext>
              </a:extLst>
            </p:cNvPr>
            <p:cNvSpPr/>
            <p:nvPr/>
          </p:nvSpPr>
          <p:spPr>
            <a:xfrm>
              <a:off x="3823191" y="267294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1" name="Freeform: Shape 3750">
              <a:extLst>
                <a:ext uri="{FF2B5EF4-FFF2-40B4-BE49-F238E27FC236}">
                  <a16:creationId xmlns:a16="http://schemas.microsoft.com/office/drawing/2014/main" id="{FC47C146-21CF-45E3-B5E5-F2F1A8AED234}"/>
                </a:ext>
              </a:extLst>
            </p:cNvPr>
            <p:cNvSpPr/>
            <p:nvPr/>
          </p:nvSpPr>
          <p:spPr>
            <a:xfrm>
              <a:off x="4158774" y="2698756"/>
              <a:ext cx="129071" cy="129071"/>
            </a:xfrm>
            <a:custGeom>
              <a:avLst/>
              <a:gdLst>
                <a:gd name="connsiteX0" fmla="*/ 148431 w 129070"/>
                <a:gd name="connsiteY0" fmla="*/ 122617 h 129070"/>
                <a:gd name="connsiteX1" fmla="*/ 122617 w 129070"/>
                <a:gd name="connsiteY1" fmla="*/ 148431 h 129070"/>
                <a:gd name="connsiteX2" fmla="*/ 96803 w 129070"/>
                <a:gd name="connsiteY2" fmla="*/ 122617 h 129070"/>
                <a:gd name="connsiteX3" fmla="*/ 122617 w 129070"/>
                <a:gd name="connsiteY3" fmla="*/ 96803 h 129070"/>
                <a:gd name="connsiteX4" fmla="*/ 148431 w 129070"/>
                <a:gd name="connsiteY4" fmla="*/ 122617 h 1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70" h="129070">
                  <a:moveTo>
                    <a:pt x="148431" y="122617"/>
                  </a:moveTo>
                  <a:cubicBezTo>
                    <a:pt x="148431" y="135524"/>
                    <a:pt x="135524" y="148431"/>
                    <a:pt x="122617" y="148431"/>
                  </a:cubicBezTo>
                  <a:cubicBezTo>
                    <a:pt x="109710" y="148431"/>
                    <a:pt x="96803" y="135524"/>
                    <a:pt x="96803" y="122617"/>
                  </a:cubicBezTo>
                  <a:cubicBezTo>
                    <a:pt x="96803" y="109710"/>
                    <a:pt x="109710" y="96803"/>
                    <a:pt x="122617" y="96803"/>
                  </a:cubicBezTo>
                  <a:cubicBezTo>
                    <a:pt x="135524" y="96803"/>
                    <a:pt x="148431" y="109710"/>
                    <a:pt x="148431" y="1226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2" name="Freeform: Shape 3751">
              <a:extLst>
                <a:ext uri="{FF2B5EF4-FFF2-40B4-BE49-F238E27FC236}">
                  <a16:creationId xmlns:a16="http://schemas.microsoft.com/office/drawing/2014/main" id="{8BACE3E9-A7CF-4BE4-81B0-C0203A29BBDD}"/>
                </a:ext>
              </a:extLst>
            </p:cNvPr>
            <p:cNvSpPr/>
            <p:nvPr/>
          </p:nvSpPr>
          <p:spPr>
            <a:xfrm>
              <a:off x="14368263" y="343445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3" name="Freeform: Shape 3752">
              <a:extLst>
                <a:ext uri="{FF2B5EF4-FFF2-40B4-BE49-F238E27FC236}">
                  <a16:creationId xmlns:a16="http://schemas.microsoft.com/office/drawing/2014/main" id="{9EE693BF-CA37-47A8-AA55-D36321AE0BC5}"/>
                </a:ext>
              </a:extLst>
            </p:cNvPr>
            <p:cNvSpPr/>
            <p:nvPr/>
          </p:nvSpPr>
          <p:spPr>
            <a:xfrm>
              <a:off x="14342449" y="340864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5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4" name="Freeform: Shape 3753">
              <a:extLst>
                <a:ext uri="{FF2B5EF4-FFF2-40B4-BE49-F238E27FC236}">
                  <a16:creationId xmlns:a16="http://schemas.microsoft.com/office/drawing/2014/main" id="{8D6472F0-8F9C-4783-9794-643A85F3DB56}"/>
                </a:ext>
              </a:extLst>
            </p:cNvPr>
            <p:cNvSpPr/>
            <p:nvPr/>
          </p:nvSpPr>
          <p:spPr>
            <a:xfrm>
              <a:off x="13309884" y="5289643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2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5" name="Freeform: Shape 3754">
              <a:extLst>
                <a:ext uri="{FF2B5EF4-FFF2-40B4-BE49-F238E27FC236}">
                  <a16:creationId xmlns:a16="http://schemas.microsoft.com/office/drawing/2014/main" id="{F45A3550-5605-4285-BE03-275B9CBA1A6E}"/>
                </a:ext>
              </a:extLst>
            </p:cNvPr>
            <p:cNvSpPr/>
            <p:nvPr/>
          </p:nvSpPr>
          <p:spPr>
            <a:xfrm>
              <a:off x="13284069" y="526726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6" name="Freeform: Shape 3755">
              <a:extLst>
                <a:ext uri="{FF2B5EF4-FFF2-40B4-BE49-F238E27FC236}">
                  <a16:creationId xmlns:a16="http://schemas.microsoft.com/office/drawing/2014/main" id="{2DB8237D-27B2-4FA0-AD09-9BCA8638C649}"/>
                </a:ext>
              </a:extLst>
            </p:cNvPr>
            <p:cNvSpPr/>
            <p:nvPr/>
          </p:nvSpPr>
          <p:spPr>
            <a:xfrm>
              <a:off x="13864887" y="502202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7" name="Freeform: Shape 3756">
              <a:extLst>
                <a:ext uri="{FF2B5EF4-FFF2-40B4-BE49-F238E27FC236}">
                  <a16:creationId xmlns:a16="http://schemas.microsoft.com/office/drawing/2014/main" id="{2815BD5F-0BCF-4D0C-8090-0B515A43D647}"/>
                </a:ext>
              </a:extLst>
            </p:cNvPr>
            <p:cNvSpPr/>
            <p:nvPr/>
          </p:nvSpPr>
          <p:spPr>
            <a:xfrm>
              <a:off x="13826166" y="499621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8" name="Freeform: Shape 3757">
              <a:extLst>
                <a:ext uri="{FF2B5EF4-FFF2-40B4-BE49-F238E27FC236}">
                  <a16:creationId xmlns:a16="http://schemas.microsoft.com/office/drawing/2014/main" id="{F32DB7FB-5066-4598-8560-7A5A9B598BD5}"/>
                </a:ext>
              </a:extLst>
            </p:cNvPr>
            <p:cNvSpPr/>
            <p:nvPr/>
          </p:nvSpPr>
          <p:spPr>
            <a:xfrm>
              <a:off x="13671281" y="5809359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59" name="Freeform: Shape 3758">
              <a:extLst>
                <a:ext uri="{FF2B5EF4-FFF2-40B4-BE49-F238E27FC236}">
                  <a16:creationId xmlns:a16="http://schemas.microsoft.com/office/drawing/2014/main" id="{09AD6A37-4CC7-4CBF-9C90-4810594A218E}"/>
                </a:ext>
              </a:extLst>
            </p:cNvPr>
            <p:cNvSpPr/>
            <p:nvPr/>
          </p:nvSpPr>
          <p:spPr>
            <a:xfrm>
              <a:off x="13632560" y="578354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0" name="Freeform: Shape 3759">
              <a:extLst>
                <a:ext uri="{FF2B5EF4-FFF2-40B4-BE49-F238E27FC236}">
                  <a16:creationId xmlns:a16="http://schemas.microsoft.com/office/drawing/2014/main" id="{00EE0374-90EC-439F-B274-C9750A5E4B43}"/>
                </a:ext>
              </a:extLst>
            </p:cNvPr>
            <p:cNvSpPr/>
            <p:nvPr/>
          </p:nvSpPr>
          <p:spPr>
            <a:xfrm>
              <a:off x="13787445" y="6076974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8" y="100236"/>
                    <a:pt x="135525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1" name="Freeform: Shape 3760">
              <a:extLst>
                <a:ext uri="{FF2B5EF4-FFF2-40B4-BE49-F238E27FC236}">
                  <a16:creationId xmlns:a16="http://schemas.microsoft.com/office/drawing/2014/main" id="{22109EF4-CAC8-4E94-ADAD-3A90EB4E3F28}"/>
                </a:ext>
              </a:extLst>
            </p:cNvPr>
            <p:cNvSpPr/>
            <p:nvPr/>
          </p:nvSpPr>
          <p:spPr>
            <a:xfrm>
              <a:off x="13761631" y="605459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2" name="Freeform: Shape 3761">
              <a:extLst>
                <a:ext uri="{FF2B5EF4-FFF2-40B4-BE49-F238E27FC236}">
                  <a16:creationId xmlns:a16="http://schemas.microsoft.com/office/drawing/2014/main" id="{1F464CA0-CF82-4061-B9A7-4736D53B0203}"/>
                </a:ext>
              </a:extLst>
            </p:cNvPr>
            <p:cNvSpPr/>
            <p:nvPr/>
          </p:nvSpPr>
          <p:spPr>
            <a:xfrm>
              <a:off x="14394077" y="7319485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3" name="Freeform: Shape 3762">
              <a:extLst>
                <a:ext uri="{FF2B5EF4-FFF2-40B4-BE49-F238E27FC236}">
                  <a16:creationId xmlns:a16="http://schemas.microsoft.com/office/drawing/2014/main" id="{24E4B368-BCA5-40A0-B349-B1E78214EF97}"/>
                </a:ext>
              </a:extLst>
            </p:cNvPr>
            <p:cNvSpPr/>
            <p:nvPr/>
          </p:nvSpPr>
          <p:spPr>
            <a:xfrm>
              <a:off x="14355356" y="729367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0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6"/>
                    <a:pt x="122617" y="238780"/>
                    <a:pt x="161338" y="238780"/>
                  </a:cubicBezTo>
                  <a:cubicBezTo>
                    <a:pt x="200060" y="238780"/>
                    <a:pt x="225874" y="212966"/>
                    <a:pt x="225874" y="174245"/>
                  </a:cubicBezTo>
                  <a:cubicBezTo>
                    <a:pt x="225874" y="135524"/>
                    <a:pt x="200060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4" name="Freeform: Shape 3763">
              <a:extLst>
                <a:ext uri="{FF2B5EF4-FFF2-40B4-BE49-F238E27FC236}">
                  <a16:creationId xmlns:a16="http://schemas.microsoft.com/office/drawing/2014/main" id="{FE68F117-D44B-4F76-9084-2F5EAAE6EF70}"/>
                </a:ext>
              </a:extLst>
            </p:cNvPr>
            <p:cNvSpPr/>
            <p:nvPr/>
          </p:nvSpPr>
          <p:spPr>
            <a:xfrm>
              <a:off x="16136531" y="8710015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2"/>
                    <a:pt x="148430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0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5" name="Freeform: Shape 3764">
              <a:extLst>
                <a:ext uri="{FF2B5EF4-FFF2-40B4-BE49-F238E27FC236}">
                  <a16:creationId xmlns:a16="http://schemas.microsoft.com/office/drawing/2014/main" id="{192DD5EA-F290-4905-A891-89F5D721E591}"/>
                </a:ext>
              </a:extLst>
            </p:cNvPr>
            <p:cNvSpPr/>
            <p:nvPr/>
          </p:nvSpPr>
          <p:spPr>
            <a:xfrm>
              <a:off x="16097809" y="868763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38781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6" name="Freeform: Shape 3765">
              <a:extLst>
                <a:ext uri="{FF2B5EF4-FFF2-40B4-BE49-F238E27FC236}">
                  <a16:creationId xmlns:a16="http://schemas.microsoft.com/office/drawing/2014/main" id="{D564932E-4750-4E05-B3B1-B489CFA6CC3F}"/>
                </a:ext>
              </a:extLst>
            </p:cNvPr>
            <p:cNvSpPr/>
            <p:nvPr/>
          </p:nvSpPr>
          <p:spPr>
            <a:xfrm>
              <a:off x="13477675" y="733239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7" name="Freeform: Shape 3766">
              <a:extLst>
                <a:ext uri="{FF2B5EF4-FFF2-40B4-BE49-F238E27FC236}">
                  <a16:creationId xmlns:a16="http://schemas.microsoft.com/office/drawing/2014/main" id="{51BD04AF-A635-4E0C-8342-6738B198348D}"/>
                </a:ext>
              </a:extLst>
            </p:cNvPr>
            <p:cNvSpPr/>
            <p:nvPr/>
          </p:nvSpPr>
          <p:spPr>
            <a:xfrm>
              <a:off x="13451861" y="730657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6 h 258141"/>
                <a:gd name="connsiteX7" fmla="*/ 161338 w 258141"/>
                <a:gd name="connsiteY7" fmla="*/ 238781 h 258141"/>
                <a:gd name="connsiteX8" fmla="*/ 225874 w 258141"/>
                <a:gd name="connsiteY8" fmla="*/ 174246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2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6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60" y="238781"/>
                    <a:pt x="225874" y="212967"/>
                    <a:pt x="225874" y="174246"/>
                  </a:cubicBezTo>
                  <a:cubicBezTo>
                    <a:pt x="212967" y="135524"/>
                    <a:pt x="187152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8" name="Freeform: Shape 3767">
              <a:extLst>
                <a:ext uri="{FF2B5EF4-FFF2-40B4-BE49-F238E27FC236}">
                  <a16:creationId xmlns:a16="http://schemas.microsoft.com/office/drawing/2014/main" id="{295BE1B7-AAA9-4B04-96B8-6EDF2120FE0C}"/>
                </a:ext>
              </a:extLst>
            </p:cNvPr>
            <p:cNvSpPr/>
            <p:nvPr/>
          </p:nvSpPr>
          <p:spPr>
            <a:xfrm>
              <a:off x="13800352" y="7935591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2"/>
                    <a:pt x="148431" y="177678"/>
                    <a:pt x="135525" y="177678"/>
                  </a:cubicBezTo>
                  <a:cubicBezTo>
                    <a:pt x="109711" y="177678"/>
                    <a:pt x="96803" y="151864"/>
                    <a:pt x="96803" y="138957"/>
                  </a:cubicBezTo>
                  <a:cubicBezTo>
                    <a:pt x="96803" y="113143"/>
                    <a:pt x="122618" y="100236"/>
                    <a:pt x="135525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69" name="Freeform: Shape 3768">
              <a:extLst>
                <a:ext uri="{FF2B5EF4-FFF2-40B4-BE49-F238E27FC236}">
                  <a16:creationId xmlns:a16="http://schemas.microsoft.com/office/drawing/2014/main" id="{510F7EC4-2ED3-42ED-A0D7-C86D8FD638F2}"/>
                </a:ext>
              </a:extLst>
            </p:cNvPr>
            <p:cNvSpPr/>
            <p:nvPr/>
          </p:nvSpPr>
          <p:spPr>
            <a:xfrm>
              <a:off x="13774538" y="791321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187153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12967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0" name="Freeform: Shape 3769">
              <a:extLst>
                <a:ext uri="{FF2B5EF4-FFF2-40B4-BE49-F238E27FC236}">
                  <a16:creationId xmlns:a16="http://schemas.microsoft.com/office/drawing/2014/main" id="{B4D2870D-7F0F-4199-B0A0-DF7401F5389A}"/>
                </a:ext>
              </a:extLst>
            </p:cNvPr>
            <p:cNvSpPr/>
            <p:nvPr/>
          </p:nvSpPr>
          <p:spPr>
            <a:xfrm>
              <a:off x="14587683" y="6893552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0" y="174246"/>
                    <a:pt x="135524" y="174246"/>
                  </a:cubicBezTo>
                  <a:cubicBezTo>
                    <a:pt x="122617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1" name="Freeform: Shape 3770">
              <a:extLst>
                <a:ext uri="{FF2B5EF4-FFF2-40B4-BE49-F238E27FC236}">
                  <a16:creationId xmlns:a16="http://schemas.microsoft.com/office/drawing/2014/main" id="{033DE98E-9CC9-4E42-91E0-6FC96AFDF0A2}"/>
                </a:ext>
              </a:extLst>
            </p:cNvPr>
            <p:cNvSpPr/>
            <p:nvPr/>
          </p:nvSpPr>
          <p:spPr>
            <a:xfrm>
              <a:off x="14548962" y="686773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2" name="Freeform: Shape 3771">
              <a:extLst>
                <a:ext uri="{FF2B5EF4-FFF2-40B4-BE49-F238E27FC236}">
                  <a16:creationId xmlns:a16="http://schemas.microsoft.com/office/drawing/2014/main" id="{CDD2B15D-8E08-48F8-AB15-EB3821D3C11E}"/>
                </a:ext>
              </a:extLst>
            </p:cNvPr>
            <p:cNvSpPr/>
            <p:nvPr/>
          </p:nvSpPr>
          <p:spPr>
            <a:xfrm>
              <a:off x="14974895" y="636436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3" name="Freeform: Shape 3772">
              <a:extLst>
                <a:ext uri="{FF2B5EF4-FFF2-40B4-BE49-F238E27FC236}">
                  <a16:creationId xmlns:a16="http://schemas.microsoft.com/office/drawing/2014/main" id="{965F8AF8-8A7E-495C-8C7D-E7E291F3E025}"/>
                </a:ext>
              </a:extLst>
            </p:cNvPr>
            <p:cNvSpPr/>
            <p:nvPr/>
          </p:nvSpPr>
          <p:spPr>
            <a:xfrm>
              <a:off x="14949081" y="633854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4" name="Freeform: Shape 3773">
              <a:extLst>
                <a:ext uri="{FF2B5EF4-FFF2-40B4-BE49-F238E27FC236}">
                  <a16:creationId xmlns:a16="http://schemas.microsoft.com/office/drawing/2014/main" id="{5156A355-65DD-4F92-830A-69A2FB00F4DB}"/>
                </a:ext>
              </a:extLst>
            </p:cNvPr>
            <p:cNvSpPr/>
            <p:nvPr/>
          </p:nvSpPr>
          <p:spPr>
            <a:xfrm>
              <a:off x="14768381" y="6932273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5" name="Freeform: Shape 3774">
              <a:extLst>
                <a:ext uri="{FF2B5EF4-FFF2-40B4-BE49-F238E27FC236}">
                  <a16:creationId xmlns:a16="http://schemas.microsoft.com/office/drawing/2014/main" id="{C6DCD523-FD82-4FE1-AF53-C991089EF298}"/>
                </a:ext>
              </a:extLst>
            </p:cNvPr>
            <p:cNvSpPr/>
            <p:nvPr/>
          </p:nvSpPr>
          <p:spPr>
            <a:xfrm>
              <a:off x="14742568" y="690645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6" name="Freeform: Shape 3775">
              <a:extLst>
                <a:ext uri="{FF2B5EF4-FFF2-40B4-BE49-F238E27FC236}">
                  <a16:creationId xmlns:a16="http://schemas.microsoft.com/office/drawing/2014/main" id="{A2C5CF07-DA47-43AF-9208-0BF2D2DCBD48}"/>
                </a:ext>
              </a:extLst>
            </p:cNvPr>
            <p:cNvSpPr/>
            <p:nvPr/>
          </p:nvSpPr>
          <p:spPr>
            <a:xfrm>
              <a:off x="14252099" y="7797046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60"/>
                    <a:pt x="200060" y="225874"/>
                    <a:pt x="161338" y="225874"/>
                  </a:cubicBezTo>
                  <a:cubicBezTo>
                    <a:pt x="122618" y="225874"/>
                    <a:pt x="96803" y="200060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7" name="Freeform: Shape 3776">
              <a:extLst>
                <a:ext uri="{FF2B5EF4-FFF2-40B4-BE49-F238E27FC236}">
                  <a16:creationId xmlns:a16="http://schemas.microsoft.com/office/drawing/2014/main" id="{22287DA4-08EC-49D8-B64E-39EE2CBB9B66}"/>
                </a:ext>
              </a:extLst>
            </p:cNvPr>
            <p:cNvSpPr/>
            <p:nvPr/>
          </p:nvSpPr>
          <p:spPr>
            <a:xfrm>
              <a:off x="14213378" y="7745418"/>
              <a:ext cx="387212" cy="387212"/>
            </a:xfrm>
            <a:custGeom>
              <a:avLst/>
              <a:gdLst>
                <a:gd name="connsiteX0" fmla="*/ 200059 w 387211"/>
                <a:gd name="connsiteY0" fmla="*/ 303316 h 387211"/>
                <a:gd name="connsiteX1" fmla="*/ 96803 w 387211"/>
                <a:gd name="connsiteY1" fmla="*/ 200059 h 387211"/>
                <a:gd name="connsiteX2" fmla="*/ 200059 w 387211"/>
                <a:gd name="connsiteY2" fmla="*/ 96803 h 387211"/>
                <a:gd name="connsiteX3" fmla="*/ 303316 w 387211"/>
                <a:gd name="connsiteY3" fmla="*/ 200059 h 387211"/>
                <a:gd name="connsiteX4" fmla="*/ 200059 w 387211"/>
                <a:gd name="connsiteY4" fmla="*/ 303316 h 387211"/>
                <a:gd name="connsiteX5" fmla="*/ 200059 w 387211"/>
                <a:gd name="connsiteY5" fmla="*/ 109710 h 387211"/>
                <a:gd name="connsiteX6" fmla="*/ 96803 w 387211"/>
                <a:gd name="connsiteY6" fmla="*/ 212966 h 387211"/>
                <a:gd name="connsiteX7" fmla="*/ 200059 w 387211"/>
                <a:gd name="connsiteY7" fmla="*/ 316223 h 387211"/>
                <a:gd name="connsiteX8" fmla="*/ 303316 w 387211"/>
                <a:gd name="connsiteY8" fmla="*/ 212966 h 387211"/>
                <a:gd name="connsiteX9" fmla="*/ 200059 w 38721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59" y="303316"/>
                  </a:moveTo>
                  <a:cubicBezTo>
                    <a:pt x="148431" y="303316"/>
                    <a:pt x="96803" y="251688"/>
                    <a:pt x="96803" y="200059"/>
                  </a:cubicBezTo>
                  <a:cubicBezTo>
                    <a:pt x="96803" y="148431"/>
                    <a:pt x="148431" y="96803"/>
                    <a:pt x="200059" y="96803"/>
                  </a:cubicBezTo>
                  <a:cubicBezTo>
                    <a:pt x="251687" y="96803"/>
                    <a:pt x="303316" y="148431"/>
                    <a:pt x="303316" y="200059"/>
                  </a:cubicBezTo>
                  <a:cubicBezTo>
                    <a:pt x="290409" y="264595"/>
                    <a:pt x="251687" y="303316"/>
                    <a:pt x="200059" y="303316"/>
                  </a:cubicBezTo>
                  <a:close/>
                  <a:moveTo>
                    <a:pt x="200059" y="109710"/>
                  </a:moveTo>
                  <a:cubicBezTo>
                    <a:pt x="148431" y="109710"/>
                    <a:pt x="96803" y="148431"/>
                    <a:pt x="96803" y="212966"/>
                  </a:cubicBezTo>
                  <a:cubicBezTo>
                    <a:pt x="96803" y="264595"/>
                    <a:pt x="135524" y="316223"/>
                    <a:pt x="200059" y="316223"/>
                  </a:cubicBezTo>
                  <a:cubicBezTo>
                    <a:pt x="264594" y="316223"/>
                    <a:pt x="303316" y="277502"/>
                    <a:pt x="303316" y="212966"/>
                  </a:cubicBezTo>
                  <a:cubicBezTo>
                    <a:pt x="290409" y="148431"/>
                    <a:pt x="251687" y="109710"/>
                    <a:pt x="200059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8" name="Freeform: Shape 3777">
              <a:extLst>
                <a:ext uri="{FF2B5EF4-FFF2-40B4-BE49-F238E27FC236}">
                  <a16:creationId xmlns:a16="http://schemas.microsoft.com/office/drawing/2014/main" id="{366678A8-C832-47CD-B83D-B18740D9A348}"/>
                </a:ext>
              </a:extLst>
            </p:cNvPr>
            <p:cNvSpPr/>
            <p:nvPr/>
          </p:nvSpPr>
          <p:spPr>
            <a:xfrm>
              <a:off x="15245943" y="7874489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59" y="225874"/>
                    <a:pt x="161338" y="225874"/>
                  </a:cubicBez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187152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79" name="Freeform: Shape 3778">
              <a:extLst>
                <a:ext uri="{FF2B5EF4-FFF2-40B4-BE49-F238E27FC236}">
                  <a16:creationId xmlns:a16="http://schemas.microsoft.com/office/drawing/2014/main" id="{D5BFD845-AACB-48DD-B80F-37D57EB7ADB1}"/>
                </a:ext>
              </a:extLst>
            </p:cNvPr>
            <p:cNvSpPr/>
            <p:nvPr/>
          </p:nvSpPr>
          <p:spPr>
            <a:xfrm>
              <a:off x="15194315" y="7835768"/>
              <a:ext cx="387212" cy="387212"/>
            </a:xfrm>
            <a:custGeom>
              <a:avLst/>
              <a:gdLst>
                <a:gd name="connsiteX0" fmla="*/ 200060 w 387211"/>
                <a:gd name="connsiteY0" fmla="*/ 303316 h 387211"/>
                <a:gd name="connsiteX1" fmla="*/ 96803 w 387211"/>
                <a:gd name="connsiteY1" fmla="*/ 200059 h 387211"/>
                <a:gd name="connsiteX2" fmla="*/ 200060 w 387211"/>
                <a:gd name="connsiteY2" fmla="*/ 96803 h 387211"/>
                <a:gd name="connsiteX3" fmla="*/ 303316 w 387211"/>
                <a:gd name="connsiteY3" fmla="*/ 200059 h 387211"/>
                <a:gd name="connsiteX4" fmla="*/ 200060 w 387211"/>
                <a:gd name="connsiteY4" fmla="*/ 303316 h 387211"/>
                <a:gd name="connsiteX5" fmla="*/ 200060 w 387211"/>
                <a:gd name="connsiteY5" fmla="*/ 109710 h 387211"/>
                <a:gd name="connsiteX6" fmla="*/ 96803 w 387211"/>
                <a:gd name="connsiteY6" fmla="*/ 212966 h 387211"/>
                <a:gd name="connsiteX7" fmla="*/ 200060 w 387211"/>
                <a:gd name="connsiteY7" fmla="*/ 316223 h 387211"/>
                <a:gd name="connsiteX8" fmla="*/ 303316 w 387211"/>
                <a:gd name="connsiteY8" fmla="*/ 212966 h 387211"/>
                <a:gd name="connsiteX9" fmla="*/ 200060 w 38721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60" y="303316"/>
                  </a:moveTo>
                  <a:cubicBezTo>
                    <a:pt x="148431" y="303316"/>
                    <a:pt x="96803" y="251687"/>
                    <a:pt x="96803" y="200059"/>
                  </a:cubicBezTo>
                  <a:cubicBezTo>
                    <a:pt x="96803" y="148431"/>
                    <a:pt x="148431" y="96803"/>
                    <a:pt x="200060" y="96803"/>
                  </a:cubicBezTo>
                  <a:cubicBezTo>
                    <a:pt x="251687" y="96803"/>
                    <a:pt x="303316" y="148431"/>
                    <a:pt x="303316" y="200059"/>
                  </a:cubicBezTo>
                  <a:cubicBezTo>
                    <a:pt x="303316" y="264595"/>
                    <a:pt x="264595" y="303316"/>
                    <a:pt x="200060" y="303316"/>
                  </a:cubicBezTo>
                  <a:close/>
                  <a:moveTo>
                    <a:pt x="200060" y="109710"/>
                  </a:moveTo>
                  <a:cubicBezTo>
                    <a:pt x="148431" y="109710"/>
                    <a:pt x="96803" y="148431"/>
                    <a:pt x="96803" y="212966"/>
                  </a:cubicBezTo>
                  <a:cubicBezTo>
                    <a:pt x="96803" y="264595"/>
                    <a:pt x="135525" y="316223"/>
                    <a:pt x="200060" y="316223"/>
                  </a:cubicBezTo>
                  <a:cubicBezTo>
                    <a:pt x="264595" y="316223"/>
                    <a:pt x="303316" y="277502"/>
                    <a:pt x="303316" y="212966"/>
                  </a:cubicBezTo>
                  <a:cubicBezTo>
                    <a:pt x="303316" y="148431"/>
                    <a:pt x="264595" y="109710"/>
                    <a:pt x="200060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0" name="Freeform: Shape 3779">
              <a:extLst>
                <a:ext uri="{FF2B5EF4-FFF2-40B4-BE49-F238E27FC236}">
                  <a16:creationId xmlns:a16="http://schemas.microsoft.com/office/drawing/2014/main" id="{17E739F5-A47C-4E38-8858-909B896554FD}"/>
                </a:ext>
              </a:extLst>
            </p:cNvPr>
            <p:cNvSpPr/>
            <p:nvPr/>
          </p:nvSpPr>
          <p:spPr>
            <a:xfrm>
              <a:off x="12909765" y="5160572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0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0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1" name="Freeform: Shape 3780">
              <a:extLst>
                <a:ext uri="{FF2B5EF4-FFF2-40B4-BE49-F238E27FC236}">
                  <a16:creationId xmlns:a16="http://schemas.microsoft.com/office/drawing/2014/main" id="{77616FA3-09C7-4B59-AA58-5F770FBE47AD}"/>
                </a:ext>
              </a:extLst>
            </p:cNvPr>
            <p:cNvSpPr/>
            <p:nvPr/>
          </p:nvSpPr>
          <p:spPr>
            <a:xfrm>
              <a:off x="12883950" y="513819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2" name="Freeform: Shape 3781">
              <a:extLst>
                <a:ext uri="{FF2B5EF4-FFF2-40B4-BE49-F238E27FC236}">
                  <a16:creationId xmlns:a16="http://schemas.microsoft.com/office/drawing/2014/main" id="{216BB535-ABB7-4D24-8DC0-AA1574F37502}"/>
                </a:ext>
              </a:extLst>
            </p:cNvPr>
            <p:cNvSpPr/>
            <p:nvPr/>
          </p:nvSpPr>
          <p:spPr>
            <a:xfrm>
              <a:off x="12483831" y="463481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3" name="Freeform: Shape 3782">
              <a:extLst>
                <a:ext uri="{FF2B5EF4-FFF2-40B4-BE49-F238E27FC236}">
                  <a16:creationId xmlns:a16="http://schemas.microsoft.com/office/drawing/2014/main" id="{FE9B4DDB-0450-4C19-AB7F-A6E65970075F}"/>
                </a:ext>
              </a:extLst>
            </p:cNvPr>
            <p:cNvSpPr/>
            <p:nvPr/>
          </p:nvSpPr>
          <p:spPr>
            <a:xfrm>
              <a:off x="12458018" y="460900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4" name="Freeform: Shape 3783">
              <a:extLst>
                <a:ext uri="{FF2B5EF4-FFF2-40B4-BE49-F238E27FC236}">
                  <a16:creationId xmlns:a16="http://schemas.microsoft.com/office/drawing/2014/main" id="{D6FB879A-170F-45A2-A0C2-636A1FB94647}"/>
                </a:ext>
              </a:extLst>
            </p:cNvPr>
            <p:cNvSpPr/>
            <p:nvPr/>
          </p:nvSpPr>
          <p:spPr>
            <a:xfrm>
              <a:off x="11322195" y="393783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5" name="Freeform: Shape 3784">
              <a:extLst>
                <a:ext uri="{FF2B5EF4-FFF2-40B4-BE49-F238E27FC236}">
                  <a16:creationId xmlns:a16="http://schemas.microsoft.com/office/drawing/2014/main" id="{C9E0FCD2-A3BD-4C7F-9785-8B428653FF1A}"/>
                </a:ext>
              </a:extLst>
            </p:cNvPr>
            <p:cNvSpPr/>
            <p:nvPr/>
          </p:nvSpPr>
          <p:spPr>
            <a:xfrm>
              <a:off x="11296382" y="391202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6" name="Freeform: Shape 3785">
              <a:extLst>
                <a:ext uri="{FF2B5EF4-FFF2-40B4-BE49-F238E27FC236}">
                  <a16:creationId xmlns:a16="http://schemas.microsoft.com/office/drawing/2014/main" id="{D9C4DA54-276D-49F3-8C1B-ED0D2D9FDE54}"/>
                </a:ext>
              </a:extLst>
            </p:cNvPr>
            <p:cNvSpPr/>
            <p:nvPr/>
          </p:nvSpPr>
          <p:spPr>
            <a:xfrm>
              <a:off x="11928827" y="526726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22618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7" name="Freeform: Shape 3786">
              <a:extLst>
                <a:ext uri="{FF2B5EF4-FFF2-40B4-BE49-F238E27FC236}">
                  <a16:creationId xmlns:a16="http://schemas.microsoft.com/office/drawing/2014/main" id="{33793E67-275C-4330-846C-A837552A92DE}"/>
                </a:ext>
              </a:extLst>
            </p:cNvPr>
            <p:cNvSpPr/>
            <p:nvPr/>
          </p:nvSpPr>
          <p:spPr>
            <a:xfrm>
              <a:off x="11903013" y="524144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8" name="Freeform: Shape 3787">
              <a:extLst>
                <a:ext uri="{FF2B5EF4-FFF2-40B4-BE49-F238E27FC236}">
                  <a16:creationId xmlns:a16="http://schemas.microsoft.com/office/drawing/2014/main" id="{C8144AF2-4B3A-4B5F-8846-982BC75FB594}"/>
                </a:ext>
              </a:extLst>
            </p:cNvPr>
            <p:cNvSpPr/>
            <p:nvPr/>
          </p:nvSpPr>
          <p:spPr>
            <a:xfrm>
              <a:off x="13813259" y="295689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89" name="Freeform: Shape 3788">
              <a:extLst>
                <a:ext uri="{FF2B5EF4-FFF2-40B4-BE49-F238E27FC236}">
                  <a16:creationId xmlns:a16="http://schemas.microsoft.com/office/drawing/2014/main" id="{15EDD1F4-3691-48DA-B326-0A6B282D0E31}"/>
                </a:ext>
              </a:extLst>
            </p:cNvPr>
            <p:cNvSpPr/>
            <p:nvPr/>
          </p:nvSpPr>
          <p:spPr>
            <a:xfrm>
              <a:off x="13774538" y="293108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0" name="Freeform: Shape 3789">
              <a:extLst>
                <a:ext uri="{FF2B5EF4-FFF2-40B4-BE49-F238E27FC236}">
                  <a16:creationId xmlns:a16="http://schemas.microsoft.com/office/drawing/2014/main" id="{052D696B-273D-4004-BE8A-3841796CD699}"/>
                </a:ext>
              </a:extLst>
            </p:cNvPr>
            <p:cNvSpPr/>
            <p:nvPr/>
          </p:nvSpPr>
          <p:spPr>
            <a:xfrm>
              <a:off x="12277318" y="2863115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1" name="Freeform: Shape 3790">
              <a:extLst>
                <a:ext uri="{FF2B5EF4-FFF2-40B4-BE49-F238E27FC236}">
                  <a16:creationId xmlns:a16="http://schemas.microsoft.com/office/drawing/2014/main" id="{93A3228F-920C-41A6-AB3D-752D4873DC67}"/>
                </a:ext>
              </a:extLst>
            </p:cNvPr>
            <p:cNvSpPr/>
            <p:nvPr/>
          </p:nvSpPr>
          <p:spPr>
            <a:xfrm>
              <a:off x="12238597" y="284073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60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187152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60"/>
                    <a:pt x="122618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2" name="Freeform: Shape 3791">
              <a:extLst>
                <a:ext uri="{FF2B5EF4-FFF2-40B4-BE49-F238E27FC236}">
                  <a16:creationId xmlns:a16="http://schemas.microsoft.com/office/drawing/2014/main" id="{2ADB7FD6-180A-4F12-BD2F-49E92E3F0462}"/>
                </a:ext>
              </a:extLst>
            </p:cNvPr>
            <p:cNvSpPr/>
            <p:nvPr/>
          </p:nvSpPr>
          <p:spPr>
            <a:xfrm>
              <a:off x="14832917" y="2927650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8"/>
                    <a:pt x="135525" y="177678"/>
                  </a:cubicBezTo>
                  <a:cubicBezTo>
                    <a:pt x="109711" y="177678"/>
                    <a:pt x="96803" y="151864"/>
                    <a:pt x="96803" y="138957"/>
                  </a:cubicBezTo>
                  <a:cubicBezTo>
                    <a:pt x="96803" y="113143"/>
                    <a:pt x="122618" y="100236"/>
                    <a:pt x="135525" y="100236"/>
                  </a:cubicBezTo>
                  <a:cubicBezTo>
                    <a:pt x="148431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3" name="Freeform: Shape 3792">
              <a:extLst>
                <a:ext uri="{FF2B5EF4-FFF2-40B4-BE49-F238E27FC236}">
                  <a16:creationId xmlns:a16="http://schemas.microsoft.com/office/drawing/2014/main" id="{B221FC3C-99D6-44F7-B7F8-A1BA5C31C954}"/>
                </a:ext>
              </a:extLst>
            </p:cNvPr>
            <p:cNvSpPr/>
            <p:nvPr/>
          </p:nvSpPr>
          <p:spPr>
            <a:xfrm>
              <a:off x="14807103" y="290526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187152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12967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4" name="Freeform: Shape 3793">
              <a:extLst>
                <a:ext uri="{FF2B5EF4-FFF2-40B4-BE49-F238E27FC236}">
                  <a16:creationId xmlns:a16="http://schemas.microsoft.com/office/drawing/2014/main" id="{F3B402B4-706B-4AA8-BB87-605AB38DD534}"/>
                </a:ext>
              </a:extLst>
            </p:cNvPr>
            <p:cNvSpPr/>
            <p:nvPr/>
          </p:nvSpPr>
          <p:spPr>
            <a:xfrm>
              <a:off x="15504085" y="262131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5" name="Freeform: Shape 3794">
              <a:extLst>
                <a:ext uri="{FF2B5EF4-FFF2-40B4-BE49-F238E27FC236}">
                  <a16:creationId xmlns:a16="http://schemas.microsoft.com/office/drawing/2014/main" id="{BF58F10E-3505-4748-85CE-0785C6D5A0AC}"/>
                </a:ext>
              </a:extLst>
            </p:cNvPr>
            <p:cNvSpPr/>
            <p:nvPr/>
          </p:nvSpPr>
          <p:spPr>
            <a:xfrm>
              <a:off x="15478270" y="259550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60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60"/>
                    <a:pt x="122618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35524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6" name="Freeform: Shape 3795">
              <a:extLst>
                <a:ext uri="{FF2B5EF4-FFF2-40B4-BE49-F238E27FC236}">
                  <a16:creationId xmlns:a16="http://schemas.microsoft.com/office/drawing/2014/main" id="{929D97C1-1DB6-4AC4-ABFC-A3EBBC0578D5}"/>
                </a:ext>
              </a:extLst>
            </p:cNvPr>
            <p:cNvSpPr/>
            <p:nvPr/>
          </p:nvSpPr>
          <p:spPr>
            <a:xfrm>
              <a:off x="15813854" y="273747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7" name="Freeform: Shape 3796">
              <a:extLst>
                <a:ext uri="{FF2B5EF4-FFF2-40B4-BE49-F238E27FC236}">
                  <a16:creationId xmlns:a16="http://schemas.microsoft.com/office/drawing/2014/main" id="{AAB9BDF8-BFEE-411C-93A8-11CE94D2EBCE}"/>
                </a:ext>
              </a:extLst>
            </p:cNvPr>
            <p:cNvSpPr/>
            <p:nvPr/>
          </p:nvSpPr>
          <p:spPr>
            <a:xfrm>
              <a:off x="15775133" y="271166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8" name="Freeform: Shape 3797">
              <a:extLst>
                <a:ext uri="{FF2B5EF4-FFF2-40B4-BE49-F238E27FC236}">
                  <a16:creationId xmlns:a16="http://schemas.microsoft.com/office/drawing/2014/main" id="{F2698C20-49A7-42EE-BC77-6912E81DBB5D}"/>
                </a:ext>
              </a:extLst>
            </p:cNvPr>
            <p:cNvSpPr/>
            <p:nvPr/>
          </p:nvSpPr>
          <p:spPr>
            <a:xfrm>
              <a:off x="16226880" y="185979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99" name="Freeform: Shape 3798">
              <a:extLst>
                <a:ext uri="{FF2B5EF4-FFF2-40B4-BE49-F238E27FC236}">
                  <a16:creationId xmlns:a16="http://schemas.microsoft.com/office/drawing/2014/main" id="{97066B03-9E6C-4E69-8F71-D8B87A5846F3}"/>
                </a:ext>
              </a:extLst>
            </p:cNvPr>
            <p:cNvSpPr/>
            <p:nvPr/>
          </p:nvSpPr>
          <p:spPr>
            <a:xfrm>
              <a:off x="16201066" y="183398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12966" y="135524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0" name="Freeform: Shape 3799">
              <a:extLst>
                <a:ext uri="{FF2B5EF4-FFF2-40B4-BE49-F238E27FC236}">
                  <a16:creationId xmlns:a16="http://schemas.microsoft.com/office/drawing/2014/main" id="{F9325657-1B7D-4108-BF5D-9353C05A50C2}"/>
                </a:ext>
              </a:extLst>
            </p:cNvPr>
            <p:cNvSpPr/>
            <p:nvPr/>
          </p:nvSpPr>
          <p:spPr>
            <a:xfrm>
              <a:off x="15336292" y="179526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22618" y="174245"/>
                    <a:pt x="96803" y="148431"/>
                    <a:pt x="96803" y="135524"/>
                  </a:cubicBezTo>
                  <a:cubicBezTo>
                    <a:pt x="96803" y="122617"/>
                    <a:pt x="122618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1" name="Freeform: Shape 3800">
              <a:extLst>
                <a:ext uri="{FF2B5EF4-FFF2-40B4-BE49-F238E27FC236}">
                  <a16:creationId xmlns:a16="http://schemas.microsoft.com/office/drawing/2014/main" id="{E82C8434-84B7-469F-8A0D-9ECB728D5582}"/>
                </a:ext>
              </a:extLst>
            </p:cNvPr>
            <p:cNvSpPr/>
            <p:nvPr/>
          </p:nvSpPr>
          <p:spPr>
            <a:xfrm>
              <a:off x="15297572" y="176944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2" name="Freeform: Shape 3801">
              <a:extLst>
                <a:ext uri="{FF2B5EF4-FFF2-40B4-BE49-F238E27FC236}">
                  <a16:creationId xmlns:a16="http://schemas.microsoft.com/office/drawing/2014/main" id="{2B275C79-A6D4-4929-B9A9-7D9B2B1A7DD5}"/>
                </a:ext>
              </a:extLst>
            </p:cNvPr>
            <p:cNvSpPr/>
            <p:nvPr/>
          </p:nvSpPr>
          <p:spPr>
            <a:xfrm>
              <a:off x="16510835" y="2156659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3" name="Freeform: Shape 3802">
              <a:extLst>
                <a:ext uri="{FF2B5EF4-FFF2-40B4-BE49-F238E27FC236}">
                  <a16:creationId xmlns:a16="http://schemas.microsoft.com/office/drawing/2014/main" id="{AFB6301A-D977-4598-87D2-BDBBF426824D}"/>
                </a:ext>
              </a:extLst>
            </p:cNvPr>
            <p:cNvSpPr/>
            <p:nvPr/>
          </p:nvSpPr>
          <p:spPr>
            <a:xfrm>
              <a:off x="16472115" y="213084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4" name="Freeform: Shape 3803">
              <a:extLst>
                <a:ext uri="{FF2B5EF4-FFF2-40B4-BE49-F238E27FC236}">
                  <a16:creationId xmlns:a16="http://schemas.microsoft.com/office/drawing/2014/main" id="{E22E7652-977B-4E8E-9993-3E3ED19D7C1F}"/>
                </a:ext>
              </a:extLst>
            </p:cNvPr>
            <p:cNvSpPr/>
            <p:nvPr/>
          </p:nvSpPr>
          <p:spPr>
            <a:xfrm>
              <a:off x="8921482" y="1533687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5" name="Freeform: Shape 3804">
              <a:extLst>
                <a:ext uri="{FF2B5EF4-FFF2-40B4-BE49-F238E27FC236}">
                  <a16:creationId xmlns:a16="http://schemas.microsoft.com/office/drawing/2014/main" id="{547D40DF-108E-4C1E-A7B6-C433ADAC16E5}"/>
                </a:ext>
              </a:extLst>
            </p:cNvPr>
            <p:cNvSpPr/>
            <p:nvPr/>
          </p:nvSpPr>
          <p:spPr>
            <a:xfrm>
              <a:off x="8882760" y="151130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6" name="Freeform: Shape 3805">
              <a:extLst>
                <a:ext uri="{FF2B5EF4-FFF2-40B4-BE49-F238E27FC236}">
                  <a16:creationId xmlns:a16="http://schemas.microsoft.com/office/drawing/2014/main" id="{9F29D308-414B-46FF-9AB6-A5976EA79680}"/>
                </a:ext>
              </a:extLst>
            </p:cNvPr>
            <p:cNvSpPr/>
            <p:nvPr/>
          </p:nvSpPr>
          <p:spPr>
            <a:xfrm>
              <a:off x="9437764" y="131770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2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8" y="174245"/>
                    <a:pt x="96802" y="156909"/>
                    <a:pt x="96802" y="135524"/>
                  </a:cubicBezTo>
                  <a:cubicBezTo>
                    <a:pt x="96802" y="114139"/>
                    <a:pt x="114138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7" name="Freeform: Shape 3806">
              <a:extLst>
                <a:ext uri="{FF2B5EF4-FFF2-40B4-BE49-F238E27FC236}">
                  <a16:creationId xmlns:a16="http://schemas.microsoft.com/office/drawing/2014/main" id="{3B7677CC-CFA4-49B9-A1C3-DA27624952E9}"/>
                </a:ext>
              </a:extLst>
            </p:cNvPr>
            <p:cNvSpPr/>
            <p:nvPr/>
          </p:nvSpPr>
          <p:spPr>
            <a:xfrm>
              <a:off x="9411949" y="129188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8" y="109710"/>
                    <a:pt x="96803" y="135524"/>
                    <a:pt x="96803" y="174245"/>
                  </a:cubicBezTo>
                  <a:cubicBezTo>
                    <a:pt x="96803" y="212967"/>
                    <a:pt x="122618" y="238781"/>
                    <a:pt x="161338" y="238781"/>
                  </a:cubicBezTo>
                  <a:cubicBezTo>
                    <a:pt x="200060" y="238781"/>
                    <a:pt x="225874" y="212967"/>
                    <a:pt x="225874" y="174245"/>
                  </a:cubicBezTo>
                  <a:cubicBezTo>
                    <a:pt x="225874" y="135524"/>
                    <a:pt x="200060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8" name="Freeform: Shape 3807">
              <a:extLst>
                <a:ext uri="{FF2B5EF4-FFF2-40B4-BE49-F238E27FC236}">
                  <a16:creationId xmlns:a16="http://schemas.microsoft.com/office/drawing/2014/main" id="{AD9C6304-30A6-40B5-BC45-FC8B8628461B}"/>
                </a:ext>
              </a:extLst>
            </p:cNvPr>
            <p:cNvSpPr/>
            <p:nvPr/>
          </p:nvSpPr>
          <p:spPr>
            <a:xfrm>
              <a:off x="8431013" y="2918176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09" name="Freeform: Shape 3808">
              <a:extLst>
                <a:ext uri="{FF2B5EF4-FFF2-40B4-BE49-F238E27FC236}">
                  <a16:creationId xmlns:a16="http://schemas.microsoft.com/office/drawing/2014/main" id="{12C02011-9AF6-4D7F-ABB2-84D70A657822}"/>
                </a:ext>
              </a:extLst>
            </p:cNvPr>
            <p:cNvSpPr/>
            <p:nvPr/>
          </p:nvSpPr>
          <p:spPr>
            <a:xfrm>
              <a:off x="8405199" y="289236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35524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0" name="Freeform: Shape 3809">
              <a:extLst>
                <a:ext uri="{FF2B5EF4-FFF2-40B4-BE49-F238E27FC236}">
                  <a16:creationId xmlns:a16="http://schemas.microsoft.com/office/drawing/2014/main" id="{C90FD044-4DF5-4886-96A3-A3CBBEFAA413}"/>
                </a:ext>
              </a:extLst>
            </p:cNvPr>
            <p:cNvSpPr/>
            <p:nvPr/>
          </p:nvSpPr>
          <p:spPr>
            <a:xfrm>
              <a:off x="8689154" y="2450089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5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8" y="100236"/>
                    <a:pt x="135525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1" name="Freeform: Shape 3810">
              <a:extLst>
                <a:ext uri="{FF2B5EF4-FFF2-40B4-BE49-F238E27FC236}">
                  <a16:creationId xmlns:a16="http://schemas.microsoft.com/office/drawing/2014/main" id="{9F0231AB-6B0B-40DF-AC1C-154D13E222F1}"/>
                </a:ext>
              </a:extLst>
            </p:cNvPr>
            <p:cNvSpPr/>
            <p:nvPr/>
          </p:nvSpPr>
          <p:spPr>
            <a:xfrm>
              <a:off x="8650433" y="242770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187152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2" name="Freeform: Shape 3811">
              <a:extLst>
                <a:ext uri="{FF2B5EF4-FFF2-40B4-BE49-F238E27FC236}">
                  <a16:creationId xmlns:a16="http://schemas.microsoft.com/office/drawing/2014/main" id="{BC39E581-D35B-4AF0-8EE4-529B3389D4E5}"/>
                </a:ext>
              </a:extLst>
            </p:cNvPr>
            <p:cNvSpPr/>
            <p:nvPr/>
          </p:nvSpPr>
          <p:spPr>
            <a:xfrm>
              <a:off x="7746938" y="339573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3" name="Freeform: Shape 3812">
              <a:extLst>
                <a:ext uri="{FF2B5EF4-FFF2-40B4-BE49-F238E27FC236}">
                  <a16:creationId xmlns:a16="http://schemas.microsoft.com/office/drawing/2014/main" id="{196DBB57-D57E-4FC6-91D5-328083EB1D13}"/>
                </a:ext>
              </a:extLst>
            </p:cNvPr>
            <p:cNvSpPr/>
            <p:nvPr/>
          </p:nvSpPr>
          <p:spPr>
            <a:xfrm>
              <a:off x="7708217" y="336992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4" name="Freeform: Shape 3813">
              <a:extLst>
                <a:ext uri="{FF2B5EF4-FFF2-40B4-BE49-F238E27FC236}">
                  <a16:creationId xmlns:a16="http://schemas.microsoft.com/office/drawing/2014/main" id="{BA4C98F7-A7D0-48CD-AE79-B69FB9FD9ED0}"/>
                </a:ext>
              </a:extLst>
            </p:cNvPr>
            <p:cNvSpPr/>
            <p:nvPr/>
          </p:nvSpPr>
          <p:spPr>
            <a:xfrm>
              <a:off x="9631370" y="2440615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5" name="Freeform: Shape 3814">
              <a:extLst>
                <a:ext uri="{FF2B5EF4-FFF2-40B4-BE49-F238E27FC236}">
                  <a16:creationId xmlns:a16="http://schemas.microsoft.com/office/drawing/2014/main" id="{01FF5618-C79E-4F36-9007-6F58FD64DA44}"/>
                </a:ext>
              </a:extLst>
            </p:cNvPr>
            <p:cNvSpPr/>
            <p:nvPr/>
          </p:nvSpPr>
          <p:spPr>
            <a:xfrm>
              <a:off x="9592649" y="241480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60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60"/>
                    <a:pt x="122618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35524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6" name="Freeform: Shape 3815">
              <a:extLst>
                <a:ext uri="{FF2B5EF4-FFF2-40B4-BE49-F238E27FC236}">
                  <a16:creationId xmlns:a16="http://schemas.microsoft.com/office/drawing/2014/main" id="{F7763301-3D5A-4460-AEC8-0E630C8643FB}"/>
                </a:ext>
              </a:extLst>
            </p:cNvPr>
            <p:cNvSpPr/>
            <p:nvPr/>
          </p:nvSpPr>
          <p:spPr>
            <a:xfrm>
              <a:off x="10392887" y="260840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7" name="Freeform: Shape 3816">
              <a:extLst>
                <a:ext uri="{FF2B5EF4-FFF2-40B4-BE49-F238E27FC236}">
                  <a16:creationId xmlns:a16="http://schemas.microsoft.com/office/drawing/2014/main" id="{BDE5311F-4DC9-4616-A118-EDB6456434B4}"/>
                </a:ext>
              </a:extLst>
            </p:cNvPr>
            <p:cNvSpPr/>
            <p:nvPr/>
          </p:nvSpPr>
          <p:spPr>
            <a:xfrm>
              <a:off x="10367072" y="258259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60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8" y="109710"/>
                    <a:pt x="96803" y="135524"/>
                    <a:pt x="96803" y="174245"/>
                  </a:cubicBezTo>
                  <a:cubicBezTo>
                    <a:pt x="96803" y="212967"/>
                    <a:pt x="122618" y="238781"/>
                    <a:pt x="161338" y="238781"/>
                  </a:cubicBezTo>
                  <a:cubicBezTo>
                    <a:pt x="200060" y="238781"/>
                    <a:pt x="225874" y="212967"/>
                    <a:pt x="225874" y="174245"/>
                  </a:cubicBezTo>
                  <a:cubicBezTo>
                    <a:pt x="225874" y="135524"/>
                    <a:pt x="200060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8" name="Freeform: Shape 3817">
              <a:extLst>
                <a:ext uri="{FF2B5EF4-FFF2-40B4-BE49-F238E27FC236}">
                  <a16:creationId xmlns:a16="http://schemas.microsoft.com/office/drawing/2014/main" id="{117A834D-3805-4EFF-A4F3-07D4F98D2563}"/>
                </a:ext>
              </a:extLst>
            </p:cNvPr>
            <p:cNvSpPr/>
            <p:nvPr/>
          </p:nvSpPr>
          <p:spPr>
            <a:xfrm>
              <a:off x="10999519" y="3327769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26050"/>
                    <a:pt x="122617" y="100236"/>
                    <a:pt x="135525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19" name="Freeform: Shape 3818">
              <a:extLst>
                <a:ext uri="{FF2B5EF4-FFF2-40B4-BE49-F238E27FC236}">
                  <a16:creationId xmlns:a16="http://schemas.microsoft.com/office/drawing/2014/main" id="{9AF99FC6-6C50-44FC-B6C3-4B2104526CA2}"/>
                </a:ext>
              </a:extLst>
            </p:cNvPr>
            <p:cNvSpPr/>
            <p:nvPr/>
          </p:nvSpPr>
          <p:spPr>
            <a:xfrm>
              <a:off x="10960797" y="330538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60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60"/>
                    <a:pt x="122618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0" name="Freeform: Shape 3819">
              <a:extLst>
                <a:ext uri="{FF2B5EF4-FFF2-40B4-BE49-F238E27FC236}">
                  <a16:creationId xmlns:a16="http://schemas.microsoft.com/office/drawing/2014/main" id="{7E16070A-EFD9-4424-AA1C-1CBC18A6618C}"/>
                </a:ext>
              </a:extLst>
            </p:cNvPr>
            <p:cNvSpPr/>
            <p:nvPr/>
          </p:nvSpPr>
          <p:spPr>
            <a:xfrm>
              <a:off x="11619058" y="1972527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0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1" name="Freeform: Shape 3820">
              <a:extLst>
                <a:ext uri="{FF2B5EF4-FFF2-40B4-BE49-F238E27FC236}">
                  <a16:creationId xmlns:a16="http://schemas.microsoft.com/office/drawing/2014/main" id="{9EE18DFD-3E3C-447B-A7C2-3C98EB9616A8}"/>
                </a:ext>
              </a:extLst>
            </p:cNvPr>
            <p:cNvSpPr/>
            <p:nvPr/>
          </p:nvSpPr>
          <p:spPr>
            <a:xfrm>
              <a:off x="11593244" y="195014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2" name="Freeform: Shape 3821">
              <a:extLst>
                <a:ext uri="{FF2B5EF4-FFF2-40B4-BE49-F238E27FC236}">
                  <a16:creationId xmlns:a16="http://schemas.microsoft.com/office/drawing/2014/main" id="{4802B342-ADD9-4831-AAB0-D11ADED316F7}"/>
                </a:ext>
              </a:extLst>
            </p:cNvPr>
            <p:cNvSpPr/>
            <p:nvPr/>
          </p:nvSpPr>
          <p:spPr>
            <a:xfrm>
              <a:off x="12122434" y="1898518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56909"/>
                    <a:pt x="156910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10" y="96803"/>
                    <a:pt x="174246" y="114139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3" name="Freeform: Shape 3822">
              <a:extLst>
                <a:ext uri="{FF2B5EF4-FFF2-40B4-BE49-F238E27FC236}">
                  <a16:creationId xmlns:a16="http://schemas.microsoft.com/office/drawing/2014/main" id="{FA805E5E-70FE-4895-8946-64BB7CE4C297}"/>
                </a:ext>
              </a:extLst>
            </p:cNvPr>
            <p:cNvSpPr/>
            <p:nvPr/>
          </p:nvSpPr>
          <p:spPr>
            <a:xfrm>
              <a:off x="12096619" y="187270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187152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12967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4" name="Freeform: Shape 3823">
              <a:extLst>
                <a:ext uri="{FF2B5EF4-FFF2-40B4-BE49-F238E27FC236}">
                  <a16:creationId xmlns:a16="http://schemas.microsoft.com/office/drawing/2014/main" id="{B0D69E19-F3A7-4358-88E4-3E4060B1CDD5}"/>
                </a:ext>
              </a:extLst>
            </p:cNvPr>
            <p:cNvSpPr/>
            <p:nvPr/>
          </p:nvSpPr>
          <p:spPr>
            <a:xfrm>
              <a:off x="14871638" y="162747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5" name="Freeform: Shape 3824">
              <a:extLst>
                <a:ext uri="{FF2B5EF4-FFF2-40B4-BE49-F238E27FC236}">
                  <a16:creationId xmlns:a16="http://schemas.microsoft.com/office/drawing/2014/main" id="{68D77E4D-880B-4388-85C6-7DB6A3C76B78}"/>
                </a:ext>
              </a:extLst>
            </p:cNvPr>
            <p:cNvSpPr/>
            <p:nvPr/>
          </p:nvSpPr>
          <p:spPr>
            <a:xfrm>
              <a:off x="14845825" y="160165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5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6" name="Freeform: Shape 3825">
              <a:extLst>
                <a:ext uri="{FF2B5EF4-FFF2-40B4-BE49-F238E27FC236}">
                  <a16:creationId xmlns:a16="http://schemas.microsoft.com/office/drawing/2014/main" id="{6F1B0743-55B6-4F67-A1F2-BC9A1FE93A50}"/>
                </a:ext>
              </a:extLst>
            </p:cNvPr>
            <p:cNvSpPr/>
            <p:nvPr/>
          </p:nvSpPr>
          <p:spPr>
            <a:xfrm>
              <a:off x="13129185" y="167909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7" name="Freeform: Shape 3826">
              <a:extLst>
                <a:ext uri="{FF2B5EF4-FFF2-40B4-BE49-F238E27FC236}">
                  <a16:creationId xmlns:a16="http://schemas.microsoft.com/office/drawing/2014/main" id="{57647482-A3DD-4F7D-8EE5-00879D3F6D6E}"/>
                </a:ext>
              </a:extLst>
            </p:cNvPr>
            <p:cNvSpPr/>
            <p:nvPr/>
          </p:nvSpPr>
          <p:spPr>
            <a:xfrm>
              <a:off x="13103371" y="165328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8" name="Freeform: Shape 3827">
              <a:extLst>
                <a:ext uri="{FF2B5EF4-FFF2-40B4-BE49-F238E27FC236}">
                  <a16:creationId xmlns:a16="http://schemas.microsoft.com/office/drawing/2014/main" id="{BCC371C0-5224-465D-8686-42AAC77480E2}"/>
                </a:ext>
              </a:extLst>
            </p:cNvPr>
            <p:cNvSpPr/>
            <p:nvPr/>
          </p:nvSpPr>
          <p:spPr>
            <a:xfrm>
              <a:off x="12948486" y="144677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3 w 258141"/>
                <a:gd name="connsiteY1" fmla="*/ 174245 h 258141"/>
                <a:gd name="connsiteX2" fmla="*/ 96802 w 258141"/>
                <a:gd name="connsiteY2" fmla="*/ 135524 h 258141"/>
                <a:gd name="connsiteX3" fmla="*/ 135523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3" y="174245"/>
                  </a:cubicBezTo>
                  <a:cubicBezTo>
                    <a:pt x="114138" y="174245"/>
                    <a:pt x="96802" y="156909"/>
                    <a:pt x="96802" y="135524"/>
                  </a:cubicBezTo>
                  <a:cubicBezTo>
                    <a:pt x="96802" y="114139"/>
                    <a:pt x="114138" y="96803"/>
                    <a:pt x="135523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29" name="Freeform: Shape 3828">
              <a:extLst>
                <a:ext uri="{FF2B5EF4-FFF2-40B4-BE49-F238E27FC236}">
                  <a16:creationId xmlns:a16="http://schemas.microsoft.com/office/drawing/2014/main" id="{0B614E5F-8CDC-42E6-9C5E-08F4C3D59ED3}"/>
                </a:ext>
              </a:extLst>
            </p:cNvPr>
            <p:cNvSpPr/>
            <p:nvPr/>
          </p:nvSpPr>
          <p:spPr>
            <a:xfrm>
              <a:off x="12922672" y="142095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0" name="Freeform: Shape 3829">
              <a:extLst>
                <a:ext uri="{FF2B5EF4-FFF2-40B4-BE49-F238E27FC236}">
                  <a16:creationId xmlns:a16="http://schemas.microsoft.com/office/drawing/2014/main" id="{B2A03A84-A0B3-4770-A2C0-B4A5D0C06F9F}"/>
                </a:ext>
              </a:extLst>
            </p:cNvPr>
            <p:cNvSpPr/>
            <p:nvPr/>
          </p:nvSpPr>
          <p:spPr>
            <a:xfrm>
              <a:off x="14432798" y="1830550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5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8" y="100236"/>
                    <a:pt x="135525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1" name="Freeform: Shape 3830">
              <a:extLst>
                <a:ext uri="{FF2B5EF4-FFF2-40B4-BE49-F238E27FC236}">
                  <a16:creationId xmlns:a16="http://schemas.microsoft.com/office/drawing/2014/main" id="{3563342A-67DC-4302-AD42-A790965A251B}"/>
                </a:ext>
              </a:extLst>
            </p:cNvPr>
            <p:cNvSpPr/>
            <p:nvPr/>
          </p:nvSpPr>
          <p:spPr>
            <a:xfrm>
              <a:off x="14406984" y="180816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187152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2" name="Freeform: Shape 3831">
              <a:extLst>
                <a:ext uri="{FF2B5EF4-FFF2-40B4-BE49-F238E27FC236}">
                  <a16:creationId xmlns:a16="http://schemas.microsoft.com/office/drawing/2014/main" id="{0B207D9F-07B0-48AB-AFE7-42270FB230BB}"/>
                </a:ext>
              </a:extLst>
            </p:cNvPr>
            <p:cNvSpPr/>
            <p:nvPr/>
          </p:nvSpPr>
          <p:spPr>
            <a:xfrm>
              <a:off x="8314849" y="352480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3" name="Freeform: Shape 3832">
              <a:extLst>
                <a:ext uri="{FF2B5EF4-FFF2-40B4-BE49-F238E27FC236}">
                  <a16:creationId xmlns:a16="http://schemas.microsoft.com/office/drawing/2014/main" id="{31534068-1D99-4DFF-AD77-56B8D03E5F5D}"/>
                </a:ext>
              </a:extLst>
            </p:cNvPr>
            <p:cNvSpPr/>
            <p:nvPr/>
          </p:nvSpPr>
          <p:spPr>
            <a:xfrm>
              <a:off x="8289035" y="349899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5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4" name="Freeform: Shape 3833">
              <a:extLst>
                <a:ext uri="{FF2B5EF4-FFF2-40B4-BE49-F238E27FC236}">
                  <a16:creationId xmlns:a16="http://schemas.microsoft.com/office/drawing/2014/main" id="{5581DC24-69DF-4CDA-AF91-162E2CE4B5C1}"/>
                </a:ext>
              </a:extLst>
            </p:cNvPr>
            <p:cNvSpPr/>
            <p:nvPr/>
          </p:nvSpPr>
          <p:spPr>
            <a:xfrm>
              <a:off x="10173467" y="6025346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2"/>
                    <a:pt x="148431" y="177678"/>
                    <a:pt x="135525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26050"/>
                    <a:pt x="122618" y="100236"/>
                    <a:pt x="135525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5" name="Freeform: Shape 3834">
              <a:extLst>
                <a:ext uri="{FF2B5EF4-FFF2-40B4-BE49-F238E27FC236}">
                  <a16:creationId xmlns:a16="http://schemas.microsoft.com/office/drawing/2014/main" id="{71009ADC-0A18-4A9B-BAB7-1CBFA4197656}"/>
                </a:ext>
              </a:extLst>
            </p:cNvPr>
            <p:cNvSpPr/>
            <p:nvPr/>
          </p:nvSpPr>
          <p:spPr>
            <a:xfrm>
              <a:off x="10134746" y="600296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6" name="Freeform: Shape 3835">
              <a:extLst>
                <a:ext uri="{FF2B5EF4-FFF2-40B4-BE49-F238E27FC236}">
                  <a16:creationId xmlns:a16="http://schemas.microsoft.com/office/drawing/2014/main" id="{88201927-4426-4D62-AB77-A1CABF7B0485}"/>
                </a:ext>
              </a:extLst>
            </p:cNvPr>
            <p:cNvSpPr/>
            <p:nvPr/>
          </p:nvSpPr>
          <p:spPr>
            <a:xfrm>
              <a:off x="9708812" y="7538905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5 w 258141"/>
                <a:gd name="connsiteY1" fmla="*/ 174246 h 258141"/>
                <a:gd name="connsiteX2" fmla="*/ 96803 w 258141"/>
                <a:gd name="connsiteY2" fmla="*/ 135525 h 258141"/>
                <a:gd name="connsiteX3" fmla="*/ 135525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1" y="174246"/>
                    <a:pt x="135525" y="174246"/>
                  </a:cubicBezTo>
                  <a:cubicBezTo>
                    <a:pt x="122617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5" y="122617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7" name="Freeform: Shape 3836">
              <a:extLst>
                <a:ext uri="{FF2B5EF4-FFF2-40B4-BE49-F238E27FC236}">
                  <a16:creationId xmlns:a16="http://schemas.microsoft.com/office/drawing/2014/main" id="{BAF35EC8-416C-4D34-93A8-D9A449FA540C}"/>
                </a:ext>
              </a:extLst>
            </p:cNvPr>
            <p:cNvSpPr/>
            <p:nvPr/>
          </p:nvSpPr>
          <p:spPr>
            <a:xfrm>
              <a:off x="9682999" y="751309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0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6"/>
                    <a:pt x="122617" y="238780"/>
                    <a:pt x="161338" y="238780"/>
                  </a:cubicBezTo>
                  <a:cubicBezTo>
                    <a:pt x="200059" y="238780"/>
                    <a:pt x="225874" y="212966"/>
                    <a:pt x="225874" y="174245"/>
                  </a:cubicBezTo>
                  <a:cubicBezTo>
                    <a:pt x="225874" y="135524"/>
                    <a:pt x="187152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8" name="Freeform: Shape 3837">
              <a:extLst>
                <a:ext uri="{FF2B5EF4-FFF2-40B4-BE49-F238E27FC236}">
                  <a16:creationId xmlns:a16="http://schemas.microsoft.com/office/drawing/2014/main" id="{518AE97C-5B36-4512-84FA-78376ACD7A56}"/>
                </a:ext>
              </a:extLst>
            </p:cNvPr>
            <p:cNvSpPr/>
            <p:nvPr/>
          </p:nvSpPr>
          <p:spPr>
            <a:xfrm>
              <a:off x="9308694" y="7990652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39" name="Freeform: Shape 3838">
              <a:extLst>
                <a:ext uri="{FF2B5EF4-FFF2-40B4-BE49-F238E27FC236}">
                  <a16:creationId xmlns:a16="http://schemas.microsoft.com/office/drawing/2014/main" id="{320044CE-D2E9-44BC-AF80-4CA418590109}"/>
                </a:ext>
              </a:extLst>
            </p:cNvPr>
            <p:cNvSpPr/>
            <p:nvPr/>
          </p:nvSpPr>
          <p:spPr>
            <a:xfrm>
              <a:off x="9269972" y="796483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0" name="Freeform: Shape 3839">
              <a:extLst>
                <a:ext uri="{FF2B5EF4-FFF2-40B4-BE49-F238E27FC236}">
                  <a16:creationId xmlns:a16="http://schemas.microsoft.com/office/drawing/2014/main" id="{6B4F1F26-974C-42FC-8941-BA81ED059E27}"/>
                </a:ext>
              </a:extLst>
            </p:cNvPr>
            <p:cNvSpPr/>
            <p:nvPr/>
          </p:nvSpPr>
          <p:spPr>
            <a:xfrm>
              <a:off x="10018582" y="696756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2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26050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1" name="Freeform: Shape 3840">
              <a:extLst>
                <a:ext uri="{FF2B5EF4-FFF2-40B4-BE49-F238E27FC236}">
                  <a16:creationId xmlns:a16="http://schemas.microsoft.com/office/drawing/2014/main" id="{FC126F61-BA41-42D9-B6FA-EC7E57BE6E6C}"/>
                </a:ext>
              </a:extLst>
            </p:cNvPr>
            <p:cNvSpPr/>
            <p:nvPr/>
          </p:nvSpPr>
          <p:spPr>
            <a:xfrm>
              <a:off x="9992767" y="694518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2" name="Freeform: Shape 3841">
              <a:extLst>
                <a:ext uri="{FF2B5EF4-FFF2-40B4-BE49-F238E27FC236}">
                  <a16:creationId xmlns:a16="http://schemas.microsoft.com/office/drawing/2014/main" id="{3F3B63F5-1AFF-4298-AA18-BF958C4B760A}"/>
                </a:ext>
              </a:extLst>
            </p:cNvPr>
            <p:cNvSpPr/>
            <p:nvPr/>
          </p:nvSpPr>
          <p:spPr>
            <a:xfrm>
              <a:off x="8960202" y="7706697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22618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3" name="Freeform: Shape 3842">
              <a:extLst>
                <a:ext uri="{FF2B5EF4-FFF2-40B4-BE49-F238E27FC236}">
                  <a16:creationId xmlns:a16="http://schemas.microsoft.com/office/drawing/2014/main" id="{1CA1440A-89B1-42E1-97BC-13757E1B9939}"/>
                </a:ext>
              </a:extLst>
            </p:cNvPr>
            <p:cNvSpPr/>
            <p:nvPr/>
          </p:nvSpPr>
          <p:spPr>
            <a:xfrm>
              <a:off x="8934388" y="768088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4" name="Freeform: Shape 3843">
              <a:extLst>
                <a:ext uri="{FF2B5EF4-FFF2-40B4-BE49-F238E27FC236}">
                  <a16:creationId xmlns:a16="http://schemas.microsoft.com/office/drawing/2014/main" id="{033A22CC-CB75-4894-9430-03009738358D}"/>
                </a:ext>
              </a:extLst>
            </p:cNvPr>
            <p:cNvSpPr/>
            <p:nvPr/>
          </p:nvSpPr>
          <p:spPr>
            <a:xfrm>
              <a:off x="5565645" y="286654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5" name="Freeform: Shape 3844">
              <a:extLst>
                <a:ext uri="{FF2B5EF4-FFF2-40B4-BE49-F238E27FC236}">
                  <a16:creationId xmlns:a16="http://schemas.microsoft.com/office/drawing/2014/main" id="{A98C0770-6AA9-4790-9AE7-F4FFF9B16B6F}"/>
                </a:ext>
              </a:extLst>
            </p:cNvPr>
            <p:cNvSpPr/>
            <p:nvPr/>
          </p:nvSpPr>
          <p:spPr>
            <a:xfrm>
              <a:off x="5539831" y="284073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12966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6" name="Freeform: Shape 3845">
              <a:extLst>
                <a:ext uri="{FF2B5EF4-FFF2-40B4-BE49-F238E27FC236}">
                  <a16:creationId xmlns:a16="http://schemas.microsoft.com/office/drawing/2014/main" id="{A00E9F93-BA7A-495D-9D16-AE10C03D95D1}"/>
                </a:ext>
              </a:extLst>
            </p:cNvPr>
            <p:cNvSpPr/>
            <p:nvPr/>
          </p:nvSpPr>
          <p:spPr>
            <a:xfrm>
              <a:off x="5088083" y="302143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7" name="Freeform: Shape 3846">
              <a:extLst>
                <a:ext uri="{FF2B5EF4-FFF2-40B4-BE49-F238E27FC236}">
                  <a16:creationId xmlns:a16="http://schemas.microsoft.com/office/drawing/2014/main" id="{C5F86E60-A11B-456B-B774-1582A4B3A1DC}"/>
                </a:ext>
              </a:extLst>
            </p:cNvPr>
            <p:cNvSpPr/>
            <p:nvPr/>
          </p:nvSpPr>
          <p:spPr>
            <a:xfrm>
              <a:off x="5049362" y="299561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8" name="Freeform: Shape 3847">
              <a:extLst>
                <a:ext uri="{FF2B5EF4-FFF2-40B4-BE49-F238E27FC236}">
                  <a16:creationId xmlns:a16="http://schemas.microsoft.com/office/drawing/2014/main" id="{E8EC9704-BF4A-4DB6-A9BA-D14BDE85CEBB}"/>
                </a:ext>
              </a:extLst>
            </p:cNvPr>
            <p:cNvSpPr/>
            <p:nvPr/>
          </p:nvSpPr>
          <p:spPr>
            <a:xfrm>
              <a:off x="4326566" y="278910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49" name="Freeform: Shape 3848">
              <a:extLst>
                <a:ext uri="{FF2B5EF4-FFF2-40B4-BE49-F238E27FC236}">
                  <a16:creationId xmlns:a16="http://schemas.microsoft.com/office/drawing/2014/main" id="{AB1D21D6-60D8-4A5B-A601-13E57FEE6BA8}"/>
                </a:ext>
              </a:extLst>
            </p:cNvPr>
            <p:cNvSpPr/>
            <p:nvPr/>
          </p:nvSpPr>
          <p:spPr>
            <a:xfrm>
              <a:off x="4287845" y="276329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5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0" name="Freeform: Shape 3849">
              <a:extLst>
                <a:ext uri="{FF2B5EF4-FFF2-40B4-BE49-F238E27FC236}">
                  <a16:creationId xmlns:a16="http://schemas.microsoft.com/office/drawing/2014/main" id="{9C29C55C-0C28-4B84-A6BC-725A206115AE}"/>
                </a:ext>
              </a:extLst>
            </p:cNvPr>
            <p:cNvSpPr/>
            <p:nvPr/>
          </p:nvSpPr>
          <p:spPr>
            <a:xfrm>
              <a:off x="4455637" y="258259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1" name="Freeform: Shape 3850">
              <a:extLst>
                <a:ext uri="{FF2B5EF4-FFF2-40B4-BE49-F238E27FC236}">
                  <a16:creationId xmlns:a16="http://schemas.microsoft.com/office/drawing/2014/main" id="{FF57C80C-9BF6-4B36-B204-9DA153197669}"/>
                </a:ext>
              </a:extLst>
            </p:cNvPr>
            <p:cNvSpPr/>
            <p:nvPr/>
          </p:nvSpPr>
          <p:spPr>
            <a:xfrm>
              <a:off x="4429823" y="255677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35524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2" name="Freeform: Shape 3851">
              <a:extLst>
                <a:ext uri="{FF2B5EF4-FFF2-40B4-BE49-F238E27FC236}">
                  <a16:creationId xmlns:a16="http://schemas.microsoft.com/office/drawing/2014/main" id="{CBE296A8-8E85-4535-AA40-0518AE97D26E}"/>
                </a:ext>
              </a:extLst>
            </p:cNvPr>
            <p:cNvSpPr/>
            <p:nvPr/>
          </p:nvSpPr>
          <p:spPr>
            <a:xfrm>
              <a:off x="3719934" y="388620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3" name="Freeform: Shape 3852">
              <a:extLst>
                <a:ext uri="{FF2B5EF4-FFF2-40B4-BE49-F238E27FC236}">
                  <a16:creationId xmlns:a16="http://schemas.microsoft.com/office/drawing/2014/main" id="{93564B6A-E464-4C7F-8AC8-49B5B81A6CC2}"/>
                </a:ext>
              </a:extLst>
            </p:cNvPr>
            <p:cNvSpPr/>
            <p:nvPr/>
          </p:nvSpPr>
          <p:spPr>
            <a:xfrm>
              <a:off x="3681213" y="386039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60" y="238781"/>
                    <a:pt x="225874" y="212967"/>
                    <a:pt x="225874" y="174245"/>
                  </a:cubicBezTo>
                  <a:cubicBezTo>
                    <a:pt x="225874" y="135524"/>
                    <a:pt x="200060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4" name="Freeform: Shape 3853">
              <a:extLst>
                <a:ext uri="{FF2B5EF4-FFF2-40B4-BE49-F238E27FC236}">
                  <a16:creationId xmlns:a16="http://schemas.microsoft.com/office/drawing/2014/main" id="{41E1BFCC-4621-48B1-A856-D9BF89071A2C}"/>
                </a:ext>
              </a:extLst>
            </p:cNvPr>
            <p:cNvSpPr/>
            <p:nvPr/>
          </p:nvSpPr>
          <p:spPr>
            <a:xfrm>
              <a:off x="3539235" y="459266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5" name="Freeform: Shape 3854">
              <a:extLst>
                <a:ext uri="{FF2B5EF4-FFF2-40B4-BE49-F238E27FC236}">
                  <a16:creationId xmlns:a16="http://schemas.microsoft.com/office/drawing/2014/main" id="{CBBD8FEC-1995-4745-A9CE-1D0B2C764943}"/>
                </a:ext>
              </a:extLst>
            </p:cNvPr>
            <p:cNvSpPr/>
            <p:nvPr/>
          </p:nvSpPr>
          <p:spPr>
            <a:xfrm>
              <a:off x="3513421" y="457028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187152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6" name="Freeform: Shape 3855">
              <a:extLst>
                <a:ext uri="{FF2B5EF4-FFF2-40B4-BE49-F238E27FC236}">
                  <a16:creationId xmlns:a16="http://schemas.microsoft.com/office/drawing/2014/main" id="{49642B80-1A23-4F1C-BF51-98CFFC2DBB54}"/>
                </a:ext>
              </a:extLst>
            </p:cNvPr>
            <p:cNvSpPr/>
            <p:nvPr/>
          </p:nvSpPr>
          <p:spPr>
            <a:xfrm>
              <a:off x="3939354" y="490586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7" name="Freeform: Shape 3856">
              <a:extLst>
                <a:ext uri="{FF2B5EF4-FFF2-40B4-BE49-F238E27FC236}">
                  <a16:creationId xmlns:a16="http://schemas.microsoft.com/office/drawing/2014/main" id="{639ABBFD-D108-4E1F-91D0-845DE2AD15F1}"/>
                </a:ext>
              </a:extLst>
            </p:cNvPr>
            <p:cNvSpPr/>
            <p:nvPr/>
          </p:nvSpPr>
          <p:spPr>
            <a:xfrm>
              <a:off x="3900633" y="488005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61338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00059"/>
                    <a:pt x="225874" y="161338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8" name="Freeform: Shape 3857">
              <a:extLst>
                <a:ext uri="{FF2B5EF4-FFF2-40B4-BE49-F238E27FC236}">
                  <a16:creationId xmlns:a16="http://schemas.microsoft.com/office/drawing/2014/main" id="{A0E8458A-DD9C-476C-9D84-262E41B4947F}"/>
                </a:ext>
              </a:extLst>
            </p:cNvPr>
            <p:cNvSpPr/>
            <p:nvPr/>
          </p:nvSpPr>
          <p:spPr>
            <a:xfrm>
              <a:off x="3281094" y="268584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56909"/>
                    <a:pt x="156909" y="174245"/>
                    <a:pt x="135524" y="174245"/>
                  </a:cubicBezTo>
                  <a:cubicBezTo>
                    <a:pt x="114139" y="174245"/>
                    <a:pt x="96803" y="156909"/>
                    <a:pt x="96803" y="135524"/>
                  </a:cubicBezTo>
                  <a:cubicBezTo>
                    <a:pt x="96803" y="114139"/>
                    <a:pt x="114139" y="96803"/>
                    <a:pt x="135524" y="96803"/>
                  </a:cubicBezTo>
                  <a:cubicBezTo>
                    <a:pt x="156909" y="96803"/>
                    <a:pt x="174245" y="114139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59" name="Freeform: Shape 3858">
              <a:extLst>
                <a:ext uri="{FF2B5EF4-FFF2-40B4-BE49-F238E27FC236}">
                  <a16:creationId xmlns:a16="http://schemas.microsoft.com/office/drawing/2014/main" id="{DF820FC6-9CBD-4D41-ADB2-5B16531F7689}"/>
                </a:ext>
              </a:extLst>
            </p:cNvPr>
            <p:cNvSpPr/>
            <p:nvPr/>
          </p:nvSpPr>
          <p:spPr>
            <a:xfrm>
              <a:off x="3255280" y="266003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0" name="Freeform: Shape 3859">
              <a:extLst>
                <a:ext uri="{FF2B5EF4-FFF2-40B4-BE49-F238E27FC236}">
                  <a16:creationId xmlns:a16="http://schemas.microsoft.com/office/drawing/2014/main" id="{181C2C27-047B-4513-BDAA-30FE3F1DE949}"/>
                </a:ext>
              </a:extLst>
            </p:cNvPr>
            <p:cNvSpPr/>
            <p:nvPr/>
          </p:nvSpPr>
          <p:spPr>
            <a:xfrm>
              <a:off x="3887726" y="293108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1" name="Freeform: Shape 3860">
              <a:extLst>
                <a:ext uri="{FF2B5EF4-FFF2-40B4-BE49-F238E27FC236}">
                  <a16:creationId xmlns:a16="http://schemas.microsoft.com/office/drawing/2014/main" id="{FAEBB4A0-1818-4A15-BD97-5BBA52698E27}"/>
                </a:ext>
              </a:extLst>
            </p:cNvPr>
            <p:cNvSpPr/>
            <p:nvPr/>
          </p:nvSpPr>
          <p:spPr>
            <a:xfrm>
              <a:off x="3849005" y="290526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35524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2" name="Freeform: Shape 3861">
              <a:extLst>
                <a:ext uri="{FF2B5EF4-FFF2-40B4-BE49-F238E27FC236}">
                  <a16:creationId xmlns:a16="http://schemas.microsoft.com/office/drawing/2014/main" id="{13F125E0-EFD4-4A4B-B83A-D08CD5406B8C}"/>
                </a:ext>
              </a:extLst>
            </p:cNvPr>
            <p:cNvSpPr/>
            <p:nvPr/>
          </p:nvSpPr>
          <p:spPr>
            <a:xfrm>
              <a:off x="4842849" y="2763291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3" name="Freeform: Shape 3862">
              <a:extLst>
                <a:ext uri="{FF2B5EF4-FFF2-40B4-BE49-F238E27FC236}">
                  <a16:creationId xmlns:a16="http://schemas.microsoft.com/office/drawing/2014/main" id="{F08DCD2F-95A7-442A-8AFD-BA2EE86F5D83}"/>
                </a:ext>
              </a:extLst>
            </p:cNvPr>
            <p:cNvSpPr/>
            <p:nvPr/>
          </p:nvSpPr>
          <p:spPr>
            <a:xfrm>
              <a:off x="4804128" y="273747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35524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4" name="Freeform: Shape 3863">
              <a:extLst>
                <a:ext uri="{FF2B5EF4-FFF2-40B4-BE49-F238E27FC236}">
                  <a16:creationId xmlns:a16="http://schemas.microsoft.com/office/drawing/2014/main" id="{AB33B983-636E-411D-9702-53AD6E046F62}"/>
                </a:ext>
              </a:extLst>
            </p:cNvPr>
            <p:cNvSpPr/>
            <p:nvPr/>
          </p:nvSpPr>
          <p:spPr>
            <a:xfrm>
              <a:off x="4881570" y="3172884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8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8"/>
                    <a:pt x="135525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61338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5" name="Freeform: Shape 3864">
              <a:extLst>
                <a:ext uri="{FF2B5EF4-FFF2-40B4-BE49-F238E27FC236}">
                  <a16:creationId xmlns:a16="http://schemas.microsoft.com/office/drawing/2014/main" id="{399B0EDF-D166-48B1-AF14-4B0BD0A7D795}"/>
                </a:ext>
              </a:extLst>
            </p:cNvPr>
            <p:cNvSpPr/>
            <p:nvPr/>
          </p:nvSpPr>
          <p:spPr>
            <a:xfrm>
              <a:off x="4855756" y="315050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187152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6" name="Freeform: Shape 3865">
              <a:extLst>
                <a:ext uri="{FF2B5EF4-FFF2-40B4-BE49-F238E27FC236}">
                  <a16:creationId xmlns:a16="http://schemas.microsoft.com/office/drawing/2014/main" id="{D6B19EF7-5580-445A-B69D-4D59DFDAAB81}"/>
                </a:ext>
              </a:extLst>
            </p:cNvPr>
            <p:cNvSpPr/>
            <p:nvPr/>
          </p:nvSpPr>
          <p:spPr>
            <a:xfrm>
              <a:off x="2622834" y="3547189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7" name="Freeform: Shape 3866">
              <a:extLst>
                <a:ext uri="{FF2B5EF4-FFF2-40B4-BE49-F238E27FC236}">
                  <a16:creationId xmlns:a16="http://schemas.microsoft.com/office/drawing/2014/main" id="{8EB154E2-B5D9-4547-A270-3B1A6DEA37C8}"/>
                </a:ext>
              </a:extLst>
            </p:cNvPr>
            <p:cNvSpPr/>
            <p:nvPr/>
          </p:nvSpPr>
          <p:spPr>
            <a:xfrm>
              <a:off x="2584112" y="352480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8" name="Freeform: Shape 3867">
              <a:extLst>
                <a:ext uri="{FF2B5EF4-FFF2-40B4-BE49-F238E27FC236}">
                  <a16:creationId xmlns:a16="http://schemas.microsoft.com/office/drawing/2014/main" id="{3C27DBFF-895C-4013-9468-E6BE846589A7}"/>
                </a:ext>
              </a:extLst>
            </p:cNvPr>
            <p:cNvSpPr/>
            <p:nvPr/>
          </p:nvSpPr>
          <p:spPr>
            <a:xfrm>
              <a:off x="2506670" y="3937834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59" y="225874"/>
                    <a:pt x="161338" y="225874"/>
                  </a:cubicBez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187152" y="96803"/>
                    <a:pt x="225874" y="135524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69" name="Freeform: Shape 3868">
              <a:extLst>
                <a:ext uri="{FF2B5EF4-FFF2-40B4-BE49-F238E27FC236}">
                  <a16:creationId xmlns:a16="http://schemas.microsoft.com/office/drawing/2014/main" id="{1CA81219-62B2-443C-94E8-4CDCD89771E7}"/>
                </a:ext>
              </a:extLst>
            </p:cNvPr>
            <p:cNvSpPr/>
            <p:nvPr/>
          </p:nvSpPr>
          <p:spPr>
            <a:xfrm>
              <a:off x="2480856" y="3912020"/>
              <a:ext cx="258141" cy="387212"/>
            </a:xfrm>
            <a:custGeom>
              <a:avLst/>
              <a:gdLst>
                <a:gd name="connsiteX0" fmla="*/ 187153 w 258141"/>
                <a:gd name="connsiteY0" fmla="*/ 277502 h 387211"/>
                <a:gd name="connsiteX1" fmla="*/ 96803 w 258141"/>
                <a:gd name="connsiteY1" fmla="*/ 187153 h 387211"/>
                <a:gd name="connsiteX2" fmla="*/ 187153 w 258141"/>
                <a:gd name="connsiteY2" fmla="*/ 96803 h 387211"/>
                <a:gd name="connsiteX3" fmla="*/ 277502 w 258141"/>
                <a:gd name="connsiteY3" fmla="*/ 187153 h 387211"/>
                <a:gd name="connsiteX4" fmla="*/ 187153 w 258141"/>
                <a:gd name="connsiteY4" fmla="*/ 277502 h 387211"/>
                <a:gd name="connsiteX5" fmla="*/ 187153 w 258141"/>
                <a:gd name="connsiteY5" fmla="*/ 109710 h 387211"/>
                <a:gd name="connsiteX6" fmla="*/ 96803 w 258141"/>
                <a:gd name="connsiteY6" fmla="*/ 200059 h 387211"/>
                <a:gd name="connsiteX7" fmla="*/ 187153 w 258141"/>
                <a:gd name="connsiteY7" fmla="*/ 290409 h 387211"/>
                <a:gd name="connsiteX8" fmla="*/ 277502 w 258141"/>
                <a:gd name="connsiteY8" fmla="*/ 200059 h 387211"/>
                <a:gd name="connsiteX9" fmla="*/ 187153 w 25814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387211">
                  <a:moveTo>
                    <a:pt x="187153" y="277502"/>
                  </a:moveTo>
                  <a:cubicBezTo>
                    <a:pt x="135524" y="277502"/>
                    <a:pt x="96803" y="238781"/>
                    <a:pt x="96803" y="187153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109710"/>
                  </a:moveTo>
                  <a:cubicBezTo>
                    <a:pt x="135524" y="109710"/>
                    <a:pt x="96803" y="148431"/>
                    <a:pt x="96803" y="200059"/>
                  </a:cubicBezTo>
                  <a:cubicBezTo>
                    <a:pt x="96803" y="251688"/>
                    <a:pt x="135524" y="290409"/>
                    <a:pt x="187153" y="290409"/>
                  </a:cubicBezTo>
                  <a:cubicBezTo>
                    <a:pt x="238781" y="290409"/>
                    <a:pt x="277502" y="251688"/>
                    <a:pt x="277502" y="200059"/>
                  </a:cubicBezTo>
                  <a:cubicBezTo>
                    <a:pt x="277502" y="148431"/>
                    <a:pt x="238781" y="109710"/>
                    <a:pt x="187153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0" name="Freeform: Shape 3869">
              <a:extLst>
                <a:ext uri="{FF2B5EF4-FFF2-40B4-BE49-F238E27FC236}">
                  <a16:creationId xmlns:a16="http://schemas.microsoft.com/office/drawing/2014/main" id="{B02DE6A6-EBA8-4431-886E-0D9D6DE34E2C}"/>
                </a:ext>
              </a:extLst>
            </p:cNvPr>
            <p:cNvSpPr/>
            <p:nvPr/>
          </p:nvSpPr>
          <p:spPr>
            <a:xfrm>
              <a:off x="2906789" y="4273418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196980"/>
                    <a:pt x="196980" y="225874"/>
                    <a:pt x="161338" y="225874"/>
                  </a:cubicBezTo>
                  <a:cubicBezTo>
                    <a:pt x="125696" y="225874"/>
                    <a:pt x="96803" y="196980"/>
                    <a:pt x="96803" y="161338"/>
                  </a:cubicBezTo>
                  <a:cubicBezTo>
                    <a:pt x="96803" y="125696"/>
                    <a:pt x="125696" y="96803"/>
                    <a:pt x="161338" y="96803"/>
                  </a:cubicBezTo>
                  <a:cubicBezTo>
                    <a:pt x="196980" y="96803"/>
                    <a:pt x="225874" y="125696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1" name="Freeform: Shape 3870">
              <a:extLst>
                <a:ext uri="{FF2B5EF4-FFF2-40B4-BE49-F238E27FC236}">
                  <a16:creationId xmlns:a16="http://schemas.microsoft.com/office/drawing/2014/main" id="{961BE0C3-2917-4029-8BA8-7F2FE600919D}"/>
                </a:ext>
              </a:extLst>
            </p:cNvPr>
            <p:cNvSpPr/>
            <p:nvPr/>
          </p:nvSpPr>
          <p:spPr>
            <a:xfrm>
              <a:off x="2880975" y="4247604"/>
              <a:ext cx="258141" cy="387212"/>
            </a:xfrm>
            <a:custGeom>
              <a:avLst/>
              <a:gdLst>
                <a:gd name="connsiteX0" fmla="*/ 187152 w 258141"/>
                <a:gd name="connsiteY0" fmla="*/ 277502 h 387211"/>
                <a:gd name="connsiteX1" fmla="*/ 96803 w 258141"/>
                <a:gd name="connsiteY1" fmla="*/ 187152 h 387211"/>
                <a:gd name="connsiteX2" fmla="*/ 187152 w 258141"/>
                <a:gd name="connsiteY2" fmla="*/ 96803 h 387211"/>
                <a:gd name="connsiteX3" fmla="*/ 277502 w 258141"/>
                <a:gd name="connsiteY3" fmla="*/ 187152 h 387211"/>
                <a:gd name="connsiteX4" fmla="*/ 187152 w 258141"/>
                <a:gd name="connsiteY4" fmla="*/ 277502 h 387211"/>
                <a:gd name="connsiteX5" fmla="*/ 187152 w 258141"/>
                <a:gd name="connsiteY5" fmla="*/ 109710 h 387211"/>
                <a:gd name="connsiteX6" fmla="*/ 96803 w 258141"/>
                <a:gd name="connsiteY6" fmla="*/ 200059 h 387211"/>
                <a:gd name="connsiteX7" fmla="*/ 187152 w 258141"/>
                <a:gd name="connsiteY7" fmla="*/ 290409 h 387211"/>
                <a:gd name="connsiteX8" fmla="*/ 277502 w 258141"/>
                <a:gd name="connsiteY8" fmla="*/ 200059 h 387211"/>
                <a:gd name="connsiteX9" fmla="*/ 187152 w 25814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387211">
                  <a:moveTo>
                    <a:pt x="187152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2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2" y="277502"/>
                  </a:cubicBezTo>
                  <a:close/>
                  <a:moveTo>
                    <a:pt x="187152" y="109710"/>
                  </a:moveTo>
                  <a:cubicBezTo>
                    <a:pt x="135524" y="109710"/>
                    <a:pt x="96803" y="148431"/>
                    <a:pt x="96803" y="200059"/>
                  </a:cubicBezTo>
                  <a:cubicBezTo>
                    <a:pt x="96803" y="251688"/>
                    <a:pt x="135524" y="290409"/>
                    <a:pt x="187152" y="290409"/>
                  </a:cubicBezTo>
                  <a:cubicBezTo>
                    <a:pt x="238781" y="290409"/>
                    <a:pt x="277502" y="251688"/>
                    <a:pt x="277502" y="200059"/>
                  </a:cubicBezTo>
                  <a:cubicBezTo>
                    <a:pt x="277502" y="148431"/>
                    <a:pt x="238781" y="109710"/>
                    <a:pt x="187152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2" name="Freeform: Shape 3871">
              <a:extLst>
                <a:ext uri="{FF2B5EF4-FFF2-40B4-BE49-F238E27FC236}">
                  <a16:creationId xmlns:a16="http://schemas.microsoft.com/office/drawing/2014/main" id="{187E5A7A-B250-417F-8ACB-B4D451592128}"/>
                </a:ext>
              </a:extLst>
            </p:cNvPr>
            <p:cNvSpPr/>
            <p:nvPr/>
          </p:nvSpPr>
          <p:spPr>
            <a:xfrm>
              <a:off x="3926447" y="1395143"/>
              <a:ext cx="258141" cy="258141"/>
            </a:xfrm>
            <a:custGeom>
              <a:avLst/>
              <a:gdLst>
                <a:gd name="connsiteX0" fmla="*/ 187152 w 258141"/>
                <a:gd name="connsiteY0" fmla="*/ 135524 h 258141"/>
                <a:gd name="connsiteX1" fmla="*/ 148431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87152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87152" y="135524"/>
                  </a:moveTo>
                  <a:cubicBezTo>
                    <a:pt x="187152" y="161338"/>
                    <a:pt x="161338" y="174245"/>
                    <a:pt x="148431" y="174245"/>
                  </a:cubicBezTo>
                  <a:cubicBezTo>
                    <a:pt x="135524" y="174245"/>
                    <a:pt x="96803" y="161338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87152" y="109710"/>
                    <a:pt x="187152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3" name="Freeform: Shape 3872">
              <a:extLst>
                <a:ext uri="{FF2B5EF4-FFF2-40B4-BE49-F238E27FC236}">
                  <a16:creationId xmlns:a16="http://schemas.microsoft.com/office/drawing/2014/main" id="{9F87A0ED-E502-488A-84F2-EDBF0CFD8EDA}"/>
                </a:ext>
              </a:extLst>
            </p:cNvPr>
            <p:cNvSpPr/>
            <p:nvPr/>
          </p:nvSpPr>
          <p:spPr>
            <a:xfrm>
              <a:off x="3900633" y="136932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187152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187152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187152"/>
                    <a:pt x="225874" y="161338"/>
                  </a:cubicBezTo>
                  <a:cubicBezTo>
                    <a:pt x="225874" y="135524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4" name="Freeform: Shape 3873">
              <a:extLst>
                <a:ext uri="{FF2B5EF4-FFF2-40B4-BE49-F238E27FC236}">
                  <a16:creationId xmlns:a16="http://schemas.microsoft.com/office/drawing/2014/main" id="{B47059AB-0A00-424A-ACB6-BA3280BAB1A0}"/>
                </a:ext>
              </a:extLst>
            </p:cNvPr>
            <p:cNvSpPr/>
            <p:nvPr/>
          </p:nvSpPr>
          <p:spPr>
            <a:xfrm>
              <a:off x="3849005" y="164985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5" name="Freeform: Shape 3874">
              <a:extLst>
                <a:ext uri="{FF2B5EF4-FFF2-40B4-BE49-F238E27FC236}">
                  <a16:creationId xmlns:a16="http://schemas.microsoft.com/office/drawing/2014/main" id="{0D0CA239-2D73-4CF4-9B26-26AFE70FB793}"/>
                </a:ext>
              </a:extLst>
            </p:cNvPr>
            <p:cNvSpPr/>
            <p:nvPr/>
          </p:nvSpPr>
          <p:spPr>
            <a:xfrm>
              <a:off x="3823191" y="162747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12967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6" name="Freeform: Shape 3875">
              <a:extLst>
                <a:ext uri="{FF2B5EF4-FFF2-40B4-BE49-F238E27FC236}">
                  <a16:creationId xmlns:a16="http://schemas.microsoft.com/office/drawing/2014/main" id="{96E4B060-5DD6-4573-B793-D406D3A7B07C}"/>
                </a:ext>
              </a:extLst>
            </p:cNvPr>
            <p:cNvSpPr/>
            <p:nvPr/>
          </p:nvSpPr>
          <p:spPr>
            <a:xfrm>
              <a:off x="3306908" y="201468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7" name="Freeform: Shape 3876">
              <a:extLst>
                <a:ext uri="{FF2B5EF4-FFF2-40B4-BE49-F238E27FC236}">
                  <a16:creationId xmlns:a16="http://schemas.microsoft.com/office/drawing/2014/main" id="{E6FB01EE-23CC-4256-AE44-23B47FA179A0}"/>
                </a:ext>
              </a:extLst>
            </p:cNvPr>
            <p:cNvSpPr/>
            <p:nvPr/>
          </p:nvSpPr>
          <p:spPr>
            <a:xfrm>
              <a:off x="3268187" y="198886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8" name="Freeform: Shape 3877">
              <a:extLst>
                <a:ext uri="{FF2B5EF4-FFF2-40B4-BE49-F238E27FC236}">
                  <a16:creationId xmlns:a16="http://schemas.microsoft.com/office/drawing/2014/main" id="{AD246281-017B-4C6D-A6CE-9F406A99025B}"/>
                </a:ext>
              </a:extLst>
            </p:cNvPr>
            <p:cNvSpPr/>
            <p:nvPr/>
          </p:nvSpPr>
          <p:spPr>
            <a:xfrm>
              <a:off x="1822596" y="255677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79" name="Freeform: Shape 3878">
              <a:extLst>
                <a:ext uri="{FF2B5EF4-FFF2-40B4-BE49-F238E27FC236}">
                  <a16:creationId xmlns:a16="http://schemas.microsoft.com/office/drawing/2014/main" id="{F227620E-B2E6-4348-BD74-AB9A261568AB}"/>
                </a:ext>
              </a:extLst>
            </p:cNvPr>
            <p:cNvSpPr/>
            <p:nvPr/>
          </p:nvSpPr>
          <p:spPr>
            <a:xfrm>
              <a:off x="1796782" y="253096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0" name="Freeform: Shape 3879">
              <a:extLst>
                <a:ext uri="{FF2B5EF4-FFF2-40B4-BE49-F238E27FC236}">
                  <a16:creationId xmlns:a16="http://schemas.microsoft.com/office/drawing/2014/main" id="{BAABE528-30E7-4FB8-A283-A013F1ADA520}"/>
                </a:ext>
              </a:extLst>
            </p:cNvPr>
            <p:cNvSpPr/>
            <p:nvPr/>
          </p:nvSpPr>
          <p:spPr>
            <a:xfrm>
              <a:off x="2932603" y="174363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1" name="Freeform: Shape 3880">
              <a:extLst>
                <a:ext uri="{FF2B5EF4-FFF2-40B4-BE49-F238E27FC236}">
                  <a16:creationId xmlns:a16="http://schemas.microsoft.com/office/drawing/2014/main" id="{6512CDA4-F6C7-4F93-9426-0396C96F5920}"/>
                </a:ext>
              </a:extLst>
            </p:cNvPr>
            <p:cNvSpPr/>
            <p:nvPr/>
          </p:nvSpPr>
          <p:spPr>
            <a:xfrm>
              <a:off x="2906789" y="171781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187152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2" name="Freeform: Shape 3881">
              <a:extLst>
                <a:ext uri="{FF2B5EF4-FFF2-40B4-BE49-F238E27FC236}">
                  <a16:creationId xmlns:a16="http://schemas.microsoft.com/office/drawing/2014/main" id="{D16F1856-CB76-480F-9CAD-C3E10A70DEBC}"/>
                </a:ext>
              </a:extLst>
            </p:cNvPr>
            <p:cNvSpPr/>
            <p:nvPr/>
          </p:nvSpPr>
          <p:spPr>
            <a:xfrm>
              <a:off x="3255280" y="2298637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60"/>
                    <a:pt x="200059" y="225874"/>
                    <a:pt x="161338" y="225874"/>
                  </a:cubicBez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3" name="Freeform: Shape 3882">
              <a:extLst>
                <a:ext uri="{FF2B5EF4-FFF2-40B4-BE49-F238E27FC236}">
                  <a16:creationId xmlns:a16="http://schemas.microsoft.com/office/drawing/2014/main" id="{609BC96A-26D7-4D91-A2E0-59783B66BB6C}"/>
                </a:ext>
              </a:extLst>
            </p:cNvPr>
            <p:cNvSpPr/>
            <p:nvPr/>
          </p:nvSpPr>
          <p:spPr>
            <a:xfrm>
              <a:off x="3216559" y="2259916"/>
              <a:ext cx="387212" cy="387212"/>
            </a:xfrm>
            <a:custGeom>
              <a:avLst/>
              <a:gdLst>
                <a:gd name="connsiteX0" fmla="*/ 200059 w 387211"/>
                <a:gd name="connsiteY0" fmla="*/ 303316 h 387211"/>
                <a:gd name="connsiteX1" fmla="*/ 96803 w 387211"/>
                <a:gd name="connsiteY1" fmla="*/ 200060 h 387211"/>
                <a:gd name="connsiteX2" fmla="*/ 200059 w 387211"/>
                <a:gd name="connsiteY2" fmla="*/ 96803 h 387211"/>
                <a:gd name="connsiteX3" fmla="*/ 303316 w 387211"/>
                <a:gd name="connsiteY3" fmla="*/ 200060 h 387211"/>
                <a:gd name="connsiteX4" fmla="*/ 200059 w 387211"/>
                <a:gd name="connsiteY4" fmla="*/ 303316 h 387211"/>
                <a:gd name="connsiteX5" fmla="*/ 200059 w 387211"/>
                <a:gd name="connsiteY5" fmla="*/ 109710 h 387211"/>
                <a:gd name="connsiteX6" fmla="*/ 96803 w 387211"/>
                <a:gd name="connsiteY6" fmla="*/ 212967 h 387211"/>
                <a:gd name="connsiteX7" fmla="*/ 200059 w 387211"/>
                <a:gd name="connsiteY7" fmla="*/ 316223 h 387211"/>
                <a:gd name="connsiteX8" fmla="*/ 303316 w 387211"/>
                <a:gd name="connsiteY8" fmla="*/ 212967 h 387211"/>
                <a:gd name="connsiteX9" fmla="*/ 200059 w 38721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59" y="303316"/>
                  </a:moveTo>
                  <a:cubicBezTo>
                    <a:pt x="148431" y="303316"/>
                    <a:pt x="96803" y="251688"/>
                    <a:pt x="96803" y="200060"/>
                  </a:cubicBezTo>
                  <a:cubicBezTo>
                    <a:pt x="96803" y="148431"/>
                    <a:pt x="148431" y="96803"/>
                    <a:pt x="200059" y="96803"/>
                  </a:cubicBezTo>
                  <a:cubicBezTo>
                    <a:pt x="251688" y="96803"/>
                    <a:pt x="303316" y="148431"/>
                    <a:pt x="303316" y="200060"/>
                  </a:cubicBezTo>
                  <a:cubicBezTo>
                    <a:pt x="303316" y="264595"/>
                    <a:pt x="251688" y="303316"/>
                    <a:pt x="200059" y="303316"/>
                  </a:cubicBezTo>
                  <a:close/>
                  <a:moveTo>
                    <a:pt x="200059" y="109710"/>
                  </a:moveTo>
                  <a:cubicBezTo>
                    <a:pt x="148431" y="109710"/>
                    <a:pt x="96803" y="148431"/>
                    <a:pt x="96803" y="212967"/>
                  </a:cubicBezTo>
                  <a:cubicBezTo>
                    <a:pt x="96803" y="264595"/>
                    <a:pt x="135524" y="316223"/>
                    <a:pt x="200059" y="316223"/>
                  </a:cubicBezTo>
                  <a:cubicBezTo>
                    <a:pt x="264595" y="316223"/>
                    <a:pt x="303316" y="277502"/>
                    <a:pt x="303316" y="212967"/>
                  </a:cubicBezTo>
                  <a:cubicBezTo>
                    <a:pt x="303316" y="148431"/>
                    <a:pt x="251688" y="109710"/>
                    <a:pt x="200059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4" name="Freeform: Shape 3883">
              <a:extLst>
                <a:ext uri="{FF2B5EF4-FFF2-40B4-BE49-F238E27FC236}">
                  <a16:creationId xmlns:a16="http://schemas.microsoft.com/office/drawing/2014/main" id="{14E2AF50-3513-473E-9A57-6A6B3E3AED57}"/>
                </a:ext>
              </a:extLst>
            </p:cNvPr>
            <p:cNvSpPr/>
            <p:nvPr/>
          </p:nvSpPr>
          <p:spPr>
            <a:xfrm>
              <a:off x="3319815" y="3109250"/>
              <a:ext cx="258141" cy="258141"/>
            </a:xfrm>
            <a:custGeom>
              <a:avLst/>
              <a:gdLst>
                <a:gd name="connsiteX0" fmla="*/ 225874 w 258141"/>
                <a:gd name="connsiteY0" fmla="*/ 163870 h 258141"/>
                <a:gd name="connsiteX1" fmla="*/ 161338 w 258141"/>
                <a:gd name="connsiteY1" fmla="*/ 228405 h 258141"/>
                <a:gd name="connsiteX2" fmla="*/ 96803 w 258141"/>
                <a:gd name="connsiteY2" fmla="*/ 163870 h 258141"/>
                <a:gd name="connsiteX3" fmla="*/ 161338 w 258141"/>
                <a:gd name="connsiteY3" fmla="*/ 99335 h 258141"/>
                <a:gd name="connsiteX4" fmla="*/ 225874 w 258141"/>
                <a:gd name="connsiteY4" fmla="*/ 16387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3870"/>
                  </a:moveTo>
                  <a:cubicBezTo>
                    <a:pt x="225874" y="202591"/>
                    <a:pt x="200059" y="228405"/>
                    <a:pt x="161338" y="228405"/>
                  </a:cubicBezTo>
                  <a:cubicBezTo>
                    <a:pt x="122617" y="228405"/>
                    <a:pt x="96803" y="202591"/>
                    <a:pt x="96803" y="163870"/>
                  </a:cubicBezTo>
                  <a:cubicBezTo>
                    <a:pt x="96803" y="125149"/>
                    <a:pt x="122617" y="99335"/>
                    <a:pt x="161338" y="99335"/>
                  </a:cubicBezTo>
                  <a:cubicBezTo>
                    <a:pt x="200059" y="86428"/>
                    <a:pt x="225874" y="125149"/>
                    <a:pt x="225874" y="163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5" name="Freeform: Shape 3884">
              <a:extLst>
                <a:ext uri="{FF2B5EF4-FFF2-40B4-BE49-F238E27FC236}">
                  <a16:creationId xmlns:a16="http://schemas.microsoft.com/office/drawing/2014/main" id="{7B5CE9D5-AD8E-474B-A39A-C959BFA7973E}"/>
                </a:ext>
              </a:extLst>
            </p:cNvPr>
            <p:cNvSpPr/>
            <p:nvPr/>
          </p:nvSpPr>
          <p:spPr>
            <a:xfrm>
              <a:off x="3281094" y="3073061"/>
              <a:ext cx="387212" cy="387212"/>
            </a:xfrm>
            <a:custGeom>
              <a:avLst/>
              <a:gdLst>
                <a:gd name="connsiteX0" fmla="*/ 200059 w 387211"/>
                <a:gd name="connsiteY0" fmla="*/ 303316 h 387211"/>
                <a:gd name="connsiteX1" fmla="*/ 96803 w 387211"/>
                <a:gd name="connsiteY1" fmla="*/ 200059 h 387211"/>
                <a:gd name="connsiteX2" fmla="*/ 200059 w 387211"/>
                <a:gd name="connsiteY2" fmla="*/ 96803 h 387211"/>
                <a:gd name="connsiteX3" fmla="*/ 303316 w 387211"/>
                <a:gd name="connsiteY3" fmla="*/ 200059 h 387211"/>
                <a:gd name="connsiteX4" fmla="*/ 200059 w 387211"/>
                <a:gd name="connsiteY4" fmla="*/ 303316 h 387211"/>
                <a:gd name="connsiteX5" fmla="*/ 200059 w 387211"/>
                <a:gd name="connsiteY5" fmla="*/ 96803 h 387211"/>
                <a:gd name="connsiteX6" fmla="*/ 96803 w 387211"/>
                <a:gd name="connsiteY6" fmla="*/ 200059 h 387211"/>
                <a:gd name="connsiteX7" fmla="*/ 200059 w 387211"/>
                <a:gd name="connsiteY7" fmla="*/ 303316 h 387211"/>
                <a:gd name="connsiteX8" fmla="*/ 303316 w 387211"/>
                <a:gd name="connsiteY8" fmla="*/ 200059 h 387211"/>
                <a:gd name="connsiteX9" fmla="*/ 200059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59" y="303316"/>
                  </a:moveTo>
                  <a:cubicBezTo>
                    <a:pt x="148431" y="303316"/>
                    <a:pt x="96803" y="251688"/>
                    <a:pt x="96803" y="200059"/>
                  </a:cubicBezTo>
                  <a:cubicBezTo>
                    <a:pt x="96803" y="148431"/>
                    <a:pt x="148431" y="96803"/>
                    <a:pt x="200059" y="96803"/>
                  </a:cubicBezTo>
                  <a:cubicBezTo>
                    <a:pt x="251688" y="96803"/>
                    <a:pt x="303316" y="148431"/>
                    <a:pt x="303316" y="200059"/>
                  </a:cubicBezTo>
                  <a:cubicBezTo>
                    <a:pt x="303316" y="251688"/>
                    <a:pt x="251688" y="303316"/>
                    <a:pt x="200059" y="303316"/>
                  </a:cubicBezTo>
                  <a:close/>
                  <a:moveTo>
                    <a:pt x="200059" y="96803"/>
                  </a:moveTo>
                  <a:cubicBezTo>
                    <a:pt x="148431" y="96803"/>
                    <a:pt x="96803" y="135524"/>
                    <a:pt x="96803" y="200059"/>
                  </a:cubicBezTo>
                  <a:cubicBezTo>
                    <a:pt x="96803" y="251688"/>
                    <a:pt x="135524" y="303316"/>
                    <a:pt x="200059" y="303316"/>
                  </a:cubicBezTo>
                  <a:cubicBezTo>
                    <a:pt x="251688" y="303316"/>
                    <a:pt x="303316" y="264595"/>
                    <a:pt x="303316" y="200059"/>
                  </a:cubicBezTo>
                  <a:cubicBezTo>
                    <a:pt x="290409" y="135524"/>
                    <a:pt x="251688" y="96803"/>
                    <a:pt x="200059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6" name="Freeform: Shape 3885">
              <a:extLst>
                <a:ext uri="{FF2B5EF4-FFF2-40B4-BE49-F238E27FC236}">
                  <a16:creationId xmlns:a16="http://schemas.microsoft.com/office/drawing/2014/main" id="{F2FE09A9-05C1-4569-9887-C5CB359DD36C}"/>
                </a:ext>
              </a:extLst>
            </p:cNvPr>
            <p:cNvSpPr/>
            <p:nvPr/>
          </p:nvSpPr>
          <p:spPr>
            <a:xfrm>
              <a:off x="5178433" y="1314267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7" name="Freeform: Shape 3886">
              <a:extLst>
                <a:ext uri="{FF2B5EF4-FFF2-40B4-BE49-F238E27FC236}">
                  <a16:creationId xmlns:a16="http://schemas.microsoft.com/office/drawing/2014/main" id="{8DD7721F-28C3-4FB1-9175-70B6CDFF57A4}"/>
                </a:ext>
              </a:extLst>
            </p:cNvPr>
            <p:cNvSpPr/>
            <p:nvPr/>
          </p:nvSpPr>
          <p:spPr>
            <a:xfrm>
              <a:off x="5139711" y="129188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8" name="Freeform: Shape 3887">
              <a:extLst>
                <a:ext uri="{FF2B5EF4-FFF2-40B4-BE49-F238E27FC236}">
                  <a16:creationId xmlns:a16="http://schemas.microsoft.com/office/drawing/2014/main" id="{DB645B75-4B1D-4DCB-B8B0-1985D813A8BA}"/>
                </a:ext>
              </a:extLst>
            </p:cNvPr>
            <p:cNvSpPr/>
            <p:nvPr/>
          </p:nvSpPr>
          <p:spPr>
            <a:xfrm>
              <a:off x="4262031" y="114990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89" name="Freeform: Shape 3888">
              <a:extLst>
                <a:ext uri="{FF2B5EF4-FFF2-40B4-BE49-F238E27FC236}">
                  <a16:creationId xmlns:a16="http://schemas.microsoft.com/office/drawing/2014/main" id="{F93396B8-AB62-4F93-BA01-292C38C4EA5F}"/>
                </a:ext>
              </a:extLst>
            </p:cNvPr>
            <p:cNvSpPr/>
            <p:nvPr/>
          </p:nvSpPr>
          <p:spPr>
            <a:xfrm>
              <a:off x="4223310" y="112409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5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0" name="Freeform: Shape 3889">
              <a:extLst>
                <a:ext uri="{FF2B5EF4-FFF2-40B4-BE49-F238E27FC236}">
                  <a16:creationId xmlns:a16="http://schemas.microsoft.com/office/drawing/2014/main" id="{C0FA192A-B4E2-4D62-BDD1-5B2C87F9D5A5}"/>
                </a:ext>
              </a:extLst>
            </p:cNvPr>
            <p:cNvSpPr/>
            <p:nvPr/>
          </p:nvSpPr>
          <p:spPr>
            <a:xfrm>
              <a:off x="6056113" y="151130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61338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1" name="Freeform: Shape 3890">
              <a:extLst>
                <a:ext uri="{FF2B5EF4-FFF2-40B4-BE49-F238E27FC236}">
                  <a16:creationId xmlns:a16="http://schemas.microsoft.com/office/drawing/2014/main" id="{1E58E0BA-B990-4B6B-AC2D-6CC12CE15EE6}"/>
                </a:ext>
              </a:extLst>
            </p:cNvPr>
            <p:cNvSpPr/>
            <p:nvPr/>
          </p:nvSpPr>
          <p:spPr>
            <a:xfrm>
              <a:off x="6030299" y="148549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2" name="Freeform: Shape 3891">
              <a:extLst>
                <a:ext uri="{FF2B5EF4-FFF2-40B4-BE49-F238E27FC236}">
                  <a16:creationId xmlns:a16="http://schemas.microsoft.com/office/drawing/2014/main" id="{4C30FF86-4312-4E9D-AD50-07B6AA24CDC1}"/>
                </a:ext>
              </a:extLst>
            </p:cNvPr>
            <p:cNvSpPr/>
            <p:nvPr/>
          </p:nvSpPr>
          <p:spPr>
            <a:xfrm>
              <a:off x="6249719" y="1843457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26050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3" name="Freeform: Shape 3892">
              <a:extLst>
                <a:ext uri="{FF2B5EF4-FFF2-40B4-BE49-F238E27FC236}">
                  <a16:creationId xmlns:a16="http://schemas.microsoft.com/office/drawing/2014/main" id="{F491C829-C97E-4169-840A-265A6A87482B}"/>
                </a:ext>
              </a:extLst>
            </p:cNvPr>
            <p:cNvSpPr/>
            <p:nvPr/>
          </p:nvSpPr>
          <p:spPr>
            <a:xfrm>
              <a:off x="6210998" y="182107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4" name="Freeform: Shape 3893">
              <a:extLst>
                <a:ext uri="{FF2B5EF4-FFF2-40B4-BE49-F238E27FC236}">
                  <a16:creationId xmlns:a16="http://schemas.microsoft.com/office/drawing/2014/main" id="{16249592-9ACA-471C-85CF-42FEB8D00270}"/>
                </a:ext>
              </a:extLst>
            </p:cNvPr>
            <p:cNvSpPr/>
            <p:nvPr/>
          </p:nvSpPr>
          <p:spPr>
            <a:xfrm>
              <a:off x="6210998" y="233735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5" name="Freeform: Shape 3894">
              <a:extLst>
                <a:ext uri="{FF2B5EF4-FFF2-40B4-BE49-F238E27FC236}">
                  <a16:creationId xmlns:a16="http://schemas.microsoft.com/office/drawing/2014/main" id="{595F0BEE-C960-4459-B159-95FC7F35332D}"/>
                </a:ext>
              </a:extLst>
            </p:cNvPr>
            <p:cNvSpPr/>
            <p:nvPr/>
          </p:nvSpPr>
          <p:spPr>
            <a:xfrm>
              <a:off x="6172276" y="231154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35524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6" name="Freeform: Shape 3895">
              <a:extLst>
                <a:ext uri="{FF2B5EF4-FFF2-40B4-BE49-F238E27FC236}">
                  <a16:creationId xmlns:a16="http://schemas.microsoft.com/office/drawing/2014/main" id="{670D55B2-CFE1-4661-9C17-A30D439287F8}"/>
                </a:ext>
              </a:extLst>
            </p:cNvPr>
            <p:cNvSpPr/>
            <p:nvPr/>
          </p:nvSpPr>
          <p:spPr>
            <a:xfrm>
              <a:off x="6443325" y="109828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7" name="Freeform: Shape 3896">
              <a:extLst>
                <a:ext uri="{FF2B5EF4-FFF2-40B4-BE49-F238E27FC236}">
                  <a16:creationId xmlns:a16="http://schemas.microsoft.com/office/drawing/2014/main" id="{6FFDC9F6-13A6-4896-A3BD-B9FCC3EA6210}"/>
                </a:ext>
              </a:extLst>
            </p:cNvPr>
            <p:cNvSpPr/>
            <p:nvPr/>
          </p:nvSpPr>
          <p:spPr>
            <a:xfrm>
              <a:off x="6417511" y="107246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8" name="Freeform: Shape 3897">
              <a:extLst>
                <a:ext uri="{FF2B5EF4-FFF2-40B4-BE49-F238E27FC236}">
                  <a16:creationId xmlns:a16="http://schemas.microsoft.com/office/drawing/2014/main" id="{61DA6465-DA48-495C-839C-D16C0240C55E}"/>
                </a:ext>
              </a:extLst>
            </p:cNvPr>
            <p:cNvSpPr/>
            <p:nvPr/>
          </p:nvSpPr>
          <p:spPr>
            <a:xfrm>
              <a:off x="6856351" y="109828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99" name="Freeform: Shape 3898">
              <a:extLst>
                <a:ext uri="{FF2B5EF4-FFF2-40B4-BE49-F238E27FC236}">
                  <a16:creationId xmlns:a16="http://schemas.microsoft.com/office/drawing/2014/main" id="{C55B519A-AAD8-43CD-A861-8794963FA88E}"/>
                </a:ext>
              </a:extLst>
            </p:cNvPr>
            <p:cNvSpPr/>
            <p:nvPr/>
          </p:nvSpPr>
          <p:spPr>
            <a:xfrm>
              <a:off x="6817630" y="107246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0" name="Freeform: Shape 3899">
              <a:extLst>
                <a:ext uri="{FF2B5EF4-FFF2-40B4-BE49-F238E27FC236}">
                  <a16:creationId xmlns:a16="http://schemas.microsoft.com/office/drawing/2014/main" id="{737DB683-9DAC-4906-9536-EF52928ED4E4}"/>
                </a:ext>
              </a:extLst>
            </p:cNvPr>
            <p:cNvSpPr/>
            <p:nvPr/>
          </p:nvSpPr>
          <p:spPr>
            <a:xfrm>
              <a:off x="7127399" y="1498399"/>
              <a:ext cx="258141" cy="258141"/>
            </a:xfrm>
            <a:custGeom>
              <a:avLst/>
              <a:gdLst>
                <a:gd name="connsiteX0" fmla="*/ 187153 w 258141"/>
                <a:gd name="connsiteY0" fmla="*/ 135524 h 258141"/>
                <a:gd name="connsiteX1" fmla="*/ 148431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87153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87153" y="135524"/>
                  </a:moveTo>
                  <a:cubicBezTo>
                    <a:pt x="187153" y="161338"/>
                    <a:pt x="161338" y="174245"/>
                    <a:pt x="148431" y="174245"/>
                  </a:cubicBezTo>
                  <a:cubicBezTo>
                    <a:pt x="135524" y="174245"/>
                    <a:pt x="96803" y="161338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87153" y="109710"/>
                    <a:pt x="187153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1" name="Freeform: Shape 3900">
              <a:extLst>
                <a:ext uri="{FF2B5EF4-FFF2-40B4-BE49-F238E27FC236}">
                  <a16:creationId xmlns:a16="http://schemas.microsoft.com/office/drawing/2014/main" id="{6060B038-44CA-47EB-A747-6BA3767626BF}"/>
                </a:ext>
              </a:extLst>
            </p:cNvPr>
            <p:cNvSpPr/>
            <p:nvPr/>
          </p:nvSpPr>
          <p:spPr>
            <a:xfrm>
              <a:off x="7101585" y="147258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12967 h 258141"/>
                <a:gd name="connsiteX8" fmla="*/ 225874 w 258141"/>
                <a:gd name="connsiteY8" fmla="*/ 148431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187152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35524" y="212967"/>
                    <a:pt x="161338" y="212967"/>
                  </a:cubicBezTo>
                  <a:cubicBezTo>
                    <a:pt x="187153" y="212967"/>
                    <a:pt x="225874" y="187152"/>
                    <a:pt x="225874" y="148431"/>
                  </a:cubicBezTo>
                  <a:cubicBezTo>
                    <a:pt x="225874" y="109710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2" name="Freeform: Shape 3901">
              <a:extLst>
                <a:ext uri="{FF2B5EF4-FFF2-40B4-BE49-F238E27FC236}">
                  <a16:creationId xmlns:a16="http://schemas.microsoft.com/office/drawing/2014/main" id="{A5CAE992-D269-40B7-B932-7D1E9EAC9CED}"/>
                </a:ext>
              </a:extLst>
            </p:cNvPr>
            <p:cNvSpPr/>
            <p:nvPr/>
          </p:nvSpPr>
          <p:spPr>
            <a:xfrm>
              <a:off x="5578552" y="164037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3" name="Freeform: Shape 3902">
              <a:extLst>
                <a:ext uri="{FF2B5EF4-FFF2-40B4-BE49-F238E27FC236}">
                  <a16:creationId xmlns:a16="http://schemas.microsoft.com/office/drawing/2014/main" id="{A5DA94B2-880C-47FA-AA48-359E8C802837}"/>
                </a:ext>
              </a:extLst>
            </p:cNvPr>
            <p:cNvSpPr/>
            <p:nvPr/>
          </p:nvSpPr>
          <p:spPr>
            <a:xfrm>
              <a:off x="5552737" y="161456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12967" y="135524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4" name="Freeform: Shape 3903">
              <a:extLst>
                <a:ext uri="{FF2B5EF4-FFF2-40B4-BE49-F238E27FC236}">
                  <a16:creationId xmlns:a16="http://schemas.microsoft.com/office/drawing/2014/main" id="{8F04FFC2-CA42-49AA-8356-66D1BC623B09}"/>
                </a:ext>
              </a:extLst>
            </p:cNvPr>
            <p:cNvSpPr/>
            <p:nvPr/>
          </p:nvSpPr>
          <p:spPr>
            <a:xfrm>
              <a:off x="570610" y="227282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5" name="Freeform: Shape 3904">
              <a:extLst>
                <a:ext uri="{FF2B5EF4-FFF2-40B4-BE49-F238E27FC236}">
                  <a16:creationId xmlns:a16="http://schemas.microsoft.com/office/drawing/2014/main" id="{E4D48E5C-10F0-45AD-9223-22DD2FE9BF09}"/>
                </a:ext>
              </a:extLst>
            </p:cNvPr>
            <p:cNvSpPr/>
            <p:nvPr/>
          </p:nvSpPr>
          <p:spPr>
            <a:xfrm>
              <a:off x="544796" y="224700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6" name="Freeform: Shape 3905">
              <a:extLst>
                <a:ext uri="{FF2B5EF4-FFF2-40B4-BE49-F238E27FC236}">
                  <a16:creationId xmlns:a16="http://schemas.microsoft.com/office/drawing/2014/main" id="{A09AE1E2-F4DF-41C4-A0E1-D8F656B7987F}"/>
                </a:ext>
              </a:extLst>
            </p:cNvPr>
            <p:cNvSpPr/>
            <p:nvPr/>
          </p:nvSpPr>
          <p:spPr>
            <a:xfrm>
              <a:off x="4829942" y="241480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7" name="Freeform: Shape 3906">
              <a:extLst>
                <a:ext uri="{FF2B5EF4-FFF2-40B4-BE49-F238E27FC236}">
                  <a16:creationId xmlns:a16="http://schemas.microsoft.com/office/drawing/2014/main" id="{C6B3893A-0661-42A8-9A60-A80249107E77}"/>
                </a:ext>
              </a:extLst>
            </p:cNvPr>
            <p:cNvSpPr/>
            <p:nvPr/>
          </p:nvSpPr>
          <p:spPr>
            <a:xfrm>
              <a:off x="4804128" y="238898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8" name="Freeform: Shape 3907">
              <a:extLst>
                <a:ext uri="{FF2B5EF4-FFF2-40B4-BE49-F238E27FC236}">
                  <a16:creationId xmlns:a16="http://schemas.microsoft.com/office/drawing/2014/main" id="{9E023608-9660-4729-89E4-C93FE5D216E1}"/>
                </a:ext>
              </a:extLst>
            </p:cNvPr>
            <p:cNvSpPr/>
            <p:nvPr/>
          </p:nvSpPr>
          <p:spPr>
            <a:xfrm>
              <a:off x="4274938" y="2101598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09" name="Freeform: Shape 3908">
              <a:extLst>
                <a:ext uri="{FF2B5EF4-FFF2-40B4-BE49-F238E27FC236}">
                  <a16:creationId xmlns:a16="http://schemas.microsoft.com/office/drawing/2014/main" id="{D069695B-6B8C-4997-8BEF-726E399D6D2F}"/>
                </a:ext>
              </a:extLst>
            </p:cNvPr>
            <p:cNvSpPr/>
            <p:nvPr/>
          </p:nvSpPr>
          <p:spPr>
            <a:xfrm>
              <a:off x="4236217" y="207921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0" name="Freeform: Shape 3909">
              <a:extLst>
                <a:ext uri="{FF2B5EF4-FFF2-40B4-BE49-F238E27FC236}">
                  <a16:creationId xmlns:a16="http://schemas.microsoft.com/office/drawing/2014/main" id="{063C7069-CBD9-4641-8A94-3855773256AE}"/>
                </a:ext>
              </a:extLst>
            </p:cNvPr>
            <p:cNvSpPr/>
            <p:nvPr/>
          </p:nvSpPr>
          <p:spPr>
            <a:xfrm>
              <a:off x="4984827" y="2566252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1" name="Freeform: Shape 3910">
              <a:extLst>
                <a:ext uri="{FF2B5EF4-FFF2-40B4-BE49-F238E27FC236}">
                  <a16:creationId xmlns:a16="http://schemas.microsoft.com/office/drawing/2014/main" id="{1998E9A2-0764-407D-8B7A-E8E807EC7658}"/>
                </a:ext>
              </a:extLst>
            </p:cNvPr>
            <p:cNvSpPr/>
            <p:nvPr/>
          </p:nvSpPr>
          <p:spPr>
            <a:xfrm>
              <a:off x="4959013" y="254387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187153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2" name="Freeform: Shape 3911">
              <a:extLst>
                <a:ext uri="{FF2B5EF4-FFF2-40B4-BE49-F238E27FC236}">
                  <a16:creationId xmlns:a16="http://schemas.microsoft.com/office/drawing/2014/main" id="{DC2ED855-0FDB-4A39-BA00-9F64E1F3AFAB}"/>
                </a:ext>
              </a:extLst>
            </p:cNvPr>
            <p:cNvSpPr/>
            <p:nvPr/>
          </p:nvSpPr>
          <p:spPr>
            <a:xfrm>
              <a:off x="10328352" y="7280764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0" y="174246"/>
                    <a:pt x="135524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3" name="Freeform: Shape 3912">
              <a:extLst>
                <a:ext uri="{FF2B5EF4-FFF2-40B4-BE49-F238E27FC236}">
                  <a16:creationId xmlns:a16="http://schemas.microsoft.com/office/drawing/2014/main" id="{5A771252-15C2-4AD3-8FF4-989214AD49C8}"/>
                </a:ext>
              </a:extLst>
            </p:cNvPr>
            <p:cNvSpPr/>
            <p:nvPr/>
          </p:nvSpPr>
          <p:spPr>
            <a:xfrm>
              <a:off x="10302537" y="725495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4" name="Freeform: Shape 3913">
              <a:extLst>
                <a:ext uri="{FF2B5EF4-FFF2-40B4-BE49-F238E27FC236}">
                  <a16:creationId xmlns:a16="http://schemas.microsoft.com/office/drawing/2014/main" id="{16AE76A7-E569-4A2B-91E2-101D7EC6490B}"/>
                </a:ext>
              </a:extLst>
            </p:cNvPr>
            <p:cNvSpPr/>
            <p:nvPr/>
          </p:nvSpPr>
          <p:spPr>
            <a:xfrm>
              <a:off x="8314849" y="4334520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5" name="Freeform: Shape 3914">
              <a:extLst>
                <a:ext uri="{FF2B5EF4-FFF2-40B4-BE49-F238E27FC236}">
                  <a16:creationId xmlns:a16="http://schemas.microsoft.com/office/drawing/2014/main" id="{ABEB7EA8-EF19-43D0-AA27-4057D0B5998F}"/>
                </a:ext>
              </a:extLst>
            </p:cNvPr>
            <p:cNvSpPr/>
            <p:nvPr/>
          </p:nvSpPr>
          <p:spPr>
            <a:xfrm>
              <a:off x="8289035" y="431213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12967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6" name="Freeform: Shape 3915">
              <a:extLst>
                <a:ext uri="{FF2B5EF4-FFF2-40B4-BE49-F238E27FC236}">
                  <a16:creationId xmlns:a16="http://schemas.microsoft.com/office/drawing/2014/main" id="{4A3D6339-BCEE-4E49-A3A4-11CB050FA818}"/>
                </a:ext>
              </a:extLst>
            </p:cNvPr>
            <p:cNvSpPr/>
            <p:nvPr/>
          </p:nvSpPr>
          <p:spPr>
            <a:xfrm>
              <a:off x="8560083" y="571900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7" name="Freeform: Shape 3916">
              <a:extLst>
                <a:ext uri="{FF2B5EF4-FFF2-40B4-BE49-F238E27FC236}">
                  <a16:creationId xmlns:a16="http://schemas.microsoft.com/office/drawing/2014/main" id="{C791D34E-B15E-49C5-BEB6-397A14219F15}"/>
                </a:ext>
              </a:extLst>
            </p:cNvPr>
            <p:cNvSpPr/>
            <p:nvPr/>
          </p:nvSpPr>
          <p:spPr>
            <a:xfrm>
              <a:off x="8534270" y="569319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6 h 258141"/>
                <a:gd name="connsiteX7" fmla="*/ 161338 w 258141"/>
                <a:gd name="connsiteY7" fmla="*/ 238781 h 258141"/>
                <a:gd name="connsiteX8" fmla="*/ 225874 w 258141"/>
                <a:gd name="connsiteY8" fmla="*/ 174246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6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6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8" name="Freeform: Shape 3917">
              <a:extLst>
                <a:ext uri="{FF2B5EF4-FFF2-40B4-BE49-F238E27FC236}">
                  <a16:creationId xmlns:a16="http://schemas.microsoft.com/office/drawing/2014/main" id="{7DD426C3-C600-434C-BBF7-0FCB850F55CE}"/>
                </a:ext>
              </a:extLst>
            </p:cNvPr>
            <p:cNvSpPr/>
            <p:nvPr/>
          </p:nvSpPr>
          <p:spPr>
            <a:xfrm>
              <a:off x="7798567" y="565447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19" name="Freeform: Shape 3918">
              <a:extLst>
                <a:ext uri="{FF2B5EF4-FFF2-40B4-BE49-F238E27FC236}">
                  <a16:creationId xmlns:a16="http://schemas.microsoft.com/office/drawing/2014/main" id="{2BD5719D-FCCC-45E6-9B0D-F18D33FB16DF}"/>
                </a:ext>
              </a:extLst>
            </p:cNvPr>
            <p:cNvSpPr/>
            <p:nvPr/>
          </p:nvSpPr>
          <p:spPr>
            <a:xfrm>
              <a:off x="7759846" y="562866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6 h 258141"/>
                <a:gd name="connsiteX7" fmla="*/ 161338 w 258141"/>
                <a:gd name="connsiteY7" fmla="*/ 238781 h 258141"/>
                <a:gd name="connsiteX8" fmla="*/ 225874 w 258141"/>
                <a:gd name="connsiteY8" fmla="*/ 174246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6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6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0" name="Freeform: Shape 3919">
              <a:extLst>
                <a:ext uri="{FF2B5EF4-FFF2-40B4-BE49-F238E27FC236}">
                  <a16:creationId xmlns:a16="http://schemas.microsoft.com/office/drawing/2014/main" id="{8976238F-ACCE-4903-B964-4226BCDF6123}"/>
                </a:ext>
              </a:extLst>
            </p:cNvPr>
            <p:cNvSpPr/>
            <p:nvPr/>
          </p:nvSpPr>
          <p:spPr>
            <a:xfrm>
              <a:off x="3345629" y="437324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1" name="Freeform: Shape 3920">
              <a:extLst>
                <a:ext uri="{FF2B5EF4-FFF2-40B4-BE49-F238E27FC236}">
                  <a16:creationId xmlns:a16="http://schemas.microsoft.com/office/drawing/2014/main" id="{9C7E5ED5-20BE-4B28-85F5-D4B0C22C4A20}"/>
                </a:ext>
              </a:extLst>
            </p:cNvPr>
            <p:cNvSpPr/>
            <p:nvPr/>
          </p:nvSpPr>
          <p:spPr>
            <a:xfrm>
              <a:off x="3319815" y="435086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12967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2" name="Freeform: Shape 3921">
              <a:extLst>
                <a:ext uri="{FF2B5EF4-FFF2-40B4-BE49-F238E27FC236}">
                  <a16:creationId xmlns:a16="http://schemas.microsoft.com/office/drawing/2014/main" id="{0FCF1059-6900-40D7-961D-1FF805F01140}"/>
                </a:ext>
              </a:extLst>
            </p:cNvPr>
            <p:cNvSpPr/>
            <p:nvPr/>
          </p:nvSpPr>
          <p:spPr>
            <a:xfrm>
              <a:off x="4842849" y="5228541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3" name="Freeform: Shape 3922">
              <a:extLst>
                <a:ext uri="{FF2B5EF4-FFF2-40B4-BE49-F238E27FC236}">
                  <a16:creationId xmlns:a16="http://schemas.microsoft.com/office/drawing/2014/main" id="{41F6A923-2A6D-4707-8C18-89686219FBB9}"/>
                </a:ext>
              </a:extLst>
            </p:cNvPr>
            <p:cNvSpPr/>
            <p:nvPr/>
          </p:nvSpPr>
          <p:spPr>
            <a:xfrm>
              <a:off x="4804128" y="520272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4" name="Freeform: Shape 3923">
              <a:extLst>
                <a:ext uri="{FF2B5EF4-FFF2-40B4-BE49-F238E27FC236}">
                  <a16:creationId xmlns:a16="http://schemas.microsoft.com/office/drawing/2014/main" id="{5480DF64-99B2-41BC-9B8A-7C1D8C3B9C42}"/>
                </a:ext>
              </a:extLst>
            </p:cNvPr>
            <p:cNvSpPr/>
            <p:nvPr/>
          </p:nvSpPr>
          <p:spPr>
            <a:xfrm>
              <a:off x="4081332" y="475097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5" name="Freeform: Shape 3924">
              <a:extLst>
                <a:ext uri="{FF2B5EF4-FFF2-40B4-BE49-F238E27FC236}">
                  <a16:creationId xmlns:a16="http://schemas.microsoft.com/office/drawing/2014/main" id="{E0088FFC-C024-4A12-8AEC-9F9EB45090DF}"/>
                </a:ext>
              </a:extLst>
            </p:cNvPr>
            <p:cNvSpPr/>
            <p:nvPr/>
          </p:nvSpPr>
          <p:spPr>
            <a:xfrm>
              <a:off x="4042611" y="472516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5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6" name="Freeform: Shape 3925">
              <a:extLst>
                <a:ext uri="{FF2B5EF4-FFF2-40B4-BE49-F238E27FC236}">
                  <a16:creationId xmlns:a16="http://schemas.microsoft.com/office/drawing/2014/main" id="{FA397331-0AB8-41AE-BD5D-41A9F83A97D7}"/>
                </a:ext>
              </a:extLst>
            </p:cNvPr>
            <p:cNvSpPr/>
            <p:nvPr/>
          </p:nvSpPr>
          <p:spPr>
            <a:xfrm>
              <a:off x="5384946" y="5444528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2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26050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7" name="Freeform: Shape 3926">
              <a:extLst>
                <a:ext uri="{FF2B5EF4-FFF2-40B4-BE49-F238E27FC236}">
                  <a16:creationId xmlns:a16="http://schemas.microsoft.com/office/drawing/2014/main" id="{56BAA7B8-30E5-4C49-9396-105CC9CEF970}"/>
                </a:ext>
              </a:extLst>
            </p:cNvPr>
            <p:cNvSpPr/>
            <p:nvPr/>
          </p:nvSpPr>
          <p:spPr>
            <a:xfrm>
              <a:off x="5346225" y="542214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8" name="Freeform: Shape 3927">
              <a:extLst>
                <a:ext uri="{FF2B5EF4-FFF2-40B4-BE49-F238E27FC236}">
                  <a16:creationId xmlns:a16="http://schemas.microsoft.com/office/drawing/2014/main" id="{6AC22FAD-A943-421C-B49A-4D8AE196DD8D}"/>
                </a:ext>
              </a:extLst>
            </p:cNvPr>
            <p:cNvSpPr/>
            <p:nvPr/>
          </p:nvSpPr>
          <p:spPr>
            <a:xfrm>
              <a:off x="4817035" y="5422147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29" name="Freeform: Shape 3928">
              <a:extLst>
                <a:ext uri="{FF2B5EF4-FFF2-40B4-BE49-F238E27FC236}">
                  <a16:creationId xmlns:a16="http://schemas.microsoft.com/office/drawing/2014/main" id="{74587B9B-7515-4104-A805-F5B6957CF847}"/>
                </a:ext>
              </a:extLst>
            </p:cNvPr>
            <p:cNvSpPr/>
            <p:nvPr/>
          </p:nvSpPr>
          <p:spPr>
            <a:xfrm>
              <a:off x="4791221" y="539633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0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0"/>
                    <a:pt x="161338" y="238780"/>
                  </a:cubicBezTo>
                  <a:cubicBezTo>
                    <a:pt x="200059" y="238780"/>
                    <a:pt x="225874" y="212967"/>
                    <a:pt x="225874" y="174245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0" name="Freeform: Shape 3929">
              <a:extLst>
                <a:ext uri="{FF2B5EF4-FFF2-40B4-BE49-F238E27FC236}">
                  <a16:creationId xmlns:a16="http://schemas.microsoft.com/office/drawing/2014/main" id="{87C9A11C-4975-4837-8626-1D43B7D178BA}"/>
                </a:ext>
              </a:extLst>
            </p:cNvPr>
            <p:cNvSpPr/>
            <p:nvPr/>
          </p:nvSpPr>
          <p:spPr>
            <a:xfrm>
              <a:off x="6069020" y="6945180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59" y="225874"/>
                    <a:pt x="161338" y="225874"/>
                  </a:cubicBez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109710"/>
                    <a:pt x="225874" y="135524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1" name="Freeform: Shape 3930">
              <a:extLst>
                <a:ext uri="{FF2B5EF4-FFF2-40B4-BE49-F238E27FC236}">
                  <a16:creationId xmlns:a16="http://schemas.microsoft.com/office/drawing/2014/main" id="{8E037D1C-BA60-452D-A6C1-32EE66D5042F}"/>
                </a:ext>
              </a:extLst>
            </p:cNvPr>
            <p:cNvSpPr/>
            <p:nvPr/>
          </p:nvSpPr>
          <p:spPr>
            <a:xfrm>
              <a:off x="6043206" y="6919366"/>
              <a:ext cx="258141" cy="387212"/>
            </a:xfrm>
            <a:custGeom>
              <a:avLst/>
              <a:gdLst>
                <a:gd name="connsiteX0" fmla="*/ 187153 w 258141"/>
                <a:gd name="connsiteY0" fmla="*/ 277502 h 387211"/>
                <a:gd name="connsiteX1" fmla="*/ 96803 w 258141"/>
                <a:gd name="connsiteY1" fmla="*/ 187153 h 387211"/>
                <a:gd name="connsiteX2" fmla="*/ 187153 w 258141"/>
                <a:gd name="connsiteY2" fmla="*/ 96803 h 387211"/>
                <a:gd name="connsiteX3" fmla="*/ 277502 w 258141"/>
                <a:gd name="connsiteY3" fmla="*/ 187153 h 387211"/>
                <a:gd name="connsiteX4" fmla="*/ 187153 w 258141"/>
                <a:gd name="connsiteY4" fmla="*/ 277502 h 387211"/>
                <a:gd name="connsiteX5" fmla="*/ 187153 w 258141"/>
                <a:gd name="connsiteY5" fmla="*/ 109710 h 387211"/>
                <a:gd name="connsiteX6" fmla="*/ 96803 w 258141"/>
                <a:gd name="connsiteY6" fmla="*/ 200059 h 387211"/>
                <a:gd name="connsiteX7" fmla="*/ 187153 w 258141"/>
                <a:gd name="connsiteY7" fmla="*/ 290409 h 387211"/>
                <a:gd name="connsiteX8" fmla="*/ 277502 w 258141"/>
                <a:gd name="connsiteY8" fmla="*/ 200059 h 387211"/>
                <a:gd name="connsiteX9" fmla="*/ 187153 w 25814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38721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3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109710"/>
                  </a:moveTo>
                  <a:cubicBezTo>
                    <a:pt x="135525" y="109710"/>
                    <a:pt x="96803" y="148431"/>
                    <a:pt x="96803" y="200059"/>
                  </a:cubicBezTo>
                  <a:cubicBezTo>
                    <a:pt x="96803" y="251688"/>
                    <a:pt x="135525" y="290409"/>
                    <a:pt x="187153" y="290409"/>
                  </a:cubicBezTo>
                  <a:cubicBezTo>
                    <a:pt x="238781" y="290409"/>
                    <a:pt x="277502" y="251688"/>
                    <a:pt x="277502" y="200059"/>
                  </a:cubicBezTo>
                  <a:cubicBezTo>
                    <a:pt x="277502" y="148431"/>
                    <a:pt x="238781" y="109710"/>
                    <a:pt x="187153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2" name="Freeform: Shape 3931">
              <a:extLst>
                <a:ext uri="{FF2B5EF4-FFF2-40B4-BE49-F238E27FC236}">
                  <a16:creationId xmlns:a16="http://schemas.microsoft.com/office/drawing/2014/main" id="{BBF545C2-EB8B-4A1D-8C01-AFAB6E0B7A60}"/>
                </a:ext>
              </a:extLst>
            </p:cNvPr>
            <p:cNvSpPr/>
            <p:nvPr/>
          </p:nvSpPr>
          <p:spPr>
            <a:xfrm>
              <a:off x="5126804" y="7422742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59" y="225874"/>
                    <a:pt x="161338" y="225874"/>
                  </a:cubicBez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109710"/>
                    <a:pt x="225874" y="135524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3" name="Freeform: Shape 3932">
              <a:extLst>
                <a:ext uri="{FF2B5EF4-FFF2-40B4-BE49-F238E27FC236}">
                  <a16:creationId xmlns:a16="http://schemas.microsoft.com/office/drawing/2014/main" id="{E7DA61E1-BCEF-4F39-844B-DDB10D70786C}"/>
                </a:ext>
              </a:extLst>
            </p:cNvPr>
            <p:cNvSpPr/>
            <p:nvPr/>
          </p:nvSpPr>
          <p:spPr>
            <a:xfrm>
              <a:off x="5113897" y="7409834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3 h 258141"/>
                <a:gd name="connsiteX2" fmla="*/ 187152 w 258141"/>
                <a:gd name="connsiteY2" fmla="*/ 96803 h 258141"/>
                <a:gd name="connsiteX3" fmla="*/ 277502 w 258141"/>
                <a:gd name="connsiteY3" fmla="*/ 187153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3 h 258141"/>
                <a:gd name="connsiteX7" fmla="*/ 187152 w 258141"/>
                <a:gd name="connsiteY7" fmla="*/ 277502 h 258141"/>
                <a:gd name="connsiteX8" fmla="*/ 277502 w 258141"/>
                <a:gd name="connsiteY8" fmla="*/ 187153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1"/>
                    <a:pt x="96803" y="187153"/>
                  </a:cubicBezTo>
                  <a:cubicBezTo>
                    <a:pt x="96803" y="135525"/>
                    <a:pt x="135524" y="96803"/>
                    <a:pt x="187152" y="96803"/>
                  </a:cubicBezTo>
                  <a:cubicBezTo>
                    <a:pt x="238781" y="96803"/>
                    <a:pt x="277502" y="135525"/>
                    <a:pt x="277502" y="187153"/>
                  </a:cubicBezTo>
                  <a:cubicBezTo>
                    <a:pt x="277502" y="238781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5"/>
                    <a:pt x="96803" y="187153"/>
                  </a:cubicBezTo>
                  <a:cubicBezTo>
                    <a:pt x="96803" y="238781"/>
                    <a:pt x="135524" y="277502"/>
                    <a:pt x="187152" y="277502"/>
                  </a:cubicBezTo>
                  <a:cubicBezTo>
                    <a:pt x="238781" y="277502"/>
                    <a:pt x="277502" y="238781"/>
                    <a:pt x="277502" y="187153"/>
                  </a:cubicBezTo>
                  <a:cubicBezTo>
                    <a:pt x="277502" y="135525"/>
                    <a:pt x="225874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4" name="Freeform: Shape 3933">
              <a:extLst>
                <a:ext uri="{FF2B5EF4-FFF2-40B4-BE49-F238E27FC236}">
                  <a16:creationId xmlns:a16="http://schemas.microsoft.com/office/drawing/2014/main" id="{F8304F9F-020C-4CAC-A83C-99478204FB91}"/>
                </a:ext>
              </a:extLst>
            </p:cNvPr>
            <p:cNvSpPr/>
            <p:nvPr/>
          </p:nvSpPr>
          <p:spPr>
            <a:xfrm>
              <a:off x="4494358" y="587389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5" name="Freeform: Shape 3934">
              <a:extLst>
                <a:ext uri="{FF2B5EF4-FFF2-40B4-BE49-F238E27FC236}">
                  <a16:creationId xmlns:a16="http://schemas.microsoft.com/office/drawing/2014/main" id="{AFF50014-359B-4E31-844B-415987C1D35C}"/>
                </a:ext>
              </a:extLst>
            </p:cNvPr>
            <p:cNvSpPr/>
            <p:nvPr/>
          </p:nvSpPr>
          <p:spPr>
            <a:xfrm>
              <a:off x="4468544" y="584808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6" name="Freeform: Shape 3935">
              <a:extLst>
                <a:ext uri="{FF2B5EF4-FFF2-40B4-BE49-F238E27FC236}">
                  <a16:creationId xmlns:a16="http://schemas.microsoft.com/office/drawing/2014/main" id="{A2CBB63E-6C62-434C-9A1E-CC2F512252A9}"/>
                </a:ext>
              </a:extLst>
            </p:cNvPr>
            <p:cNvSpPr/>
            <p:nvPr/>
          </p:nvSpPr>
          <p:spPr>
            <a:xfrm>
              <a:off x="4533080" y="614494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7" name="Freeform: Shape 3936">
              <a:extLst>
                <a:ext uri="{FF2B5EF4-FFF2-40B4-BE49-F238E27FC236}">
                  <a16:creationId xmlns:a16="http://schemas.microsoft.com/office/drawing/2014/main" id="{36C2F945-7F7F-465A-9ABC-07C3709C3427}"/>
                </a:ext>
              </a:extLst>
            </p:cNvPr>
            <p:cNvSpPr/>
            <p:nvPr/>
          </p:nvSpPr>
          <p:spPr>
            <a:xfrm>
              <a:off x="4507265" y="611912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8" name="Freeform: Shape 3937">
              <a:extLst>
                <a:ext uri="{FF2B5EF4-FFF2-40B4-BE49-F238E27FC236}">
                  <a16:creationId xmlns:a16="http://schemas.microsoft.com/office/drawing/2014/main" id="{C8D0D0A9-E58A-4DEE-A399-8CE14F2FA3F2}"/>
                </a:ext>
              </a:extLst>
            </p:cNvPr>
            <p:cNvSpPr/>
            <p:nvPr/>
          </p:nvSpPr>
          <p:spPr>
            <a:xfrm>
              <a:off x="5320410" y="801646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22617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39" name="Freeform: Shape 3938">
              <a:extLst>
                <a:ext uri="{FF2B5EF4-FFF2-40B4-BE49-F238E27FC236}">
                  <a16:creationId xmlns:a16="http://schemas.microsoft.com/office/drawing/2014/main" id="{DDE03FE1-5773-4591-9C2E-2020DBEAB56A}"/>
                </a:ext>
              </a:extLst>
            </p:cNvPr>
            <p:cNvSpPr/>
            <p:nvPr/>
          </p:nvSpPr>
          <p:spPr>
            <a:xfrm>
              <a:off x="5294596" y="799065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6 h 258141"/>
                <a:gd name="connsiteX7" fmla="*/ 161338 w 258141"/>
                <a:gd name="connsiteY7" fmla="*/ 238781 h 258141"/>
                <a:gd name="connsiteX8" fmla="*/ 225874 w 258141"/>
                <a:gd name="connsiteY8" fmla="*/ 174246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187153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5"/>
                    <a:pt x="96803" y="174246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6"/>
                  </a:cubicBezTo>
                  <a:cubicBezTo>
                    <a:pt x="225874" y="135525"/>
                    <a:pt x="187153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0" name="Freeform: Shape 3939">
              <a:extLst>
                <a:ext uri="{FF2B5EF4-FFF2-40B4-BE49-F238E27FC236}">
                  <a16:creationId xmlns:a16="http://schemas.microsoft.com/office/drawing/2014/main" id="{F661A8CF-9303-45DA-8C13-34ED0DF0ED99}"/>
                </a:ext>
              </a:extLst>
            </p:cNvPr>
            <p:cNvSpPr/>
            <p:nvPr/>
          </p:nvSpPr>
          <p:spPr>
            <a:xfrm>
              <a:off x="4984827" y="911356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48431"/>
                    <a:pt x="161338" y="174246"/>
                    <a:pt x="135524" y="174246"/>
                  </a:cubicBezTo>
                  <a:cubicBezTo>
                    <a:pt x="122617" y="174246"/>
                    <a:pt x="96803" y="161338"/>
                    <a:pt x="96803" y="135524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1" name="Freeform: Shape 3940">
              <a:extLst>
                <a:ext uri="{FF2B5EF4-FFF2-40B4-BE49-F238E27FC236}">
                  <a16:creationId xmlns:a16="http://schemas.microsoft.com/office/drawing/2014/main" id="{B430AE0E-2D8B-4067-987B-79934DC8026A}"/>
                </a:ext>
              </a:extLst>
            </p:cNvPr>
            <p:cNvSpPr/>
            <p:nvPr/>
          </p:nvSpPr>
          <p:spPr>
            <a:xfrm>
              <a:off x="4971919" y="9100660"/>
              <a:ext cx="258141" cy="258141"/>
            </a:xfrm>
            <a:custGeom>
              <a:avLst/>
              <a:gdLst>
                <a:gd name="connsiteX0" fmla="*/ 148431 w 258141"/>
                <a:gd name="connsiteY0" fmla="*/ 200059 h 258141"/>
                <a:gd name="connsiteX1" fmla="*/ 96803 w 258141"/>
                <a:gd name="connsiteY1" fmla="*/ 148431 h 258141"/>
                <a:gd name="connsiteX2" fmla="*/ 148431 w 258141"/>
                <a:gd name="connsiteY2" fmla="*/ 96803 h 258141"/>
                <a:gd name="connsiteX3" fmla="*/ 200059 w 258141"/>
                <a:gd name="connsiteY3" fmla="*/ 148431 h 258141"/>
                <a:gd name="connsiteX4" fmla="*/ 148431 w 258141"/>
                <a:gd name="connsiteY4" fmla="*/ 200059 h 258141"/>
                <a:gd name="connsiteX5" fmla="*/ 148431 w 258141"/>
                <a:gd name="connsiteY5" fmla="*/ 96803 h 258141"/>
                <a:gd name="connsiteX6" fmla="*/ 96803 w 258141"/>
                <a:gd name="connsiteY6" fmla="*/ 148431 h 258141"/>
                <a:gd name="connsiteX7" fmla="*/ 148431 w 258141"/>
                <a:gd name="connsiteY7" fmla="*/ 200059 h 258141"/>
                <a:gd name="connsiteX8" fmla="*/ 200059 w 258141"/>
                <a:gd name="connsiteY8" fmla="*/ 148431 h 258141"/>
                <a:gd name="connsiteX9" fmla="*/ 148431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48431" y="200059"/>
                  </a:moveTo>
                  <a:cubicBezTo>
                    <a:pt x="122617" y="200059"/>
                    <a:pt x="96803" y="174245"/>
                    <a:pt x="96803" y="148431"/>
                  </a:cubicBezTo>
                  <a:cubicBezTo>
                    <a:pt x="96803" y="122617"/>
                    <a:pt x="122617" y="96803"/>
                    <a:pt x="148431" y="96803"/>
                  </a:cubicBezTo>
                  <a:cubicBezTo>
                    <a:pt x="174246" y="96803"/>
                    <a:pt x="200059" y="122617"/>
                    <a:pt x="200059" y="148431"/>
                  </a:cubicBezTo>
                  <a:cubicBezTo>
                    <a:pt x="200059" y="174245"/>
                    <a:pt x="174246" y="200059"/>
                    <a:pt x="148431" y="200059"/>
                  </a:cubicBezTo>
                  <a:close/>
                  <a:moveTo>
                    <a:pt x="148431" y="96803"/>
                  </a:moveTo>
                  <a:cubicBezTo>
                    <a:pt x="122617" y="96803"/>
                    <a:pt x="96803" y="122617"/>
                    <a:pt x="96803" y="148431"/>
                  </a:cubicBezTo>
                  <a:cubicBezTo>
                    <a:pt x="96803" y="174245"/>
                    <a:pt x="122617" y="200059"/>
                    <a:pt x="148431" y="200059"/>
                  </a:cubicBezTo>
                  <a:cubicBezTo>
                    <a:pt x="174246" y="200059"/>
                    <a:pt x="200059" y="174245"/>
                    <a:pt x="200059" y="148431"/>
                  </a:cubicBezTo>
                  <a:cubicBezTo>
                    <a:pt x="200059" y="122617"/>
                    <a:pt x="174246" y="96803"/>
                    <a:pt x="14843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2" name="Freeform: Shape 3941">
              <a:extLst>
                <a:ext uri="{FF2B5EF4-FFF2-40B4-BE49-F238E27FC236}">
                  <a16:creationId xmlns:a16="http://schemas.microsoft.com/office/drawing/2014/main" id="{7F800E58-B59B-4D82-B170-04FD1FB6DCF8}"/>
                </a:ext>
              </a:extLst>
            </p:cNvPr>
            <p:cNvSpPr/>
            <p:nvPr/>
          </p:nvSpPr>
          <p:spPr>
            <a:xfrm>
              <a:off x="4997734" y="8700541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48431"/>
                    <a:pt x="161338" y="174246"/>
                    <a:pt x="135524" y="174246"/>
                  </a:cubicBezTo>
                  <a:cubicBezTo>
                    <a:pt x="122617" y="174246"/>
                    <a:pt x="96803" y="161338"/>
                    <a:pt x="96803" y="135525"/>
                  </a:cubicBezTo>
                  <a:cubicBezTo>
                    <a:pt x="96803" y="122617"/>
                    <a:pt x="109710" y="96803"/>
                    <a:pt x="135524" y="96803"/>
                  </a:cubicBezTo>
                  <a:cubicBezTo>
                    <a:pt x="161338" y="96803"/>
                    <a:pt x="174245" y="122617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3" name="Freeform: Shape 3942">
              <a:extLst>
                <a:ext uri="{FF2B5EF4-FFF2-40B4-BE49-F238E27FC236}">
                  <a16:creationId xmlns:a16="http://schemas.microsoft.com/office/drawing/2014/main" id="{A353863D-5B9C-4B71-B27C-53FDF16064A6}"/>
                </a:ext>
              </a:extLst>
            </p:cNvPr>
            <p:cNvSpPr/>
            <p:nvPr/>
          </p:nvSpPr>
          <p:spPr>
            <a:xfrm>
              <a:off x="4997734" y="8687634"/>
              <a:ext cx="258141" cy="258141"/>
            </a:xfrm>
            <a:custGeom>
              <a:avLst/>
              <a:gdLst>
                <a:gd name="connsiteX0" fmla="*/ 148431 w 258141"/>
                <a:gd name="connsiteY0" fmla="*/ 200059 h 258141"/>
                <a:gd name="connsiteX1" fmla="*/ 96803 w 258141"/>
                <a:gd name="connsiteY1" fmla="*/ 148431 h 258141"/>
                <a:gd name="connsiteX2" fmla="*/ 148431 w 258141"/>
                <a:gd name="connsiteY2" fmla="*/ 96803 h 258141"/>
                <a:gd name="connsiteX3" fmla="*/ 200059 w 258141"/>
                <a:gd name="connsiteY3" fmla="*/ 148431 h 258141"/>
                <a:gd name="connsiteX4" fmla="*/ 148431 w 258141"/>
                <a:gd name="connsiteY4" fmla="*/ 200059 h 258141"/>
                <a:gd name="connsiteX5" fmla="*/ 148431 w 258141"/>
                <a:gd name="connsiteY5" fmla="*/ 96803 h 258141"/>
                <a:gd name="connsiteX6" fmla="*/ 96803 w 258141"/>
                <a:gd name="connsiteY6" fmla="*/ 148431 h 258141"/>
                <a:gd name="connsiteX7" fmla="*/ 148431 w 258141"/>
                <a:gd name="connsiteY7" fmla="*/ 200059 h 258141"/>
                <a:gd name="connsiteX8" fmla="*/ 200059 w 258141"/>
                <a:gd name="connsiteY8" fmla="*/ 148431 h 258141"/>
                <a:gd name="connsiteX9" fmla="*/ 148431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48431" y="200059"/>
                  </a:moveTo>
                  <a:cubicBezTo>
                    <a:pt x="122617" y="200059"/>
                    <a:pt x="96803" y="174245"/>
                    <a:pt x="96803" y="148431"/>
                  </a:cubicBezTo>
                  <a:cubicBezTo>
                    <a:pt x="96803" y="122617"/>
                    <a:pt x="122617" y="96803"/>
                    <a:pt x="148431" y="96803"/>
                  </a:cubicBezTo>
                  <a:cubicBezTo>
                    <a:pt x="174245" y="96803"/>
                    <a:pt x="200059" y="122617"/>
                    <a:pt x="200059" y="148431"/>
                  </a:cubicBezTo>
                  <a:cubicBezTo>
                    <a:pt x="200059" y="174245"/>
                    <a:pt x="174245" y="200059"/>
                    <a:pt x="148431" y="200059"/>
                  </a:cubicBezTo>
                  <a:close/>
                  <a:moveTo>
                    <a:pt x="148431" y="96803"/>
                  </a:moveTo>
                  <a:cubicBezTo>
                    <a:pt x="122617" y="96803"/>
                    <a:pt x="96803" y="122617"/>
                    <a:pt x="96803" y="148431"/>
                  </a:cubicBezTo>
                  <a:cubicBezTo>
                    <a:pt x="96803" y="174245"/>
                    <a:pt x="122617" y="200059"/>
                    <a:pt x="148431" y="200059"/>
                  </a:cubicBezTo>
                  <a:cubicBezTo>
                    <a:pt x="174245" y="200059"/>
                    <a:pt x="200059" y="174245"/>
                    <a:pt x="200059" y="148431"/>
                  </a:cubicBezTo>
                  <a:cubicBezTo>
                    <a:pt x="200059" y="122617"/>
                    <a:pt x="174245" y="96803"/>
                    <a:pt x="14843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4" name="Freeform: Shape 3943">
              <a:extLst>
                <a:ext uri="{FF2B5EF4-FFF2-40B4-BE49-F238E27FC236}">
                  <a16:creationId xmlns:a16="http://schemas.microsoft.com/office/drawing/2014/main" id="{DFA3F557-0BAE-4758-A9C9-A21E6F918508}"/>
                </a:ext>
              </a:extLst>
            </p:cNvPr>
            <p:cNvSpPr/>
            <p:nvPr/>
          </p:nvSpPr>
          <p:spPr>
            <a:xfrm>
              <a:off x="4881570" y="7564719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6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6"/>
                    <a:pt x="135525" y="174246"/>
                  </a:cubicBezTo>
                  <a:cubicBezTo>
                    <a:pt x="109710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5" name="Freeform: Shape 3944">
              <a:extLst>
                <a:ext uri="{FF2B5EF4-FFF2-40B4-BE49-F238E27FC236}">
                  <a16:creationId xmlns:a16="http://schemas.microsoft.com/office/drawing/2014/main" id="{CED3FE41-7587-4341-9115-3E6B0A0922B2}"/>
                </a:ext>
              </a:extLst>
            </p:cNvPr>
            <p:cNvSpPr/>
            <p:nvPr/>
          </p:nvSpPr>
          <p:spPr>
            <a:xfrm>
              <a:off x="4842849" y="753890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6 h 258141"/>
                <a:gd name="connsiteX7" fmla="*/ 161338 w 258141"/>
                <a:gd name="connsiteY7" fmla="*/ 238781 h 258141"/>
                <a:gd name="connsiteX8" fmla="*/ 225874 w 258141"/>
                <a:gd name="connsiteY8" fmla="*/ 174246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5"/>
                    <a:pt x="96803" y="174246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6"/>
                  </a:cubicBezTo>
                  <a:cubicBezTo>
                    <a:pt x="225874" y="135525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6" name="Freeform: Shape 3945">
              <a:extLst>
                <a:ext uri="{FF2B5EF4-FFF2-40B4-BE49-F238E27FC236}">
                  <a16:creationId xmlns:a16="http://schemas.microsoft.com/office/drawing/2014/main" id="{41D557C3-C9B5-412F-A9D2-56E0ADA3377A}"/>
                </a:ext>
              </a:extLst>
            </p:cNvPr>
            <p:cNvSpPr/>
            <p:nvPr/>
          </p:nvSpPr>
          <p:spPr>
            <a:xfrm>
              <a:off x="5797972" y="5693195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7" name="Freeform: Shape 3946">
              <a:extLst>
                <a:ext uri="{FF2B5EF4-FFF2-40B4-BE49-F238E27FC236}">
                  <a16:creationId xmlns:a16="http://schemas.microsoft.com/office/drawing/2014/main" id="{780598FB-FCCE-4C4B-BE35-418C1666DAC0}"/>
                </a:ext>
              </a:extLst>
            </p:cNvPr>
            <p:cNvSpPr/>
            <p:nvPr/>
          </p:nvSpPr>
          <p:spPr>
            <a:xfrm>
              <a:off x="5759251" y="566738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8" name="Freeform: Shape 3947">
              <a:extLst>
                <a:ext uri="{FF2B5EF4-FFF2-40B4-BE49-F238E27FC236}">
                  <a16:creationId xmlns:a16="http://schemas.microsoft.com/office/drawing/2014/main" id="{AC14B53C-9397-43CE-9133-641EAA7B4334}"/>
                </a:ext>
              </a:extLst>
            </p:cNvPr>
            <p:cNvSpPr/>
            <p:nvPr/>
          </p:nvSpPr>
          <p:spPr>
            <a:xfrm>
              <a:off x="13916515" y="356352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49" name="Freeform: Shape 3948">
              <a:extLst>
                <a:ext uri="{FF2B5EF4-FFF2-40B4-BE49-F238E27FC236}">
                  <a16:creationId xmlns:a16="http://schemas.microsoft.com/office/drawing/2014/main" id="{A274B370-7283-4C06-99B0-37D5B352F77D}"/>
                </a:ext>
              </a:extLst>
            </p:cNvPr>
            <p:cNvSpPr/>
            <p:nvPr/>
          </p:nvSpPr>
          <p:spPr>
            <a:xfrm>
              <a:off x="13877795" y="353771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35524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0" name="Freeform: Shape 3949">
              <a:extLst>
                <a:ext uri="{FF2B5EF4-FFF2-40B4-BE49-F238E27FC236}">
                  <a16:creationId xmlns:a16="http://schemas.microsoft.com/office/drawing/2014/main" id="{EB298E96-80DC-4F12-B6B9-A830E787DB75}"/>
                </a:ext>
              </a:extLst>
            </p:cNvPr>
            <p:cNvSpPr/>
            <p:nvPr/>
          </p:nvSpPr>
          <p:spPr>
            <a:xfrm>
              <a:off x="13851980" y="3511901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3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90409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3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3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1" name="Freeform: Shape 3950">
              <a:extLst>
                <a:ext uri="{FF2B5EF4-FFF2-40B4-BE49-F238E27FC236}">
                  <a16:creationId xmlns:a16="http://schemas.microsoft.com/office/drawing/2014/main" id="{81070902-BE26-4D81-87A3-0BD30766BA65}"/>
                </a:ext>
              </a:extLst>
            </p:cNvPr>
            <p:cNvSpPr/>
            <p:nvPr/>
          </p:nvSpPr>
          <p:spPr>
            <a:xfrm>
              <a:off x="15942925" y="228573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2" name="Freeform: Shape 3951">
              <a:extLst>
                <a:ext uri="{FF2B5EF4-FFF2-40B4-BE49-F238E27FC236}">
                  <a16:creationId xmlns:a16="http://schemas.microsoft.com/office/drawing/2014/main" id="{356C2732-C812-416D-9A95-4F17102398FF}"/>
                </a:ext>
              </a:extLst>
            </p:cNvPr>
            <p:cNvSpPr/>
            <p:nvPr/>
          </p:nvSpPr>
          <p:spPr>
            <a:xfrm>
              <a:off x="15904204" y="225991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3" name="Freeform: Shape 3952">
              <a:extLst>
                <a:ext uri="{FF2B5EF4-FFF2-40B4-BE49-F238E27FC236}">
                  <a16:creationId xmlns:a16="http://schemas.microsoft.com/office/drawing/2014/main" id="{5023C4C6-CD37-43DD-BBD5-1C053AB8D5E5}"/>
                </a:ext>
              </a:extLst>
            </p:cNvPr>
            <p:cNvSpPr/>
            <p:nvPr/>
          </p:nvSpPr>
          <p:spPr>
            <a:xfrm>
              <a:off x="15878390" y="2234102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2 h 258141"/>
                <a:gd name="connsiteX2" fmla="*/ 187152 w 258141"/>
                <a:gd name="connsiteY2" fmla="*/ 96803 h 258141"/>
                <a:gd name="connsiteX3" fmla="*/ 277501 w 258141"/>
                <a:gd name="connsiteY3" fmla="*/ 187152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2 h 258141"/>
                <a:gd name="connsiteX7" fmla="*/ 187152 w 258141"/>
                <a:gd name="connsiteY7" fmla="*/ 277502 h 258141"/>
                <a:gd name="connsiteX8" fmla="*/ 277501 w 258141"/>
                <a:gd name="connsiteY8" fmla="*/ 187152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2" y="96803"/>
                  </a:cubicBezTo>
                  <a:cubicBezTo>
                    <a:pt x="238781" y="96803"/>
                    <a:pt x="277501" y="135524"/>
                    <a:pt x="277501" y="187152"/>
                  </a:cubicBezTo>
                  <a:cubicBezTo>
                    <a:pt x="277501" y="238781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2" y="277502"/>
                  </a:cubicBezTo>
                  <a:cubicBezTo>
                    <a:pt x="238781" y="277502"/>
                    <a:pt x="277501" y="238781"/>
                    <a:pt x="277501" y="187152"/>
                  </a:cubicBezTo>
                  <a:cubicBezTo>
                    <a:pt x="277501" y="135524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4" name="Freeform: Shape 3953">
              <a:extLst>
                <a:ext uri="{FF2B5EF4-FFF2-40B4-BE49-F238E27FC236}">
                  <a16:creationId xmlns:a16="http://schemas.microsoft.com/office/drawing/2014/main" id="{E480D199-5F33-4C43-BA4B-92801D593734}"/>
                </a:ext>
              </a:extLst>
            </p:cNvPr>
            <p:cNvSpPr/>
            <p:nvPr/>
          </p:nvSpPr>
          <p:spPr>
            <a:xfrm>
              <a:off x="14045586" y="2879455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5" name="Freeform: Shape 3954">
              <a:extLst>
                <a:ext uri="{FF2B5EF4-FFF2-40B4-BE49-F238E27FC236}">
                  <a16:creationId xmlns:a16="http://schemas.microsoft.com/office/drawing/2014/main" id="{CEB57AF2-7516-493B-858A-174D4D3D2B98}"/>
                </a:ext>
              </a:extLst>
            </p:cNvPr>
            <p:cNvSpPr/>
            <p:nvPr/>
          </p:nvSpPr>
          <p:spPr>
            <a:xfrm>
              <a:off x="14019772" y="285364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35524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6" name="Freeform: Shape 3955">
              <a:extLst>
                <a:ext uri="{FF2B5EF4-FFF2-40B4-BE49-F238E27FC236}">
                  <a16:creationId xmlns:a16="http://schemas.microsoft.com/office/drawing/2014/main" id="{F22BE629-FCD1-40E0-8C2A-FEFE7CDE0DA4}"/>
                </a:ext>
              </a:extLst>
            </p:cNvPr>
            <p:cNvSpPr/>
            <p:nvPr/>
          </p:nvSpPr>
          <p:spPr>
            <a:xfrm>
              <a:off x="13993958" y="2827827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2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2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7" name="Freeform: Shape 3956">
              <a:extLst>
                <a:ext uri="{FF2B5EF4-FFF2-40B4-BE49-F238E27FC236}">
                  <a16:creationId xmlns:a16="http://schemas.microsoft.com/office/drawing/2014/main" id="{BE47E9A7-A43B-4F81-A8B2-6AC4BAD53AA7}"/>
                </a:ext>
              </a:extLst>
            </p:cNvPr>
            <p:cNvSpPr/>
            <p:nvPr/>
          </p:nvSpPr>
          <p:spPr>
            <a:xfrm>
              <a:off x="9076366" y="1382236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8" name="Freeform: Shape 3957">
              <a:extLst>
                <a:ext uri="{FF2B5EF4-FFF2-40B4-BE49-F238E27FC236}">
                  <a16:creationId xmlns:a16="http://schemas.microsoft.com/office/drawing/2014/main" id="{EE029734-B0B2-4A4C-A933-723609561E66}"/>
                </a:ext>
              </a:extLst>
            </p:cNvPr>
            <p:cNvSpPr/>
            <p:nvPr/>
          </p:nvSpPr>
          <p:spPr>
            <a:xfrm>
              <a:off x="9050552" y="135642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5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59" name="Freeform: Shape 3958">
              <a:extLst>
                <a:ext uri="{FF2B5EF4-FFF2-40B4-BE49-F238E27FC236}">
                  <a16:creationId xmlns:a16="http://schemas.microsoft.com/office/drawing/2014/main" id="{4323FD1D-5021-4D58-902F-C9D3E37BEBA3}"/>
                </a:ext>
              </a:extLst>
            </p:cNvPr>
            <p:cNvSpPr/>
            <p:nvPr/>
          </p:nvSpPr>
          <p:spPr>
            <a:xfrm>
              <a:off x="9024738" y="1330607"/>
              <a:ext cx="258141" cy="387212"/>
            </a:xfrm>
            <a:custGeom>
              <a:avLst/>
              <a:gdLst>
                <a:gd name="connsiteX0" fmla="*/ 187153 w 258141"/>
                <a:gd name="connsiteY0" fmla="*/ 290409 h 387211"/>
                <a:gd name="connsiteX1" fmla="*/ 96803 w 258141"/>
                <a:gd name="connsiteY1" fmla="*/ 200059 h 387211"/>
                <a:gd name="connsiteX2" fmla="*/ 187153 w 258141"/>
                <a:gd name="connsiteY2" fmla="*/ 96803 h 387211"/>
                <a:gd name="connsiteX3" fmla="*/ 277502 w 258141"/>
                <a:gd name="connsiteY3" fmla="*/ 187152 h 387211"/>
                <a:gd name="connsiteX4" fmla="*/ 187153 w 258141"/>
                <a:gd name="connsiteY4" fmla="*/ 290409 h 387211"/>
                <a:gd name="connsiteX5" fmla="*/ 187153 w 258141"/>
                <a:gd name="connsiteY5" fmla="*/ 109710 h 387211"/>
                <a:gd name="connsiteX6" fmla="*/ 96803 w 258141"/>
                <a:gd name="connsiteY6" fmla="*/ 200059 h 387211"/>
                <a:gd name="connsiteX7" fmla="*/ 187153 w 258141"/>
                <a:gd name="connsiteY7" fmla="*/ 290409 h 387211"/>
                <a:gd name="connsiteX8" fmla="*/ 277502 w 258141"/>
                <a:gd name="connsiteY8" fmla="*/ 200059 h 387211"/>
                <a:gd name="connsiteX9" fmla="*/ 187153 w 25814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387211">
                  <a:moveTo>
                    <a:pt x="187153" y="290409"/>
                  </a:moveTo>
                  <a:cubicBezTo>
                    <a:pt x="135525" y="290409"/>
                    <a:pt x="96803" y="251688"/>
                    <a:pt x="96803" y="200059"/>
                  </a:cubicBezTo>
                  <a:cubicBezTo>
                    <a:pt x="96803" y="148431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90409"/>
                    <a:pt x="187153" y="290409"/>
                  </a:cubicBezTo>
                  <a:close/>
                  <a:moveTo>
                    <a:pt x="187153" y="109710"/>
                  </a:moveTo>
                  <a:cubicBezTo>
                    <a:pt x="135525" y="109710"/>
                    <a:pt x="96803" y="148431"/>
                    <a:pt x="96803" y="200059"/>
                  </a:cubicBezTo>
                  <a:cubicBezTo>
                    <a:pt x="96803" y="251688"/>
                    <a:pt x="135525" y="290409"/>
                    <a:pt x="187153" y="290409"/>
                  </a:cubicBezTo>
                  <a:cubicBezTo>
                    <a:pt x="238781" y="290409"/>
                    <a:pt x="277502" y="251688"/>
                    <a:pt x="277502" y="200059"/>
                  </a:cubicBezTo>
                  <a:cubicBezTo>
                    <a:pt x="277502" y="148431"/>
                    <a:pt x="238781" y="109710"/>
                    <a:pt x="187153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0" name="Freeform: Shape 3959">
              <a:extLst>
                <a:ext uri="{FF2B5EF4-FFF2-40B4-BE49-F238E27FC236}">
                  <a16:creationId xmlns:a16="http://schemas.microsoft.com/office/drawing/2014/main" id="{309823AD-2FAF-42AB-BF44-2E7FAE34C1B3}"/>
                </a:ext>
              </a:extLst>
            </p:cNvPr>
            <p:cNvSpPr/>
            <p:nvPr/>
          </p:nvSpPr>
          <p:spPr>
            <a:xfrm>
              <a:off x="8818225" y="325376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1" name="Freeform: Shape 3960">
              <a:extLst>
                <a:ext uri="{FF2B5EF4-FFF2-40B4-BE49-F238E27FC236}">
                  <a16:creationId xmlns:a16="http://schemas.microsoft.com/office/drawing/2014/main" id="{E0C8EA85-30AC-4D0D-BB3E-628C31EFE6F0}"/>
                </a:ext>
              </a:extLst>
            </p:cNvPr>
            <p:cNvSpPr/>
            <p:nvPr/>
          </p:nvSpPr>
          <p:spPr>
            <a:xfrm>
              <a:off x="8792411" y="322794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0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187152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0"/>
                    <a:pt x="161338" y="238780"/>
                  </a:cubicBezTo>
                  <a:cubicBezTo>
                    <a:pt x="200059" y="238780"/>
                    <a:pt x="225874" y="212967"/>
                    <a:pt x="225874" y="174245"/>
                  </a:cubicBezTo>
                  <a:cubicBezTo>
                    <a:pt x="225874" y="135524"/>
                    <a:pt x="187152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2" name="Freeform: Shape 3961">
              <a:extLst>
                <a:ext uri="{FF2B5EF4-FFF2-40B4-BE49-F238E27FC236}">
                  <a16:creationId xmlns:a16="http://schemas.microsoft.com/office/drawing/2014/main" id="{61239E8F-B1BA-4CEA-80F0-CBD10DFB6A36}"/>
                </a:ext>
              </a:extLst>
            </p:cNvPr>
            <p:cNvSpPr/>
            <p:nvPr/>
          </p:nvSpPr>
          <p:spPr>
            <a:xfrm>
              <a:off x="8766596" y="3202132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3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3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3"/>
                  </a:cubicBezTo>
                  <a:cubicBezTo>
                    <a:pt x="277502" y="135524"/>
                    <a:pt x="225874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3" name="Freeform: Shape 3962">
              <a:extLst>
                <a:ext uri="{FF2B5EF4-FFF2-40B4-BE49-F238E27FC236}">
                  <a16:creationId xmlns:a16="http://schemas.microsoft.com/office/drawing/2014/main" id="{CF9E1246-D1A9-4F06-A30C-0BBA887103F0}"/>
                </a:ext>
              </a:extLst>
            </p:cNvPr>
            <p:cNvSpPr/>
            <p:nvPr/>
          </p:nvSpPr>
          <p:spPr>
            <a:xfrm>
              <a:off x="10276723" y="206631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22617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4" name="Freeform: Shape 3963">
              <a:extLst>
                <a:ext uri="{FF2B5EF4-FFF2-40B4-BE49-F238E27FC236}">
                  <a16:creationId xmlns:a16="http://schemas.microsoft.com/office/drawing/2014/main" id="{218FD608-F6C7-43CE-82BE-D30895BEB292}"/>
                </a:ext>
              </a:extLst>
            </p:cNvPr>
            <p:cNvSpPr/>
            <p:nvPr/>
          </p:nvSpPr>
          <p:spPr>
            <a:xfrm>
              <a:off x="10250909" y="204049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60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8" y="109710"/>
                    <a:pt x="96803" y="135524"/>
                    <a:pt x="96803" y="174245"/>
                  </a:cubicBezTo>
                  <a:cubicBezTo>
                    <a:pt x="96803" y="212967"/>
                    <a:pt x="122618" y="238781"/>
                    <a:pt x="161338" y="238781"/>
                  </a:cubicBezTo>
                  <a:cubicBezTo>
                    <a:pt x="200060" y="238781"/>
                    <a:pt x="225874" y="212967"/>
                    <a:pt x="225874" y="174245"/>
                  </a:cubicBezTo>
                  <a:cubicBezTo>
                    <a:pt x="225874" y="135524"/>
                    <a:pt x="200060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5" name="Freeform: Shape 3964">
              <a:extLst>
                <a:ext uri="{FF2B5EF4-FFF2-40B4-BE49-F238E27FC236}">
                  <a16:creationId xmlns:a16="http://schemas.microsoft.com/office/drawing/2014/main" id="{B2F5EA3E-09DE-4667-B22C-35A02DB6BAD5}"/>
                </a:ext>
              </a:extLst>
            </p:cNvPr>
            <p:cNvSpPr/>
            <p:nvPr/>
          </p:nvSpPr>
          <p:spPr>
            <a:xfrm>
              <a:off x="10225095" y="2014682"/>
              <a:ext cx="258141" cy="387212"/>
            </a:xfrm>
            <a:custGeom>
              <a:avLst/>
              <a:gdLst>
                <a:gd name="connsiteX0" fmla="*/ 187152 w 258141"/>
                <a:gd name="connsiteY0" fmla="*/ 290409 h 387211"/>
                <a:gd name="connsiteX1" fmla="*/ 96803 w 258141"/>
                <a:gd name="connsiteY1" fmla="*/ 187152 h 387211"/>
                <a:gd name="connsiteX2" fmla="*/ 187152 w 258141"/>
                <a:gd name="connsiteY2" fmla="*/ 96803 h 387211"/>
                <a:gd name="connsiteX3" fmla="*/ 277502 w 258141"/>
                <a:gd name="connsiteY3" fmla="*/ 187152 h 387211"/>
                <a:gd name="connsiteX4" fmla="*/ 187152 w 258141"/>
                <a:gd name="connsiteY4" fmla="*/ 290409 h 387211"/>
                <a:gd name="connsiteX5" fmla="*/ 187152 w 258141"/>
                <a:gd name="connsiteY5" fmla="*/ 109710 h 387211"/>
                <a:gd name="connsiteX6" fmla="*/ 96803 w 258141"/>
                <a:gd name="connsiteY6" fmla="*/ 187152 h 387211"/>
                <a:gd name="connsiteX7" fmla="*/ 187152 w 258141"/>
                <a:gd name="connsiteY7" fmla="*/ 277502 h 387211"/>
                <a:gd name="connsiteX8" fmla="*/ 277502 w 258141"/>
                <a:gd name="connsiteY8" fmla="*/ 187152 h 387211"/>
                <a:gd name="connsiteX9" fmla="*/ 187152 w 25814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387211">
                  <a:moveTo>
                    <a:pt x="187152" y="290409"/>
                  </a:moveTo>
                  <a:cubicBezTo>
                    <a:pt x="135525" y="290409"/>
                    <a:pt x="96803" y="238781"/>
                    <a:pt x="96803" y="187152"/>
                  </a:cubicBezTo>
                  <a:cubicBezTo>
                    <a:pt x="96803" y="135524"/>
                    <a:pt x="135525" y="96803"/>
                    <a:pt x="187152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90409"/>
                    <a:pt x="187152" y="290409"/>
                  </a:cubicBezTo>
                  <a:close/>
                  <a:moveTo>
                    <a:pt x="187152" y="109710"/>
                  </a:moveTo>
                  <a:cubicBezTo>
                    <a:pt x="135525" y="109710"/>
                    <a:pt x="96803" y="148431"/>
                    <a:pt x="96803" y="187152"/>
                  </a:cubicBezTo>
                  <a:cubicBezTo>
                    <a:pt x="96803" y="238781"/>
                    <a:pt x="135525" y="277502"/>
                    <a:pt x="187152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48431"/>
                    <a:pt x="238781" y="109710"/>
                    <a:pt x="187152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6" name="Freeform: Shape 3965">
              <a:extLst>
                <a:ext uri="{FF2B5EF4-FFF2-40B4-BE49-F238E27FC236}">
                  <a16:creationId xmlns:a16="http://schemas.microsoft.com/office/drawing/2014/main" id="{A18D438E-30EA-47E0-829E-69F4035EAFB6}"/>
                </a:ext>
              </a:extLst>
            </p:cNvPr>
            <p:cNvSpPr/>
            <p:nvPr/>
          </p:nvSpPr>
          <p:spPr>
            <a:xfrm>
              <a:off x="10922077" y="1662758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26050"/>
                    <a:pt x="122617" y="100236"/>
                    <a:pt x="135524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7" name="Freeform: Shape 3966">
              <a:extLst>
                <a:ext uri="{FF2B5EF4-FFF2-40B4-BE49-F238E27FC236}">
                  <a16:creationId xmlns:a16="http://schemas.microsoft.com/office/drawing/2014/main" id="{28F36EAC-3448-455A-B2F0-C1E22C84DB97}"/>
                </a:ext>
              </a:extLst>
            </p:cNvPr>
            <p:cNvSpPr/>
            <p:nvPr/>
          </p:nvSpPr>
          <p:spPr>
            <a:xfrm>
              <a:off x="10896262" y="164037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8" name="Freeform: Shape 3967">
              <a:extLst>
                <a:ext uri="{FF2B5EF4-FFF2-40B4-BE49-F238E27FC236}">
                  <a16:creationId xmlns:a16="http://schemas.microsoft.com/office/drawing/2014/main" id="{787467F5-441D-4775-96ED-B22C64D6E0AC}"/>
                </a:ext>
              </a:extLst>
            </p:cNvPr>
            <p:cNvSpPr/>
            <p:nvPr/>
          </p:nvSpPr>
          <p:spPr>
            <a:xfrm>
              <a:off x="10870448" y="1614563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2 h 258141"/>
                <a:gd name="connsiteX2" fmla="*/ 187152 w 258141"/>
                <a:gd name="connsiteY2" fmla="*/ 96803 h 258141"/>
                <a:gd name="connsiteX3" fmla="*/ 277502 w 258141"/>
                <a:gd name="connsiteY3" fmla="*/ 187152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2 h 258141"/>
                <a:gd name="connsiteX7" fmla="*/ 187152 w 258141"/>
                <a:gd name="connsiteY7" fmla="*/ 277502 h 258141"/>
                <a:gd name="connsiteX8" fmla="*/ 277502 w 258141"/>
                <a:gd name="connsiteY8" fmla="*/ 187152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5" y="277502"/>
                    <a:pt x="96803" y="238781"/>
                    <a:pt x="96803" y="187152"/>
                  </a:cubicBezTo>
                  <a:cubicBezTo>
                    <a:pt x="96803" y="135524"/>
                    <a:pt x="135525" y="96803"/>
                    <a:pt x="187152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5" y="96803"/>
                    <a:pt x="96803" y="135524"/>
                    <a:pt x="96803" y="187152"/>
                  </a:cubicBezTo>
                  <a:cubicBezTo>
                    <a:pt x="96803" y="238781"/>
                    <a:pt x="135525" y="277502"/>
                    <a:pt x="187152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69" name="Freeform: Shape 3968">
              <a:extLst>
                <a:ext uri="{FF2B5EF4-FFF2-40B4-BE49-F238E27FC236}">
                  <a16:creationId xmlns:a16="http://schemas.microsoft.com/office/drawing/2014/main" id="{FF89702C-CB89-4CDD-AE09-7A24D44DAD52}"/>
                </a:ext>
              </a:extLst>
            </p:cNvPr>
            <p:cNvSpPr/>
            <p:nvPr/>
          </p:nvSpPr>
          <p:spPr>
            <a:xfrm>
              <a:off x="9850790" y="271166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22618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0" name="Freeform: Shape 3969">
              <a:extLst>
                <a:ext uri="{FF2B5EF4-FFF2-40B4-BE49-F238E27FC236}">
                  <a16:creationId xmlns:a16="http://schemas.microsoft.com/office/drawing/2014/main" id="{04D53B64-EB97-4209-9CD3-BC48714EC357}"/>
                </a:ext>
              </a:extLst>
            </p:cNvPr>
            <p:cNvSpPr/>
            <p:nvPr/>
          </p:nvSpPr>
          <p:spPr>
            <a:xfrm>
              <a:off x="9824976" y="268584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1" name="Freeform: Shape 3970">
              <a:extLst>
                <a:ext uri="{FF2B5EF4-FFF2-40B4-BE49-F238E27FC236}">
                  <a16:creationId xmlns:a16="http://schemas.microsoft.com/office/drawing/2014/main" id="{75277B53-B58A-4537-88A2-2148A8911A82}"/>
                </a:ext>
              </a:extLst>
            </p:cNvPr>
            <p:cNvSpPr/>
            <p:nvPr/>
          </p:nvSpPr>
          <p:spPr>
            <a:xfrm>
              <a:off x="9799161" y="2660035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2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2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2" name="Freeform: Shape 3971">
              <a:extLst>
                <a:ext uri="{FF2B5EF4-FFF2-40B4-BE49-F238E27FC236}">
                  <a16:creationId xmlns:a16="http://schemas.microsoft.com/office/drawing/2014/main" id="{57F0B106-25AF-4E83-8E9B-6F09C9E5153B}"/>
                </a:ext>
              </a:extLst>
            </p:cNvPr>
            <p:cNvSpPr/>
            <p:nvPr/>
          </p:nvSpPr>
          <p:spPr>
            <a:xfrm>
              <a:off x="10250909" y="3860392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22617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3" name="Freeform: Shape 3972">
              <a:extLst>
                <a:ext uri="{FF2B5EF4-FFF2-40B4-BE49-F238E27FC236}">
                  <a16:creationId xmlns:a16="http://schemas.microsoft.com/office/drawing/2014/main" id="{EDB03132-8D8D-4390-9A86-C1BBA6F3B278}"/>
                </a:ext>
              </a:extLst>
            </p:cNvPr>
            <p:cNvSpPr/>
            <p:nvPr/>
          </p:nvSpPr>
          <p:spPr>
            <a:xfrm>
              <a:off x="10212188" y="383457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4" name="Freeform: Shape 3973">
              <a:extLst>
                <a:ext uri="{FF2B5EF4-FFF2-40B4-BE49-F238E27FC236}">
                  <a16:creationId xmlns:a16="http://schemas.microsoft.com/office/drawing/2014/main" id="{54EF239F-046D-46E4-BBF6-FBED81ABCB61}"/>
                </a:ext>
              </a:extLst>
            </p:cNvPr>
            <p:cNvSpPr/>
            <p:nvPr/>
          </p:nvSpPr>
          <p:spPr>
            <a:xfrm>
              <a:off x="10186373" y="3808764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0"/>
                    <a:pt x="96803" y="187152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0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2"/>
                  </a:cubicBezTo>
                  <a:cubicBezTo>
                    <a:pt x="96803" y="238780"/>
                    <a:pt x="135525" y="277502"/>
                    <a:pt x="187153" y="277502"/>
                  </a:cubicBezTo>
                  <a:cubicBezTo>
                    <a:pt x="238781" y="277502"/>
                    <a:pt x="277502" y="238780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5" name="Freeform: Shape 3974">
              <a:extLst>
                <a:ext uri="{FF2B5EF4-FFF2-40B4-BE49-F238E27FC236}">
                  <a16:creationId xmlns:a16="http://schemas.microsoft.com/office/drawing/2014/main" id="{50639495-40E1-4B60-BCF0-323CAE19EC7B}"/>
                </a:ext>
              </a:extLst>
            </p:cNvPr>
            <p:cNvSpPr/>
            <p:nvPr/>
          </p:nvSpPr>
          <p:spPr>
            <a:xfrm>
              <a:off x="10909170" y="2530964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0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6" name="Freeform: Shape 3975">
              <a:extLst>
                <a:ext uri="{FF2B5EF4-FFF2-40B4-BE49-F238E27FC236}">
                  <a16:creationId xmlns:a16="http://schemas.microsoft.com/office/drawing/2014/main" id="{81E52D66-32DE-4EF2-805E-D042E4B9369A}"/>
                </a:ext>
              </a:extLst>
            </p:cNvPr>
            <p:cNvSpPr/>
            <p:nvPr/>
          </p:nvSpPr>
          <p:spPr>
            <a:xfrm>
              <a:off x="10870448" y="250515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7" name="Freeform: Shape 3976">
              <a:extLst>
                <a:ext uri="{FF2B5EF4-FFF2-40B4-BE49-F238E27FC236}">
                  <a16:creationId xmlns:a16="http://schemas.microsoft.com/office/drawing/2014/main" id="{BAF8B4D9-284D-4273-B4E5-FD3431AE8097}"/>
                </a:ext>
              </a:extLst>
            </p:cNvPr>
            <p:cNvSpPr/>
            <p:nvPr/>
          </p:nvSpPr>
          <p:spPr>
            <a:xfrm>
              <a:off x="10844634" y="2479336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3 h 258141"/>
                <a:gd name="connsiteX2" fmla="*/ 187152 w 258141"/>
                <a:gd name="connsiteY2" fmla="*/ 96803 h 258141"/>
                <a:gd name="connsiteX3" fmla="*/ 277501 w 258141"/>
                <a:gd name="connsiteY3" fmla="*/ 187153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3 h 258141"/>
                <a:gd name="connsiteX7" fmla="*/ 187152 w 258141"/>
                <a:gd name="connsiteY7" fmla="*/ 277502 h 258141"/>
                <a:gd name="connsiteX8" fmla="*/ 277501 w 258141"/>
                <a:gd name="connsiteY8" fmla="*/ 187153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1"/>
                    <a:pt x="96803" y="187153"/>
                  </a:cubicBezTo>
                  <a:cubicBezTo>
                    <a:pt x="96803" y="135524"/>
                    <a:pt x="135524" y="96803"/>
                    <a:pt x="187152" y="96803"/>
                  </a:cubicBezTo>
                  <a:cubicBezTo>
                    <a:pt x="238781" y="96803"/>
                    <a:pt x="277501" y="135524"/>
                    <a:pt x="277501" y="187153"/>
                  </a:cubicBezTo>
                  <a:cubicBezTo>
                    <a:pt x="277501" y="238781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4"/>
                    <a:pt x="96803" y="187153"/>
                  </a:cubicBezTo>
                  <a:cubicBezTo>
                    <a:pt x="96803" y="238781"/>
                    <a:pt x="135524" y="277502"/>
                    <a:pt x="187152" y="277502"/>
                  </a:cubicBezTo>
                  <a:cubicBezTo>
                    <a:pt x="238781" y="277502"/>
                    <a:pt x="277501" y="238781"/>
                    <a:pt x="277501" y="187153"/>
                  </a:cubicBezTo>
                  <a:cubicBezTo>
                    <a:pt x="277501" y="135524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8" name="Freeform: Shape 3977">
              <a:extLst>
                <a:ext uri="{FF2B5EF4-FFF2-40B4-BE49-F238E27FC236}">
                  <a16:creationId xmlns:a16="http://schemas.microsoft.com/office/drawing/2014/main" id="{D2E281AB-CCFB-4C65-9483-D5F992775DFB}"/>
                </a:ext>
              </a:extLst>
            </p:cNvPr>
            <p:cNvSpPr/>
            <p:nvPr/>
          </p:nvSpPr>
          <p:spPr>
            <a:xfrm>
              <a:off x="10496143" y="417016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79" name="Freeform: Shape 3978">
              <a:extLst>
                <a:ext uri="{FF2B5EF4-FFF2-40B4-BE49-F238E27FC236}">
                  <a16:creationId xmlns:a16="http://schemas.microsoft.com/office/drawing/2014/main" id="{245B137F-10A4-4628-8751-A82B1F983A65}"/>
                </a:ext>
              </a:extLst>
            </p:cNvPr>
            <p:cNvSpPr/>
            <p:nvPr/>
          </p:nvSpPr>
          <p:spPr>
            <a:xfrm>
              <a:off x="10470329" y="414434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0" name="Freeform: Shape 3979">
              <a:extLst>
                <a:ext uri="{FF2B5EF4-FFF2-40B4-BE49-F238E27FC236}">
                  <a16:creationId xmlns:a16="http://schemas.microsoft.com/office/drawing/2014/main" id="{278AC917-B7F9-43A6-B0C9-F3787C54050B}"/>
                </a:ext>
              </a:extLst>
            </p:cNvPr>
            <p:cNvSpPr/>
            <p:nvPr/>
          </p:nvSpPr>
          <p:spPr>
            <a:xfrm>
              <a:off x="10444515" y="4118533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2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2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1" name="Freeform: Shape 3980">
              <a:extLst>
                <a:ext uri="{FF2B5EF4-FFF2-40B4-BE49-F238E27FC236}">
                  <a16:creationId xmlns:a16="http://schemas.microsoft.com/office/drawing/2014/main" id="{C27D10F3-8B89-43E2-9DA6-5EE11DBD8E0E}"/>
                </a:ext>
              </a:extLst>
            </p:cNvPr>
            <p:cNvSpPr/>
            <p:nvPr/>
          </p:nvSpPr>
          <p:spPr>
            <a:xfrm>
              <a:off x="8379385" y="3395738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2" name="Freeform: Shape 3981">
              <a:extLst>
                <a:ext uri="{FF2B5EF4-FFF2-40B4-BE49-F238E27FC236}">
                  <a16:creationId xmlns:a16="http://schemas.microsoft.com/office/drawing/2014/main" id="{1ED7F6CE-52FD-4245-9D41-17E1D850614B}"/>
                </a:ext>
              </a:extLst>
            </p:cNvPr>
            <p:cNvSpPr/>
            <p:nvPr/>
          </p:nvSpPr>
          <p:spPr>
            <a:xfrm>
              <a:off x="8353571" y="3369923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3" name="Freeform: Shape 3982">
              <a:extLst>
                <a:ext uri="{FF2B5EF4-FFF2-40B4-BE49-F238E27FC236}">
                  <a16:creationId xmlns:a16="http://schemas.microsoft.com/office/drawing/2014/main" id="{0E62C7FD-E2F1-4CE5-839F-F1E2AB6D5D65}"/>
                </a:ext>
              </a:extLst>
            </p:cNvPr>
            <p:cNvSpPr/>
            <p:nvPr/>
          </p:nvSpPr>
          <p:spPr>
            <a:xfrm>
              <a:off x="8327756" y="3344109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4" name="Freeform: Shape 3983">
              <a:extLst>
                <a:ext uri="{FF2B5EF4-FFF2-40B4-BE49-F238E27FC236}">
                  <a16:creationId xmlns:a16="http://schemas.microsoft.com/office/drawing/2014/main" id="{275946B3-9D8E-4C8E-A43E-682C80A7F892}"/>
                </a:ext>
              </a:extLst>
            </p:cNvPr>
            <p:cNvSpPr/>
            <p:nvPr/>
          </p:nvSpPr>
          <p:spPr>
            <a:xfrm>
              <a:off x="12006270" y="3908587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9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0" y="177679"/>
                    <a:pt x="135524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0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5" name="Freeform: Shape 3984">
              <a:extLst>
                <a:ext uri="{FF2B5EF4-FFF2-40B4-BE49-F238E27FC236}">
                  <a16:creationId xmlns:a16="http://schemas.microsoft.com/office/drawing/2014/main" id="{78874A1E-875E-485D-B524-C4FB210F839E}"/>
                </a:ext>
              </a:extLst>
            </p:cNvPr>
            <p:cNvSpPr/>
            <p:nvPr/>
          </p:nvSpPr>
          <p:spPr>
            <a:xfrm>
              <a:off x="11980456" y="388620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60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187153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60"/>
                    <a:pt x="122618" y="225874"/>
                    <a:pt x="161338" y="225874"/>
                  </a:cubicBezTo>
                  <a:cubicBezTo>
                    <a:pt x="200060" y="225874"/>
                    <a:pt x="225874" y="200060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6" name="Freeform: Shape 3985">
              <a:extLst>
                <a:ext uri="{FF2B5EF4-FFF2-40B4-BE49-F238E27FC236}">
                  <a16:creationId xmlns:a16="http://schemas.microsoft.com/office/drawing/2014/main" id="{8BC6CF26-7601-4C7E-AEFC-C03BDBC4C6FA}"/>
                </a:ext>
              </a:extLst>
            </p:cNvPr>
            <p:cNvSpPr/>
            <p:nvPr/>
          </p:nvSpPr>
          <p:spPr>
            <a:xfrm>
              <a:off x="11954642" y="3860392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2 h 258141"/>
                <a:gd name="connsiteX2" fmla="*/ 187152 w 258141"/>
                <a:gd name="connsiteY2" fmla="*/ 96803 h 258141"/>
                <a:gd name="connsiteX3" fmla="*/ 277502 w 258141"/>
                <a:gd name="connsiteY3" fmla="*/ 187152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2 h 258141"/>
                <a:gd name="connsiteX7" fmla="*/ 187152 w 258141"/>
                <a:gd name="connsiteY7" fmla="*/ 277502 h 258141"/>
                <a:gd name="connsiteX8" fmla="*/ 277502 w 258141"/>
                <a:gd name="connsiteY8" fmla="*/ 187152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2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25874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2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25874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7" name="Freeform: Shape 3986">
              <a:extLst>
                <a:ext uri="{FF2B5EF4-FFF2-40B4-BE49-F238E27FC236}">
                  <a16:creationId xmlns:a16="http://schemas.microsoft.com/office/drawing/2014/main" id="{31CE8BE3-D99D-4E5E-B10B-607692241479}"/>
                </a:ext>
              </a:extLst>
            </p:cNvPr>
            <p:cNvSpPr/>
            <p:nvPr/>
          </p:nvSpPr>
          <p:spPr>
            <a:xfrm>
              <a:off x="12987207" y="4321613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8" name="Freeform: Shape 3987">
              <a:extLst>
                <a:ext uri="{FF2B5EF4-FFF2-40B4-BE49-F238E27FC236}">
                  <a16:creationId xmlns:a16="http://schemas.microsoft.com/office/drawing/2014/main" id="{02470C5C-CA5E-4B94-9030-25A235AA7522}"/>
                </a:ext>
              </a:extLst>
            </p:cNvPr>
            <p:cNvSpPr/>
            <p:nvPr/>
          </p:nvSpPr>
          <p:spPr>
            <a:xfrm>
              <a:off x="12961392" y="429923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89" name="Freeform: Shape 3988">
              <a:extLst>
                <a:ext uri="{FF2B5EF4-FFF2-40B4-BE49-F238E27FC236}">
                  <a16:creationId xmlns:a16="http://schemas.microsoft.com/office/drawing/2014/main" id="{30DFC255-375E-4FD9-8FFB-3F5AFC3764B4}"/>
                </a:ext>
              </a:extLst>
            </p:cNvPr>
            <p:cNvSpPr/>
            <p:nvPr/>
          </p:nvSpPr>
          <p:spPr>
            <a:xfrm>
              <a:off x="12935579" y="4273418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3 h 258141"/>
                <a:gd name="connsiteX2" fmla="*/ 187152 w 258141"/>
                <a:gd name="connsiteY2" fmla="*/ 96803 h 258141"/>
                <a:gd name="connsiteX3" fmla="*/ 277502 w 258141"/>
                <a:gd name="connsiteY3" fmla="*/ 187153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3 h 258141"/>
                <a:gd name="connsiteX7" fmla="*/ 187152 w 258141"/>
                <a:gd name="connsiteY7" fmla="*/ 277502 h 258141"/>
                <a:gd name="connsiteX8" fmla="*/ 277502 w 258141"/>
                <a:gd name="connsiteY8" fmla="*/ 187153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5" y="277502"/>
                    <a:pt x="96803" y="238781"/>
                    <a:pt x="96803" y="187153"/>
                  </a:cubicBezTo>
                  <a:cubicBezTo>
                    <a:pt x="96803" y="135524"/>
                    <a:pt x="135525" y="96803"/>
                    <a:pt x="187152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1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5" y="96803"/>
                    <a:pt x="96803" y="135524"/>
                    <a:pt x="96803" y="187153"/>
                  </a:cubicBezTo>
                  <a:cubicBezTo>
                    <a:pt x="96803" y="238781"/>
                    <a:pt x="135525" y="277502"/>
                    <a:pt x="187152" y="277502"/>
                  </a:cubicBezTo>
                  <a:cubicBezTo>
                    <a:pt x="238781" y="277502"/>
                    <a:pt x="277502" y="238781"/>
                    <a:pt x="277502" y="187153"/>
                  </a:cubicBezTo>
                  <a:cubicBezTo>
                    <a:pt x="277502" y="135524"/>
                    <a:pt x="225874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0" name="Freeform: Shape 3989">
              <a:extLst>
                <a:ext uri="{FF2B5EF4-FFF2-40B4-BE49-F238E27FC236}">
                  <a16:creationId xmlns:a16="http://schemas.microsoft.com/office/drawing/2014/main" id="{F896AD01-2357-4EB3-BE65-137B134F3415}"/>
                </a:ext>
              </a:extLst>
            </p:cNvPr>
            <p:cNvSpPr/>
            <p:nvPr/>
          </p:nvSpPr>
          <p:spPr>
            <a:xfrm>
              <a:off x="12741973" y="497039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1" name="Freeform: Shape 3990">
              <a:extLst>
                <a:ext uri="{FF2B5EF4-FFF2-40B4-BE49-F238E27FC236}">
                  <a16:creationId xmlns:a16="http://schemas.microsoft.com/office/drawing/2014/main" id="{E151D2C2-5F71-4A11-AAC1-117F05FAF7E5}"/>
                </a:ext>
              </a:extLst>
            </p:cNvPr>
            <p:cNvSpPr/>
            <p:nvPr/>
          </p:nvSpPr>
          <p:spPr>
            <a:xfrm>
              <a:off x="12716159" y="494458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2" name="Freeform: Shape 3991">
              <a:extLst>
                <a:ext uri="{FF2B5EF4-FFF2-40B4-BE49-F238E27FC236}">
                  <a16:creationId xmlns:a16="http://schemas.microsoft.com/office/drawing/2014/main" id="{49695B50-12D5-4250-B155-D805B29F782A}"/>
                </a:ext>
              </a:extLst>
            </p:cNvPr>
            <p:cNvSpPr/>
            <p:nvPr/>
          </p:nvSpPr>
          <p:spPr>
            <a:xfrm>
              <a:off x="12690344" y="4918771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3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3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3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3" name="Freeform: Shape 3992">
              <a:extLst>
                <a:ext uri="{FF2B5EF4-FFF2-40B4-BE49-F238E27FC236}">
                  <a16:creationId xmlns:a16="http://schemas.microsoft.com/office/drawing/2014/main" id="{39229BFC-9938-445C-A430-36EDBD33230B}"/>
                </a:ext>
              </a:extLst>
            </p:cNvPr>
            <p:cNvSpPr/>
            <p:nvPr/>
          </p:nvSpPr>
          <p:spPr>
            <a:xfrm>
              <a:off x="14097214" y="724204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6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6"/>
                    <a:pt x="135525" y="174246"/>
                  </a:cubicBezTo>
                  <a:cubicBezTo>
                    <a:pt x="109710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4" name="Freeform: Shape 3993">
              <a:extLst>
                <a:ext uri="{FF2B5EF4-FFF2-40B4-BE49-F238E27FC236}">
                  <a16:creationId xmlns:a16="http://schemas.microsoft.com/office/drawing/2014/main" id="{5021C526-0EB9-4B5D-897E-6FE42940B728}"/>
                </a:ext>
              </a:extLst>
            </p:cNvPr>
            <p:cNvSpPr/>
            <p:nvPr/>
          </p:nvSpPr>
          <p:spPr>
            <a:xfrm>
              <a:off x="14071401" y="721622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5" name="Freeform: Shape 3994">
              <a:extLst>
                <a:ext uri="{FF2B5EF4-FFF2-40B4-BE49-F238E27FC236}">
                  <a16:creationId xmlns:a16="http://schemas.microsoft.com/office/drawing/2014/main" id="{E3B601CB-AD3D-459F-A8B4-5B2380703473}"/>
                </a:ext>
              </a:extLst>
            </p:cNvPr>
            <p:cNvSpPr/>
            <p:nvPr/>
          </p:nvSpPr>
          <p:spPr>
            <a:xfrm>
              <a:off x="14045586" y="7190415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0"/>
                    <a:pt x="96803" y="187152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0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2"/>
                  </a:cubicBezTo>
                  <a:cubicBezTo>
                    <a:pt x="96803" y="238780"/>
                    <a:pt x="135525" y="277502"/>
                    <a:pt x="187153" y="277502"/>
                  </a:cubicBezTo>
                  <a:cubicBezTo>
                    <a:pt x="238781" y="277502"/>
                    <a:pt x="277502" y="238780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6" name="Freeform: Shape 3995">
              <a:extLst>
                <a:ext uri="{FF2B5EF4-FFF2-40B4-BE49-F238E27FC236}">
                  <a16:creationId xmlns:a16="http://schemas.microsoft.com/office/drawing/2014/main" id="{57ED3E9F-0675-4B85-997B-3E36FB265E03}"/>
                </a:ext>
              </a:extLst>
            </p:cNvPr>
            <p:cNvSpPr/>
            <p:nvPr/>
          </p:nvSpPr>
          <p:spPr>
            <a:xfrm>
              <a:off x="13503490" y="759053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7" name="Freeform: Shape 3996">
              <a:extLst>
                <a:ext uri="{FF2B5EF4-FFF2-40B4-BE49-F238E27FC236}">
                  <a16:creationId xmlns:a16="http://schemas.microsoft.com/office/drawing/2014/main" id="{ACD9ADD5-CD73-4858-878B-56AC8D96B313}"/>
                </a:ext>
              </a:extLst>
            </p:cNvPr>
            <p:cNvSpPr/>
            <p:nvPr/>
          </p:nvSpPr>
          <p:spPr>
            <a:xfrm>
              <a:off x="13477675" y="756471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8" name="Freeform: Shape 3997">
              <a:extLst>
                <a:ext uri="{FF2B5EF4-FFF2-40B4-BE49-F238E27FC236}">
                  <a16:creationId xmlns:a16="http://schemas.microsoft.com/office/drawing/2014/main" id="{D9867AC8-6D1E-44D7-9EEA-E9AAA5BA32F3}"/>
                </a:ext>
              </a:extLst>
            </p:cNvPr>
            <p:cNvSpPr/>
            <p:nvPr/>
          </p:nvSpPr>
          <p:spPr>
            <a:xfrm>
              <a:off x="13451861" y="7538905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3 h 258141"/>
                <a:gd name="connsiteX2" fmla="*/ 187152 w 258141"/>
                <a:gd name="connsiteY2" fmla="*/ 96803 h 258141"/>
                <a:gd name="connsiteX3" fmla="*/ 277502 w 258141"/>
                <a:gd name="connsiteY3" fmla="*/ 187153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3 h 258141"/>
                <a:gd name="connsiteX7" fmla="*/ 187152 w 258141"/>
                <a:gd name="connsiteY7" fmla="*/ 277502 h 258141"/>
                <a:gd name="connsiteX8" fmla="*/ 277502 w 258141"/>
                <a:gd name="connsiteY8" fmla="*/ 187153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5" y="277502"/>
                    <a:pt x="96803" y="238781"/>
                    <a:pt x="96803" y="187153"/>
                  </a:cubicBezTo>
                  <a:cubicBezTo>
                    <a:pt x="96803" y="135525"/>
                    <a:pt x="135525" y="96803"/>
                    <a:pt x="187152" y="96803"/>
                  </a:cubicBezTo>
                  <a:cubicBezTo>
                    <a:pt x="238781" y="96803"/>
                    <a:pt x="277502" y="135525"/>
                    <a:pt x="277502" y="187153"/>
                  </a:cubicBezTo>
                  <a:cubicBezTo>
                    <a:pt x="277502" y="238781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5" y="96803"/>
                    <a:pt x="96803" y="135525"/>
                    <a:pt x="96803" y="187153"/>
                  </a:cubicBezTo>
                  <a:cubicBezTo>
                    <a:pt x="96803" y="238781"/>
                    <a:pt x="135525" y="277502"/>
                    <a:pt x="187152" y="277502"/>
                  </a:cubicBezTo>
                  <a:cubicBezTo>
                    <a:pt x="238781" y="277502"/>
                    <a:pt x="277502" y="238781"/>
                    <a:pt x="277502" y="187153"/>
                  </a:cubicBezTo>
                  <a:cubicBezTo>
                    <a:pt x="277502" y="135525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99" name="Freeform: Shape 3998">
              <a:extLst>
                <a:ext uri="{FF2B5EF4-FFF2-40B4-BE49-F238E27FC236}">
                  <a16:creationId xmlns:a16="http://schemas.microsoft.com/office/drawing/2014/main" id="{5AD8074E-EFDA-4D8F-9F21-B1911259CC55}"/>
                </a:ext>
              </a:extLst>
            </p:cNvPr>
            <p:cNvSpPr/>
            <p:nvPr/>
          </p:nvSpPr>
          <p:spPr>
            <a:xfrm>
              <a:off x="11580337" y="466063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0" name="Freeform: Shape 3999">
              <a:extLst>
                <a:ext uri="{FF2B5EF4-FFF2-40B4-BE49-F238E27FC236}">
                  <a16:creationId xmlns:a16="http://schemas.microsoft.com/office/drawing/2014/main" id="{39724887-C521-4E51-B889-B0C97D884DFF}"/>
                </a:ext>
              </a:extLst>
            </p:cNvPr>
            <p:cNvSpPr/>
            <p:nvPr/>
          </p:nvSpPr>
          <p:spPr>
            <a:xfrm>
              <a:off x="11554523" y="463481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1" name="Freeform: Shape 4000">
              <a:extLst>
                <a:ext uri="{FF2B5EF4-FFF2-40B4-BE49-F238E27FC236}">
                  <a16:creationId xmlns:a16="http://schemas.microsoft.com/office/drawing/2014/main" id="{C603E6AC-671A-4506-8E3F-13BE8AC8DCCB}"/>
                </a:ext>
              </a:extLst>
            </p:cNvPr>
            <p:cNvSpPr/>
            <p:nvPr/>
          </p:nvSpPr>
          <p:spPr>
            <a:xfrm>
              <a:off x="11528708" y="4609002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3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3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3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2" name="Freeform: Shape 4001">
              <a:extLst>
                <a:ext uri="{FF2B5EF4-FFF2-40B4-BE49-F238E27FC236}">
                  <a16:creationId xmlns:a16="http://schemas.microsoft.com/office/drawing/2014/main" id="{613B94EE-B3A9-4947-99FF-E2D540958E9C}"/>
                </a:ext>
              </a:extLst>
            </p:cNvPr>
            <p:cNvSpPr/>
            <p:nvPr/>
          </p:nvSpPr>
          <p:spPr>
            <a:xfrm>
              <a:off x="12161155" y="245352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5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3" name="Freeform: Shape 4002">
              <a:extLst>
                <a:ext uri="{FF2B5EF4-FFF2-40B4-BE49-F238E27FC236}">
                  <a16:creationId xmlns:a16="http://schemas.microsoft.com/office/drawing/2014/main" id="{46DD78B2-C0A9-4C0F-89B7-23B20143D7A3}"/>
                </a:ext>
              </a:extLst>
            </p:cNvPr>
            <p:cNvSpPr/>
            <p:nvPr/>
          </p:nvSpPr>
          <p:spPr>
            <a:xfrm>
              <a:off x="12135341" y="242770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4" name="Freeform: Shape 4003">
              <a:extLst>
                <a:ext uri="{FF2B5EF4-FFF2-40B4-BE49-F238E27FC236}">
                  <a16:creationId xmlns:a16="http://schemas.microsoft.com/office/drawing/2014/main" id="{9227686D-CCE6-4586-99CD-67B324F9F016}"/>
                </a:ext>
              </a:extLst>
            </p:cNvPr>
            <p:cNvSpPr/>
            <p:nvPr/>
          </p:nvSpPr>
          <p:spPr>
            <a:xfrm>
              <a:off x="12109526" y="2401894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2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2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5" name="Freeform: Shape 4004">
              <a:extLst>
                <a:ext uri="{FF2B5EF4-FFF2-40B4-BE49-F238E27FC236}">
                  <a16:creationId xmlns:a16="http://schemas.microsoft.com/office/drawing/2014/main" id="{41965B09-469B-450C-A4C7-FF5F2B344870}"/>
                </a:ext>
              </a:extLst>
            </p:cNvPr>
            <p:cNvSpPr/>
            <p:nvPr/>
          </p:nvSpPr>
          <p:spPr>
            <a:xfrm>
              <a:off x="14548962" y="2746951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61338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6" name="Freeform: Shape 4005">
              <a:extLst>
                <a:ext uri="{FF2B5EF4-FFF2-40B4-BE49-F238E27FC236}">
                  <a16:creationId xmlns:a16="http://schemas.microsoft.com/office/drawing/2014/main" id="{ACD6F10B-3E7B-4C22-AFF3-08DC47F3A061}"/>
                </a:ext>
              </a:extLst>
            </p:cNvPr>
            <p:cNvSpPr/>
            <p:nvPr/>
          </p:nvSpPr>
          <p:spPr>
            <a:xfrm>
              <a:off x="14523148" y="272457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7" name="Freeform: Shape 4006">
              <a:extLst>
                <a:ext uri="{FF2B5EF4-FFF2-40B4-BE49-F238E27FC236}">
                  <a16:creationId xmlns:a16="http://schemas.microsoft.com/office/drawing/2014/main" id="{FE55F7A5-772B-496F-A5D7-864F50894BCF}"/>
                </a:ext>
              </a:extLst>
            </p:cNvPr>
            <p:cNvSpPr/>
            <p:nvPr/>
          </p:nvSpPr>
          <p:spPr>
            <a:xfrm>
              <a:off x="14497333" y="2698756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2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2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8" name="Freeform: Shape 4007">
              <a:extLst>
                <a:ext uri="{FF2B5EF4-FFF2-40B4-BE49-F238E27FC236}">
                  <a16:creationId xmlns:a16="http://schemas.microsoft.com/office/drawing/2014/main" id="{76EF1963-9C78-4E5E-AF63-F5091FB41482}"/>
                </a:ext>
              </a:extLst>
            </p:cNvPr>
            <p:cNvSpPr/>
            <p:nvPr/>
          </p:nvSpPr>
          <p:spPr>
            <a:xfrm>
              <a:off x="15891297" y="1911425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09" name="Freeform: Shape 4008">
              <a:extLst>
                <a:ext uri="{FF2B5EF4-FFF2-40B4-BE49-F238E27FC236}">
                  <a16:creationId xmlns:a16="http://schemas.microsoft.com/office/drawing/2014/main" id="{B7515F53-8B5B-4754-80FA-786607FA9CD8}"/>
                </a:ext>
              </a:extLst>
            </p:cNvPr>
            <p:cNvSpPr/>
            <p:nvPr/>
          </p:nvSpPr>
          <p:spPr>
            <a:xfrm>
              <a:off x="15852575" y="1885611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38781" y="187152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0" name="Freeform: Shape 4009">
              <a:extLst>
                <a:ext uri="{FF2B5EF4-FFF2-40B4-BE49-F238E27FC236}">
                  <a16:creationId xmlns:a16="http://schemas.microsoft.com/office/drawing/2014/main" id="{0190D69C-D2B8-41FF-9429-C4B0327ABCE9}"/>
                </a:ext>
              </a:extLst>
            </p:cNvPr>
            <p:cNvSpPr/>
            <p:nvPr/>
          </p:nvSpPr>
          <p:spPr>
            <a:xfrm>
              <a:off x="15826761" y="1859797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2 h 258141"/>
                <a:gd name="connsiteX2" fmla="*/ 187152 w 258141"/>
                <a:gd name="connsiteY2" fmla="*/ 96803 h 258141"/>
                <a:gd name="connsiteX3" fmla="*/ 277502 w 258141"/>
                <a:gd name="connsiteY3" fmla="*/ 187152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2 h 258141"/>
                <a:gd name="connsiteX7" fmla="*/ 187152 w 258141"/>
                <a:gd name="connsiteY7" fmla="*/ 277502 h 258141"/>
                <a:gd name="connsiteX8" fmla="*/ 277502 w 258141"/>
                <a:gd name="connsiteY8" fmla="*/ 187152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2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90409" y="238781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2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1" name="Freeform: Shape 4010">
              <a:extLst>
                <a:ext uri="{FF2B5EF4-FFF2-40B4-BE49-F238E27FC236}">
                  <a16:creationId xmlns:a16="http://schemas.microsoft.com/office/drawing/2014/main" id="{62449B96-F15A-4CE2-8C1D-5147624E7931}"/>
                </a:ext>
              </a:extLst>
            </p:cNvPr>
            <p:cNvSpPr/>
            <p:nvPr/>
          </p:nvSpPr>
          <p:spPr>
            <a:xfrm>
              <a:off x="15736411" y="240189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2" name="Freeform: Shape 4011">
              <a:extLst>
                <a:ext uri="{FF2B5EF4-FFF2-40B4-BE49-F238E27FC236}">
                  <a16:creationId xmlns:a16="http://schemas.microsoft.com/office/drawing/2014/main" id="{DE00682B-3A74-4EFE-9D17-3D790CF15881}"/>
                </a:ext>
              </a:extLst>
            </p:cNvPr>
            <p:cNvSpPr/>
            <p:nvPr/>
          </p:nvSpPr>
          <p:spPr>
            <a:xfrm>
              <a:off x="15697691" y="237608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3" name="Freeform: Shape 4012">
              <a:extLst>
                <a:ext uri="{FF2B5EF4-FFF2-40B4-BE49-F238E27FC236}">
                  <a16:creationId xmlns:a16="http://schemas.microsoft.com/office/drawing/2014/main" id="{5CEAE8D2-B708-4430-BF76-11172A938EBD}"/>
                </a:ext>
              </a:extLst>
            </p:cNvPr>
            <p:cNvSpPr/>
            <p:nvPr/>
          </p:nvSpPr>
          <p:spPr>
            <a:xfrm>
              <a:off x="15671876" y="2350265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1"/>
                    <a:pt x="96803" y="187153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3"/>
                  </a:cubicBezTo>
                  <a:cubicBezTo>
                    <a:pt x="96803" y="238781"/>
                    <a:pt x="135525" y="277502"/>
                    <a:pt x="187153" y="277502"/>
                  </a:cubicBezTo>
                  <a:cubicBezTo>
                    <a:pt x="238781" y="277502"/>
                    <a:pt x="277502" y="238781"/>
                    <a:pt x="277502" y="187153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4" name="Freeform: Shape 4013">
              <a:extLst>
                <a:ext uri="{FF2B5EF4-FFF2-40B4-BE49-F238E27FC236}">
                  <a16:creationId xmlns:a16="http://schemas.microsoft.com/office/drawing/2014/main" id="{36F5D3EA-52FB-44BD-8357-086DC8EC753D}"/>
                </a:ext>
              </a:extLst>
            </p:cNvPr>
            <p:cNvSpPr/>
            <p:nvPr/>
          </p:nvSpPr>
          <p:spPr>
            <a:xfrm>
              <a:off x="8198686" y="5138191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5" name="Freeform: Shape 4014">
              <a:extLst>
                <a:ext uri="{FF2B5EF4-FFF2-40B4-BE49-F238E27FC236}">
                  <a16:creationId xmlns:a16="http://schemas.microsoft.com/office/drawing/2014/main" id="{95D94B8D-8FE3-47D1-A697-E73A47A62BF4}"/>
                </a:ext>
              </a:extLst>
            </p:cNvPr>
            <p:cNvSpPr/>
            <p:nvPr/>
          </p:nvSpPr>
          <p:spPr>
            <a:xfrm>
              <a:off x="8172871" y="511237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60" y="238781"/>
                    <a:pt x="225874" y="212967"/>
                    <a:pt x="225874" y="174245"/>
                  </a:cubicBezTo>
                  <a:cubicBezTo>
                    <a:pt x="225874" y="135524"/>
                    <a:pt x="200060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6" name="Freeform: Shape 4015">
              <a:extLst>
                <a:ext uri="{FF2B5EF4-FFF2-40B4-BE49-F238E27FC236}">
                  <a16:creationId xmlns:a16="http://schemas.microsoft.com/office/drawing/2014/main" id="{88B27715-F74B-41B1-A69D-4ED936B530BC}"/>
                </a:ext>
              </a:extLst>
            </p:cNvPr>
            <p:cNvSpPr/>
            <p:nvPr/>
          </p:nvSpPr>
          <p:spPr>
            <a:xfrm>
              <a:off x="8147058" y="5086563"/>
              <a:ext cx="258141" cy="258141"/>
            </a:xfrm>
            <a:custGeom>
              <a:avLst/>
              <a:gdLst>
                <a:gd name="connsiteX0" fmla="*/ 187152 w 258141"/>
                <a:gd name="connsiteY0" fmla="*/ 290409 h 258141"/>
                <a:gd name="connsiteX1" fmla="*/ 96803 w 258141"/>
                <a:gd name="connsiteY1" fmla="*/ 200059 h 258141"/>
                <a:gd name="connsiteX2" fmla="*/ 187152 w 258141"/>
                <a:gd name="connsiteY2" fmla="*/ 109710 h 258141"/>
                <a:gd name="connsiteX3" fmla="*/ 277502 w 258141"/>
                <a:gd name="connsiteY3" fmla="*/ 200059 h 258141"/>
                <a:gd name="connsiteX4" fmla="*/ 187152 w 258141"/>
                <a:gd name="connsiteY4" fmla="*/ 290409 h 258141"/>
                <a:gd name="connsiteX5" fmla="*/ 187152 w 258141"/>
                <a:gd name="connsiteY5" fmla="*/ 96803 h 258141"/>
                <a:gd name="connsiteX6" fmla="*/ 96803 w 258141"/>
                <a:gd name="connsiteY6" fmla="*/ 187152 h 258141"/>
                <a:gd name="connsiteX7" fmla="*/ 187152 w 258141"/>
                <a:gd name="connsiteY7" fmla="*/ 277502 h 258141"/>
                <a:gd name="connsiteX8" fmla="*/ 277502 w 258141"/>
                <a:gd name="connsiteY8" fmla="*/ 187152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90409"/>
                  </a:moveTo>
                  <a:cubicBezTo>
                    <a:pt x="135524" y="290409"/>
                    <a:pt x="96803" y="251688"/>
                    <a:pt x="96803" y="200059"/>
                  </a:cubicBezTo>
                  <a:cubicBezTo>
                    <a:pt x="96803" y="148431"/>
                    <a:pt x="135524" y="109710"/>
                    <a:pt x="187152" y="109710"/>
                  </a:cubicBezTo>
                  <a:cubicBezTo>
                    <a:pt x="238781" y="109710"/>
                    <a:pt x="277502" y="148431"/>
                    <a:pt x="277502" y="200059"/>
                  </a:cubicBezTo>
                  <a:cubicBezTo>
                    <a:pt x="277502" y="238781"/>
                    <a:pt x="238781" y="290409"/>
                    <a:pt x="187152" y="290409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2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48431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7" name="Freeform: Shape 4016">
              <a:extLst>
                <a:ext uri="{FF2B5EF4-FFF2-40B4-BE49-F238E27FC236}">
                  <a16:creationId xmlns:a16="http://schemas.microsoft.com/office/drawing/2014/main" id="{930CC747-D196-4D67-850E-559D1F16406B}"/>
                </a:ext>
              </a:extLst>
            </p:cNvPr>
            <p:cNvSpPr/>
            <p:nvPr/>
          </p:nvSpPr>
          <p:spPr>
            <a:xfrm>
              <a:off x="9876605" y="583517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0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8" name="Freeform: Shape 4017">
              <a:extLst>
                <a:ext uri="{FF2B5EF4-FFF2-40B4-BE49-F238E27FC236}">
                  <a16:creationId xmlns:a16="http://schemas.microsoft.com/office/drawing/2014/main" id="{55E552C6-C7ED-4E5D-990E-93428E38AD2B}"/>
                </a:ext>
              </a:extLst>
            </p:cNvPr>
            <p:cNvSpPr/>
            <p:nvPr/>
          </p:nvSpPr>
          <p:spPr>
            <a:xfrm>
              <a:off x="9850790" y="580935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19" name="Freeform: Shape 4018">
              <a:extLst>
                <a:ext uri="{FF2B5EF4-FFF2-40B4-BE49-F238E27FC236}">
                  <a16:creationId xmlns:a16="http://schemas.microsoft.com/office/drawing/2014/main" id="{5BD6B404-FBF7-4E58-A5E0-54205C0C2178}"/>
                </a:ext>
              </a:extLst>
            </p:cNvPr>
            <p:cNvSpPr/>
            <p:nvPr/>
          </p:nvSpPr>
          <p:spPr>
            <a:xfrm>
              <a:off x="9824976" y="5783544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3 h 258141"/>
                <a:gd name="connsiteX2" fmla="*/ 187152 w 258141"/>
                <a:gd name="connsiteY2" fmla="*/ 96803 h 258141"/>
                <a:gd name="connsiteX3" fmla="*/ 277502 w 258141"/>
                <a:gd name="connsiteY3" fmla="*/ 187153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3 h 258141"/>
                <a:gd name="connsiteX7" fmla="*/ 187152 w 258141"/>
                <a:gd name="connsiteY7" fmla="*/ 277502 h 258141"/>
                <a:gd name="connsiteX8" fmla="*/ 277502 w 258141"/>
                <a:gd name="connsiteY8" fmla="*/ 187153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0"/>
                    <a:pt x="96803" y="187153"/>
                  </a:cubicBezTo>
                  <a:cubicBezTo>
                    <a:pt x="96803" y="135524"/>
                    <a:pt x="135524" y="96803"/>
                    <a:pt x="187152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0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4"/>
                    <a:pt x="96803" y="187153"/>
                  </a:cubicBezTo>
                  <a:cubicBezTo>
                    <a:pt x="96803" y="238780"/>
                    <a:pt x="135524" y="277502"/>
                    <a:pt x="187152" y="277502"/>
                  </a:cubicBezTo>
                  <a:cubicBezTo>
                    <a:pt x="238781" y="277502"/>
                    <a:pt x="277502" y="238780"/>
                    <a:pt x="277502" y="187153"/>
                  </a:cubicBezTo>
                  <a:cubicBezTo>
                    <a:pt x="277502" y="135524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0" name="Freeform: Shape 4019">
              <a:extLst>
                <a:ext uri="{FF2B5EF4-FFF2-40B4-BE49-F238E27FC236}">
                  <a16:creationId xmlns:a16="http://schemas.microsoft.com/office/drawing/2014/main" id="{D1BB0954-93D1-4FBE-8667-5C910863E3C8}"/>
                </a:ext>
              </a:extLst>
            </p:cNvPr>
            <p:cNvSpPr/>
            <p:nvPr/>
          </p:nvSpPr>
          <p:spPr>
            <a:xfrm>
              <a:off x="9024738" y="6106221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1" name="Freeform: Shape 4020">
              <a:extLst>
                <a:ext uri="{FF2B5EF4-FFF2-40B4-BE49-F238E27FC236}">
                  <a16:creationId xmlns:a16="http://schemas.microsoft.com/office/drawing/2014/main" id="{C4D761CC-4456-4AB0-87A8-1651D374620E}"/>
                </a:ext>
              </a:extLst>
            </p:cNvPr>
            <p:cNvSpPr/>
            <p:nvPr/>
          </p:nvSpPr>
          <p:spPr>
            <a:xfrm>
              <a:off x="8998924" y="608040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2" name="Freeform: Shape 4021">
              <a:extLst>
                <a:ext uri="{FF2B5EF4-FFF2-40B4-BE49-F238E27FC236}">
                  <a16:creationId xmlns:a16="http://schemas.microsoft.com/office/drawing/2014/main" id="{B92FEC23-6846-4796-A6E9-C472E9F38E21}"/>
                </a:ext>
              </a:extLst>
            </p:cNvPr>
            <p:cNvSpPr/>
            <p:nvPr/>
          </p:nvSpPr>
          <p:spPr>
            <a:xfrm>
              <a:off x="8973110" y="6054593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3 h 258141"/>
                <a:gd name="connsiteX2" fmla="*/ 187152 w 258141"/>
                <a:gd name="connsiteY2" fmla="*/ 96803 h 258141"/>
                <a:gd name="connsiteX3" fmla="*/ 277501 w 258141"/>
                <a:gd name="connsiteY3" fmla="*/ 187153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3 h 258141"/>
                <a:gd name="connsiteX7" fmla="*/ 187152 w 258141"/>
                <a:gd name="connsiteY7" fmla="*/ 277502 h 258141"/>
                <a:gd name="connsiteX8" fmla="*/ 277501 w 258141"/>
                <a:gd name="connsiteY8" fmla="*/ 187153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1"/>
                    <a:pt x="96803" y="187153"/>
                  </a:cubicBezTo>
                  <a:cubicBezTo>
                    <a:pt x="96803" y="135525"/>
                    <a:pt x="135524" y="96803"/>
                    <a:pt x="187152" y="96803"/>
                  </a:cubicBezTo>
                  <a:cubicBezTo>
                    <a:pt x="238781" y="96803"/>
                    <a:pt x="277501" y="135525"/>
                    <a:pt x="277501" y="187153"/>
                  </a:cubicBezTo>
                  <a:cubicBezTo>
                    <a:pt x="277501" y="238781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5"/>
                    <a:pt x="96803" y="187153"/>
                  </a:cubicBezTo>
                  <a:cubicBezTo>
                    <a:pt x="96803" y="238781"/>
                    <a:pt x="135524" y="277502"/>
                    <a:pt x="187152" y="277502"/>
                  </a:cubicBezTo>
                  <a:cubicBezTo>
                    <a:pt x="238781" y="277502"/>
                    <a:pt x="277501" y="238781"/>
                    <a:pt x="277501" y="187153"/>
                  </a:cubicBezTo>
                  <a:cubicBezTo>
                    <a:pt x="277501" y="135525"/>
                    <a:pt x="225874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3" name="Freeform: Shape 4022">
              <a:extLst>
                <a:ext uri="{FF2B5EF4-FFF2-40B4-BE49-F238E27FC236}">
                  <a16:creationId xmlns:a16="http://schemas.microsoft.com/office/drawing/2014/main" id="{FF1B45CB-FA8F-4EA1-98FB-C8DC1FB39989}"/>
                </a:ext>
              </a:extLst>
            </p:cNvPr>
            <p:cNvSpPr/>
            <p:nvPr/>
          </p:nvSpPr>
          <p:spPr>
            <a:xfrm>
              <a:off x="16355951" y="8248793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5 w 258141"/>
                <a:gd name="connsiteY1" fmla="*/ 174246 h 258141"/>
                <a:gd name="connsiteX2" fmla="*/ 96803 w 258141"/>
                <a:gd name="connsiteY2" fmla="*/ 135525 h 258141"/>
                <a:gd name="connsiteX3" fmla="*/ 135525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1" y="174246"/>
                    <a:pt x="135525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22617"/>
                    <a:pt x="122617" y="96803"/>
                    <a:pt x="135525" y="96803"/>
                  </a:cubicBezTo>
                  <a:cubicBezTo>
                    <a:pt x="148431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4" name="Freeform: Shape 4023">
              <a:extLst>
                <a:ext uri="{FF2B5EF4-FFF2-40B4-BE49-F238E27FC236}">
                  <a16:creationId xmlns:a16="http://schemas.microsoft.com/office/drawing/2014/main" id="{A40D3208-A801-4A8E-BA94-216B7A43DECE}"/>
                </a:ext>
              </a:extLst>
            </p:cNvPr>
            <p:cNvSpPr/>
            <p:nvPr/>
          </p:nvSpPr>
          <p:spPr>
            <a:xfrm>
              <a:off x="16317229" y="822298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8" y="96803"/>
                    <a:pt x="96803" y="122617"/>
                    <a:pt x="96803" y="161338"/>
                  </a:cubicBezTo>
                  <a:cubicBezTo>
                    <a:pt x="96803" y="200059"/>
                    <a:pt x="122618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200060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5" name="Freeform: Shape 4024">
              <a:extLst>
                <a:ext uri="{FF2B5EF4-FFF2-40B4-BE49-F238E27FC236}">
                  <a16:creationId xmlns:a16="http://schemas.microsoft.com/office/drawing/2014/main" id="{2D98CCB8-0DC0-4146-AA4B-F771E03BA118}"/>
                </a:ext>
              </a:extLst>
            </p:cNvPr>
            <p:cNvSpPr/>
            <p:nvPr/>
          </p:nvSpPr>
          <p:spPr>
            <a:xfrm>
              <a:off x="16291415" y="8197165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3 h 258141"/>
                <a:gd name="connsiteX2" fmla="*/ 187152 w 258141"/>
                <a:gd name="connsiteY2" fmla="*/ 96803 h 258141"/>
                <a:gd name="connsiteX3" fmla="*/ 277502 w 258141"/>
                <a:gd name="connsiteY3" fmla="*/ 187153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3 h 258141"/>
                <a:gd name="connsiteX7" fmla="*/ 187152 w 258141"/>
                <a:gd name="connsiteY7" fmla="*/ 277502 h 258141"/>
                <a:gd name="connsiteX8" fmla="*/ 277502 w 258141"/>
                <a:gd name="connsiteY8" fmla="*/ 187153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5" y="277502"/>
                    <a:pt x="96803" y="238780"/>
                    <a:pt x="96803" y="187153"/>
                  </a:cubicBezTo>
                  <a:cubicBezTo>
                    <a:pt x="96803" y="135524"/>
                    <a:pt x="135525" y="96803"/>
                    <a:pt x="187152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0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5" y="96803"/>
                    <a:pt x="96803" y="135524"/>
                    <a:pt x="96803" y="187153"/>
                  </a:cubicBezTo>
                  <a:cubicBezTo>
                    <a:pt x="96803" y="238780"/>
                    <a:pt x="135525" y="277502"/>
                    <a:pt x="187152" y="277502"/>
                  </a:cubicBezTo>
                  <a:cubicBezTo>
                    <a:pt x="238781" y="277502"/>
                    <a:pt x="277502" y="238780"/>
                    <a:pt x="277502" y="187153"/>
                  </a:cubicBezTo>
                  <a:cubicBezTo>
                    <a:pt x="277502" y="135524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6" name="Freeform: Shape 4025">
              <a:extLst>
                <a:ext uri="{FF2B5EF4-FFF2-40B4-BE49-F238E27FC236}">
                  <a16:creationId xmlns:a16="http://schemas.microsoft.com/office/drawing/2014/main" id="{998A8A57-FE7E-4EA3-9345-79932B211087}"/>
                </a:ext>
              </a:extLst>
            </p:cNvPr>
            <p:cNvSpPr/>
            <p:nvPr/>
          </p:nvSpPr>
          <p:spPr>
            <a:xfrm>
              <a:off x="9269972" y="6932273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5" y="174245"/>
                  </a:cubicBezTo>
                  <a:cubicBezTo>
                    <a:pt x="122618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7" name="Freeform: Shape 4026">
              <a:extLst>
                <a:ext uri="{FF2B5EF4-FFF2-40B4-BE49-F238E27FC236}">
                  <a16:creationId xmlns:a16="http://schemas.microsoft.com/office/drawing/2014/main" id="{8EA255AC-1F6B-4C4A-8ABA-40E2618FEFED}"/>
                </a:ext>
              </a:extLst>
            </p:cNvPr>
            <p:cNvSpPr/>
            <p:nvPr/>
          </p:nvSpPr>
          <p:spPr>
            <a:xfrm>
              <a:off x="9244158" y="6906459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8" name="Freeform: Shape 4027">
              <a:extLst>
                <a:ext uri="{FF2B5EF4-FFF2-40B4-BE49-F238E27FC236}">
                  <a16:creationId xmlns:a16="http://schemas.microsoft.com/office/drawing/2014/main" id="{E3B5BB9B-E612-4DE4-BCB5-995767D6B624}"/>
                </a:ext>
              </a:extLst>
            </p:cNvPr>
            <p:cNvSpPr/>
            <p:nvPr/>
          </p:nvSpPr>
          <p:spPr>
            <a:xfrm>
              <a:off x="9218344" y="6880645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5" y="277502"/>
                    <a:pt x="96803" y="238780"/>
                    <a:pt x="96803" y="187153"/>
                  </a:cubicBezTo>
                  <a:cubicBezTo>
                    <a:pt x="96803" y="135524"/>
                    <a:pt x="135525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0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3"/>
                  </a:cubicBezTo>
                  <a:cubicBezTo>
                    <a:pt x="96803" y="238780"/>
                    <a:pt x="135525" y="277502"/>
                    <a:pt x="187153" y="277502"/>
                  </a:cubicBezTo>
                  <a:cubicBezTo>
                    <a:pt x="238781" y="277502"/>
                    <a:pt x="277502" y="238780"/>
                    <a:pt x="277502" y="187153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29" name="Freeform: Shape 4028">
              <a:extLst>
                <a:ext uri="{FF2B5EF4-FFF2-40B4-BE49-F238E27FC236}">
                  <a16:creationId xmlns:a16="http://schemas.microsoft.com/office/drawing/2014/main" id="{E29C6207-FD0C-4780-875E-6E09D29FDB1B}"/>
                </a:ext>
              </a:extLst>
            </p:cNvPr>
            <p:cNvSpPr/>
            <p:nvPr/>
          </p:nvSpPr>
          <p:spPr>
            <a:xfrm>
              <a:off x="10379979" y="6996809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5 w 258141"/>
                <a:gd name="connsiteY1" fmla="*/ 174245 h 258141"/>
                <a:gd name="connsiteX2" fmla="*/ 96803 w 258141"/>
                <a:gd name="connsiteY2" fmla="*/ 135524 h 258141"/>
                <a:gd name="connsiteX3" fmla="*/ 135525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5" y="174245"/>
                  </a:cubicBezTo>
                  <a:cubicBezTo>
                    <a:pt x="109711" y="174245"/>
                    <a:pt x="96803" y="148431"/>
                    <a:pt x="96803" y="135524"/>
                  </a:cubicBezTo>
                  <a:cubicBezTo>
                    <a:pt x="96803" y="109710"/>
                    <a:pt x="122618" y="96803"/>
                    <a:pt x="135525" y="96803"/>
                  </a:cubicBezTo>
                  <a:cubicBezTo>
                    <a:pt x="161338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0" name="Freeform: Shape 4029">
              <a:extLst>
                <a:ext uri="{FF2B5EF4-FFF2-40B4-BE49-F238E27FC236}">
                  <a16:creationId xmlns:a16="http://schemas.microsoft.com/office/drawing/2014/main" id="{A9A25AA9-90A4-44A7-8593-95C84330A89D}"/>
                </a:ext>
              </a:extLst>
            </p:cNvPr>
            <p:cNvSpPr/>
            <p:nvPr/>
          </p:nvSpPr>
          <p:spPr>
            <a:xfrm>
              <a:off x="10354166" y="697099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200060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60" y="225874"/>
                    <a:pt x="225874" y="200059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1" name="Freeform: Shape 4030">
              <a:extLst>
                <a:ext uri="{FF2B5EF4-FFF2-40B4-BE49-F238E27FC236}">
                  <a16:creationId xmlns:a16="http://schemas.microsoft.com/office/drawing/2014/main" id="{382D60D1-5E3C-41A2-8ED6-E62A120332DB}"/>
                </a:ext>
              </a:extLst>
            </p:cNvPr>
            <p:cNvSpPr/>
            <p:nvPr/>
          </p:nvSpPr>
          <p:spPr>
            <a:xfrm>
              <a:off x="10328352" y="6945180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3 h 258141"/>
                <a:gd name="connsiteX2" fmla="*/ 187152 w 258141"/>
                <a:gd name="connsiteY2" fmla="*/ 96803 h 258141"/>
                <a:gd name="connsiteX3" fmla="*/ 277501 w 258141"/>
                <a:gd name="connsiteY3" fmla="*/ 187153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3 h 258141"/>
                <a:gd name="connsiteX7" fmla="*/ 187152 w 258141"/>
                <a:gd name="connsiteY7" fmla="*/ 277502 h 258141"/>
                <a:gd name="connsiteX8" fmla="*/ 277501 w 258141"/>
                <a:gd name="connsiteY8" fmla="*/ 187153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0"/>
                    <a:pt x="96803" y="187153"/>
                  </a:cubicBezTo>
                  <a:cubicBezTo>
                    <a:pt x="96803" y="135524"/>
                    <a:pt x="135524" y="96803"/>
                    <a:pt x="187152" y="96803"/>
                  </a:cubicBezTo>
                  <a:cubicBezTo>
                    <a:pt x="238781" y="96803"/>
                    <a:pt x="277501" y="135524"/>
                    <a:pt x="277501" y="187153"/>
                  </a:cubicBezTo>
                  <a:cubicBezTo>
                    <a:pt x="277501" y="238780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4"/>
                    <a:pt x="96803" y="187153"/>
                  </a:cubicBezTo>
                  <a:cubicBezTo>
                    <a:pt x="96803" y="238780"/>
                    <a:pt x="135524" y="277502"/>
                    <a:pt x="187152" y="277502"/>
                  </a:cubicBezTo>
                  <a:cubicBezTo>
                    <a:pt x="238781" y="277502"/>
                    <a:pt x="277501" y="238780"/>
                    <a:pt x="277501" y="187153"/>
                  </a:cubicBezTo>
                  <a:cubicBezTo>
                    <a:pt x="277501" y="135524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2" name="Freeform: Shape 4031">
              <a:extLst>
                <a:ext uri="{FF2B5EF4-FFF2-40B4-BE49-F238E27FC236}">
                  <a16:creationId xmlns:a16="http://schemas.microsoft.com/office/drawing/2014/main" id="{E0858F4D-FB15-4A19-9A11-38AA740D8EA2}"/>
                </a:ext>
              </a:extLst>
            </p:cNvPr>
            <p:cNvSpPr/>
            <p:nvPr/>
          </p:nvSpPr>
          <p:spPr>
            <a:xfrm>
              <a:off x="3087488" y="3795857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3" name="Freeform: Shape 4032">
              <a:extLst>
                <a:ext uri="{FF2B5EF4-FFF2-40B4-BE49-F238E27FC236}">
                  <a16:creationId xmlns:a16="http://schemas.microsoft.com/office/drawing/2014/main" id="{4D8FDD06-03FA-4ABB-A75B-83E12446DA11}"/>
                </a:ext>
              </a:extLst>
            </p:cNvPr>
            <p:cNvSpPr/>
            <p:nvPr/>
          </p:nvSpPr>
          <p:spPr>
            <a:xfrm>
              <a:off x="3048767" y="377004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200060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60" y="238781"/>
                    <a:pt x="225874" y="212967"/>
                    <a:pt x="225874" y="174245"/>
                  </a:cubicBezTo>
                  <a:cubicBezTo>
                    <a:pt x="225874" y="135524"/>
                    <a:pt x="200060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4" name="Freeform: Shape 4033">
              <a:extLst>
                <a:ext uri="{FF2B5EF4-FFF2-40B4-BE49-F238E27FC236}">
                  <a16:creationId xmlns:a16="http://schemas.microsoft.com/office/drawing/2014/main" id="{C2949486-F952-47FB-B871-B03D9DC96F95}"/>
                </a:ext>
              </a:extLst>
            </p:cNvPr>
            <p:cNvSpPr/>
            <p:nvPr/>
          </p:nvSpPr>
          <p:spPr>
            <a:xfrm>
              <a:off x="3022953" y="3744228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2 h 258141"/>
                <a:gd name="connsiteX2" fmla="*/ 187152 w 258141"/>
                <a:gd name="connsiteY2" fmla="*/ 96803 h 258141"/>
                <a:gd name="connsiteX3" fmla="*/ 277502 w 258141"/>
                <a:gd name="connsiteY3" fmla="*/ 187152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2 h 258141"/>
                <a:gd name="connsiteX7" fmla="*/ 187152 w 258141"/>
                <a:gd name="connsiteY7" fmla="*/ 277502 h 258141"/>
                <a:gd name="connsiteX8" fmla="*/ 277502 w 258141"/>
                <a:gd name="connsiteY8" fmla="*/ 187152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0"/>
                    <a:pt x="96803" y="187152"/>
                  </a:cubicBezTo>
                  <a:cubicBezTo>
                    <a:pt x="96803" y="135524"/>
                    <a:pt x="135524" y="96803"/>
                    <a:pt x="187152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0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0"/>
                    <a:pt x="135524" y="277502"/>
                    <a:pt x="187152" y="277502"/>
                  </a:cubicBezTo>
                  <a:cubicBezTo>
                    <a:pt x="238781" y="277502"/>
                    <a:pt x="277502" y="238780"/>
                    <a:pt x="277502" y="187152"/>
                  </a:cubicBezTo>
                  <a:cubicBezTo>
                    <a:pt x="277502" y="135524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5" name="Freeform: Shape 4034">
              <a:extLst>
                <a:ext uri="{FF2B5EF4-FFF2-40B4-BE49-F238E27FC236}">
                  <a16:creationId xmlns:a16="http://schemas.microsoft.com/office/drawing/2014/main" id="{FADC8A50-772B-4AC7-9B40-971DC10FB17B}"/>
                </a:ext>
              </a:extLst>
            </p:cNvPr>
            <p:cNvSpPr/>
            <p:nvPr/>
          </p:nvSpPr>
          <p:spPr>
            <a:xfrm>
              <a:off x="2868068" y="2014682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6" name="Freeform: Shape 4035">
              <a:extLst>
                <a:ext uri="{FF2B5EF4-FFF2-40B4-BE49-F238E27FC236}">
                  <a16:creationId xmlns:a16="http://schemas.microsoft.com/office/drawing/2014/main" id="{7B45334C-23A0-441D-A7C0-766016CFFAAF}"/>
                </a:ext>
              </a:extLst>
            </p:cNvPr>
            <p:cNvSpPr/>
            <p:nvPr/>
          </p:nvSpPr>
          <p:spPr>
            <a:xfrm>
              <a:off x="2842254" y="1988868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1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60"/>
                    <a:pt x="187153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60" y="238781"/>
                    <a:pt x="225874" y="212967"/>
                    <a:pt x="225874" y="174245"/>
                  </a:cubicBezTo>
                  <a:cubicBezTo>
                    <a:pt x="212967" y="135524"/>
                    <a:pt x="187153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7" name="Freeform: Shape 4036">
              <a:extLst>
                <a:ext uri="{FF2B5EF4-FFF2-40B4-BE49-F238E27FC236}">
                  <a16:creationId xmlns:a16="http://schemas.microsoft.com/office/drawing/2014/main" id="{325B2B4B-5614-4C13-8E66-2BEFFE0E3338}"/>
                </a:ext>
              </a:extLst>
            </p:cNvPr>
            <p:cNvSpPr/>
            <p:nvPr/>
          </p:nvSpPr>
          <p:spPr>
            <a:xfrm>
              <a:off x="2816440" y="1963053"/>
              <a:ext cx="258141" cy="258141"/>
            </a:xfrm>
            <a:custGeom>
              <a:avLst/>
              <a:gdLst>
                <a:gd name="connsiteX0" fmla="*/ 187152 w 258141"/>
                <a:gd name="connsiteY0" fmla="*/ 277502 h 258141"/>
                <a:gd name="connsiteX1" fmla="*/ 96803 w 258141"/>
                <a:gd name="connsiteY1" fmla="*/ 187152 h 258141"/>
                <a:gd name="connsiteX2" fmla="*/ 187152 w 258141"/>
                <a:gd name="connsiteY2" fmla="*/ 96803 h 258141"/>
                <a:gd name="connsiteX3" fmla="*/ 277502 w 258141"/>
                <a:gd name="connsiteY3" fmla="*/ 187152 h 258141"/>
                <a:gd name="connsiteX4" fmla="*/ 187152 w 258141"/>
                <a:gd name="connsiteY4" fmla="*/ 277502 h 258141"/>
                <a:gd name="connsiteX5" fmla="*/ 187152 w 258141"/>
                <a:gd name="connsiteY5" fmla="*/ 96803 h 258141"/>
                <a:gd name="connsiteX6" fmla="*/ 96803 w 258141"/>
                <a:gd name="connsiteY6" fmla="*/ 187152 h 258141"/>
                <a:gd name="connsiteX7" fmla="*/ 187152 w 258141"/>
                <a:gd name="connsiteY7" fmla="*/ 277502 h 258141"/>
                <a:gd name="connsiteX8" fmla="*/ 277502 w 258141"/>
                <a:gd name="connsiteY8" fmla="*/ 187152 h 258141"/>
                <a:gd name="connsiteX9" fmla="*/ 187152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2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2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2" y="277502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2" y="277502"/>
                  </a:cubicBezTo>
                  <a:cubicBezTo>
                    <a:pt x="225874" y="277502"/>
                    <a:pt x="277502" y="238781"/>
                    <a:pt x="277502" y="187152"/>
                  </a:cubicBezTo>
                  <a:cubicBezTo>
                    <a:pt x="277502" y="135524"/>
                    <a:pt x="225874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8" name="Freeform: Shape 4037">
              <a:extLst>
                <a:ext uri="{FF2B5EF4-FFF2-40B4-BE49-F238E27FC236}">
                  <a16:creationId xmlns:a16="http://schemas.microsoft.com/office/drawing/2014/main" id="{B06E2700-7516-41D0-B6CE-2AB0584773A1}"/>
                </a:ext>
              </a:extLst>
            </p:cNvPr>
            <p:cNvSpPr/>
            <p:nvPr/>
          </p:nvSpPr>
          <p:spPr>
            <a:xfrm>
              <a:off x="5501109" y="1356421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39" name="Freeform: Shape 4038">
              <a:extLst>
                <a:ext uri="{FF2B5EF4-FFF2-40B4-BE49-F238E27FC236}">
                  <a16:creationId xmlns:a16="http://schemas.microsoft.com/office/drawing/2014/main" id="{052D11DA-A64C-4719-B652-CBC863A2D9E5}"/>
                </a:ext>
              </a:extLst>
            </p:cNvPr>
            <p:cNvSpPr/>
            <p:nvPr/>
          </p:nvSpPr>
          <p:spPr>
            <a:xfrm>
              <a:off x="5475295" y="133060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0" name="Freeform: Shape 4039">
              <a:extLst>
                <a:ext uri="{FF2B5EF4-FFF2-40B4-BE49-F238E27FC236}">
                  <a16:creationId xmlns:a16="http://schemas.microsoft.com/office/drawing/2014/main" id="{DA367238-7A6B-4553-9A3D-4F6ABA364DEB}"/>
                </a:ext>
              </a:extLst>
            </p:cNvPr>
            <p:cNvSpPr/>
            <p:nvPr/>
          </p:nvSpPr>
          <p:spPr>
            <a:xfrm>
              <a:off x="5449481" y="1304793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1" name="Freeform: Shape 4040">
              <a:extLst>
                <a:ext uri="{FF2B5EF4-FFF2-40B4-BE49-F238E27FC236}">
                  <a16:creationId xmlns:a16="http://schemas.microsoft.com/office/drawing/2014/main" id="{DA784633-F36C-49E9-B1D3-F919845F7794}"/>
                </a:ext>
              </a:extLst>
            </p:cNvPr>
            <p:cNvSpPr/>
            <p:nvPr/>
          </p:nvSpPr>
          <p:spPr>
            <a:xfrm>
              <a:off x="6069020" y="1872704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6" y="109710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2" name="Freeform: Shape 4041">
              <a:extLst>
                <a:ext uri="{FF2B5EF4-FFF2-40B4-BE49-F238E27FC236}">
                  <a16:creationId xmlns:a16="http://schemas.microsoft.com/office/drawing/2014/main" id="{BDDB4F68-A289-4A94-BEFC-B6B1B8D51869}"/>
                </a:ext>
              </a:extLst>
            </p:cNvPr>
            <p:cNvSpPr/>
            <p:nvPr/>
          </p:nvSpPr>
          <p:spPr>
            <a:xfrm>
              <a:off x="6030299" y="1846890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35524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35524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3" name="Freeform: Shape 4042">
              <a:extLst>
                <a:ext uri="{FF2B5EF4-FFF2-40B4-BE49-F238E27FC236}">
                  <a16:creationId xmlns:a16="http://schemas.microsoft.com/office/drawing/2014/main" id="{31957465-C8F4-420D-AB42-81B01D6719D1}"/>
                </a:ext>
              </a:extLst>
            </p:cNvPr>
            <p:cNvSpPr/>
            <p:nvPr/>
          </p:nvSpPr>
          <p:spPr>
            <a:xfrm>
              <a:off x="6004485" y="1821076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90409" y="238781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4" name="Freeform: Shape 4043">
              <a:extLst>
                <a:ext uri="{FF2B5EF4-FFF2-40B4-BE49-F238E27FC236}">
                  <a16:creationId xmlns:a16="http://schemas.microsoft.com/office/drawing/2014/main" id="{87FDEF66-A4B6-406D-854A-424CC286292E}"/>
                </a:ext>
              </a:extLst>
            </p:cNvPr>
            <p:cNvSpPr/>
            <p:nvPr/>
          </p:nvSpPr>
          <p:spPr>
            <a:xfrm>
              <a:off x="4081332" y="1882178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5" name="Freeform: Shape 4044">
              <a:extLst>
                <a:ext uri="{FF2B5EF4-FFF2-40B4-BE49-F238E27FC236}">
                  <a16:creationId xmlns:a16="http://schemas.microsoft.com/office/drawing/2014/main" id="{19781C7F-D4FD-4D8F-AB77-54D738CF3AC7}"/>
                </a:ext>
              </a:extLst>
            </p:cNvPr>
            <p:cNvSpPr/>
            <p:nvPr/>
          </p:nvSpPr>
          <p:spPr>
            <a:xfrm>
              <a:off x="4042611" y="1859797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187152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6" name="Freeform: Shape 4045">
              <a:extLst>
                <a:ext uri="{FF2B5EF4-FFF2-40B4-BE49-F238E27FC236}">
                  <a16:creationId xmlns:a16="http://schemas.microsoft.com/office/drawing/2014/main" id="{75A6D5C6-293F-4314-9B65-C3B942E074D4}"/>
                </a:ext>
              </a:extLst>
            </p:cNvPr>
            <p:cNvSpPr/>
            <p:nvPr/>
          </p:nvSpPr>
          <p:spPr>
            <a:xfrm>
              <a:off x="4016797" y="1833983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90409" y="225874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7" name="Freeform: Shape 4046">
              <a:extLst>
                <a:ext uri="{FF2B5EF4-FFF2-40B4-BE49-F238E27FC236}">
                  <a16:creationId xmlns:a16="http://schemas.microsoft.com/office/drawing/2014/main" id="{D44F7532-CE9D-4E4C-8736-BFD99A4F42B1}"/>
                </a:ext>
              </a:extLst>
            </p:cNvPr>
            <p:cNvSpPr/>
            <p:nvPr/>
          </p:nvSpPr>
          <p:spPr>
            <a:xfrm>
              <a:off x="3745748" y="1946713"/>
              <a:ext cx="258141" cy="258141"/>
            </a:xfrm>
            <a:custGeom>
              <a:avLst/>
              <a:gdLst>
                <a:gd name="connsiteX0" fmla="*/ 174245 w 258141"/>
                <a:gd name="connsiteY0" fmla="*/ 138957 h 258141"/>
                <a:gd name="connsiteX1" fmla="*/ 135524 w 258141"/>
                <a:gd name="connsiteY1" fmla="*/ 177678 h 258141"/>
                <a:gd name="connsiteX2" fmla="*/ 96803 w 258141"/>
                <a:gd name="connsiteY2" fmla="*/ 138957 h 258141"/>
                <a:gd name="connsiteX3" fmla="*/ 135524 w 258141"/>
                <a:gd name="connsiteY3" fmla="*/ 100236 h 258141"/>
                <a:gd name="connsiteX4" fmla="*/ 174245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8957"/>
                  </a:moveTo>
                  <a:cubicBezTo>
                    <a:pt x="174245" y="164771"/>
                    <a:pt x="148431" y="177678"/>
                    <a:pt x="135524" y="177678"/>
                  </a:cubicBezTo>
                  <a:cubicBezTo>
                    <a:pt x="109710" y="177678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4" y="100236"/>
                  </a:cubicBezTo>
                  <a:cubicBezTo>
                    <a:pt x="148431" y="87329"/>
                    <a:pt x="174245" y="113143"/>
                    <a:pt x="174245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8" name="Freeform: Shape 4047">
              <a:extLst>
                <a:ext uri="{FF2B5EF4-FFF2-40B4-BE49-F238E27FC236}">
                  <a16:creationId xmlns:a16="http://schemas.microsoft.com/office/drawing/2014/main" id="{FFD8C19D-EEC5-45A8-8912-43208B65066B}"/>
                </a:ext>
              </a:extLst>
            </p:cNvPr>
            <p:cNvSpPr/>
            <p:nvPr/>
          </p:nvSpPr>
          <p:spPr>
            <a:xfrm>
              <a:off x="3719934" y="192433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187152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12967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49" name="Freeform: Shape 4048">
              <a:extLst>
                <a:ext uri="{FF2B5EF4-FFF2-40B4-BE49-F238E27FC236}">
                  <a16:creationId xmlns:a16="http://schemas.microsoft.com/office/drawing/2014/main" id="{34064A7D-C9A2-4644-8A29-6361DB55FD0E}"/>
                </a:ext>
              </a:extLst>
            </p:cNvPr>
            <p:cNvSpPr/>
            <p:nvPr/>
          </p:nvSpPr>
          <p:spPr>
            <a:xfrm>
              <a:off x="3694120" y="1898518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1"/>
                    <a:pt x="96803" y="187152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25874"/>
                    <a:pt x="225874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1"/>
                    <a:pt x="135524" y="277502"/>
                    <a:pt x="187153" y="277502"/>
                  </a:cubicBezTo>
                  <a:cubicBezTo>
                    <a:pt x="238781" y="277502"/>
                    <a:pt x="277502" y="238781"/>
                    <a:pt x="277502" y="187152"/>
                  </a:cubicBezTo>
                  <a:cubicBezTo>
                    <a:pt x="264595" y="135524"/>
                    <a:pt x="225874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0" name="Freeform: Shape 4049">
              <a:extLst>
                <a:ext uri="{FF2B5EF4-FFF2-40B4-BE49-F238E27FC236}">
                  <a16:creationId xmlns:a16="http://schemas.microsoft.com/office/drawing/2014/main" id="{D28234D2-B2F8-4D36-986E-0F726616D567}"/>
                </a:ext>
              </a:extLst>
            </p:cNvPr>
            <p:cNvSpPr/>
            <p:nvPr/>
          </p:nvSpPr>
          <p:spPr>
            <a:xfrm>
              <a:off x="5423667" y="5977150"/>
              <a:ext cx="258141" cy="258141"/>
            </a:xfrm>
            <a:custGeom>
              <a:avLst/>
              <a:gdLst>
                <a:gd name="connsiteX0" fmla="*/ 174246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6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4"/>
                  </a:moveTo>
                  <a:cubicBezTo>
                    <a:pt x="174246" y="161338"/>
                    <a:pt x="148431" y="174245"/>
                    <a:pt x="135524" y="174245"/>
                  </a:cubicBezTo>
                  <a:cubicBezTo>
                    <a:pt x="109710" y="174245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6" y="122617"/>
                    <a:pt x="174246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1" name="Freeform: Shape 4050">
              <a:extLst>
                <a:ext uri="{FF2B5EF4-FFF2-40B4-BE49-F238E27FC236}">
                  <a16:creationId xmlns:a16="http://schemas.microsoft.com/office/drawing/2014/main" id="{36834B68-E22E-4612-9749-549BBB007E6E}"/>
                </a:ext>
              </a:extLst>
            </p:cNvPr>
            <p:cNvSpPr/>
            <p:nvPr/>
          </p:nvSpPr>
          <p:spPr>
            <a:xfrm>
              <a:off x="5397853" y="595133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6 h 258141"/>
                <a:gd name="connsiteX7" fmla="*/ 161338 w 258141"/>
                <a:gd name="connsiteY7" fmla="*/ 238781 h 258141"/>
                <a:gd name="connsiteX8" fmla="*/ 225874 w 258141"/>
                <a:gd name="connsiteY8" fmla="*/ 174246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ubicBezTo>
                    <a:pt x="225874" y="200059"/>
                    <a:pt x="187153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6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60" y="238781"/>
                    <a:pt x="225874" y="212967"/>
                    <a:pt x="225874" y="174246"/>
                  </a:cubicBezTo>
                  <a:cubicBezTo>
                    <a:pt x="225874" y="135524"/>
                    <a:pt x="187153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2" name="Freeform: Shape 4051">
              <a:extLst>
                <a:ext uri="{FF2B5EF4-FFF2-40B4-BE49-F238E27FC236}">
                  <a16:creationId xmlns:a16="http://schemas.microsoft.com/office/drawing/2014/main" id="{F862CB75-41D2-498C-B7E4-AFDA6716CCD2}"/>
                </a:ext>
              </a:extLst>
            </p:cNvPr>
            <p:cNvSpPr/>
            <p:nvPr/>
          </p:nvSpPr>
          <p:spPr>
            <a:xfrm>
              <a:off x="5372039" y="5925522"/>
              <a:ext cx="258141" cy="387212"/>
            </a:xfrm>
            <a:custGeom>
              <a:avLst/>
              <a:gdLst>
                <a:gd name="connsiteX0" fmla="*/ 187152 w 258141"/>
                <a:gd name="connsiteY0" fmla="*/ 290409 h 387211"/>
                <a:gd name="connsiteX1" fmla="*/ 96803 w 258141"/>
                <a:gd name="connsiteY1" fmla="*/ 200060 h 387211"/>
                <a:gd name="connsiteX2" fmla="*/ 187152 w 258141"/>
                <a:gd name="connsiteY2" fmla="*/ 109710 h 387211"/>
                <a:gd name="connsiteX3" fmla="*/ 277502 w 258141"/>
                <a:gd name="connsiteY3" fmla="*/ 200060 h 387211"/>
                <a:gd name="connsiteX4" fmla="*/ 187152 w 258141"/>
                <a:gd name="connsiteY4" fmla="*/ 290409 h 387211"/>
                <a:gd name="connsiteX5" fmla="*/ 187152 w 258141"/>
                <a:gd name="connsiteY5" fmla="*/ 96803 h 387211"/>
                <a:gd name="connsiteX6" fmla="*/ 96803 w 258141"/>
                <a:gd name="connsiteY6" fmla="*/ 187153 h 387211"/>
                <a:gd name="connsiteX7" fmla="*/ 187152 w 258141"/>
                <a:gd name="connsiteY7" fmla="*/ 277502 h 387211"/>
                <a:gd name="connsiteX8" fmla="*/ 277502 w 258141"/>
                <a:gd name="connsiteY8" fmla="*/ 187153 h 387211"/>
                <a:gd name="connsiteX9" fmla="*/ 187152 w 25814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387211">
                  <a:moveTo>
                    <a:pt x="187152" y="290409"/>
                  </a:moveTo>
                  <a:cubicBezTo>
                    <a:pt x="135524" y="290409"/>
                    <a:pt x="96803" y="251688"/>
                    <a:pt x="96803" y="200060"/>
                  </a:cubicBezTo>
                  <a:cubicBezTo>
                    <a:pt x="96803" y="148431"/>
                    <a:pt x="135524" y="109710"/>
                    <a:pt x="187152" y="109710"/>
                  </a:cubicBezTo>
                  <a:cubicBezTo>
                    <a:pt x="238781" y="109710"/>
                    <a:pt x="277502" y="148431"/>
                    <a:pt x="277502" y="200060"/>
                  </a:cubicBezTo>
                  <a:cubicBezTo>
                    <a:pt x="277502" y="238781"/>
                    <a:pt x="238781" y="290409"/>
                    <a:pt x="187152" y="290409"/>
                  </a:cubicBezTo>
                  <a:close/>
                  <a:moveTo>
                    <a:pt x="187152" y="96803"/>
                  </a:moveTo>
                  <a:cubicBezTo>
                    <a:pt x="135524" y="96803"/>
                    <a:pt x="96803" y="135525"/>
                    <a:pt x="96803" y="187153"/>
                  </a:cubicBezTo>
                  <a:cubicBezTo>
                    <a:pt x="96803" y="238781"/>
                    <a:pt x="135524" y="277502"/>
                    <a:pt x="187152" y="277502"/>
                  </a:cubicBezTo>
                  <a:cubicBezTo>
                    <a:pt x="238781" y="277502"/>
                    <a:pt x="277502" y="238781"/>
                    <a:pt x="277502" y="187153"/>
                  </a:cubicBezTo>
                  <a:cubicBezTo>
                    <a:pt x="277502" y="148431"/>
                    <a:pt x="238781" y="96803"/>
                    <a:pt x="187152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3" name="Freeform: Shape 4052">
              <a:extLst>
                <a:ext uri="{FF2B5EF4-FFF2-40B4-BE49-F238E27FC236}">
                  <a16:creationId xmlns:a16="http://schemas.microsoft.com/office/drawing/2014/main" id="{F405B838-B406-44B3-9538-E88F3AAEA71B}"/>
                </a:ext>
              </a:extLst>
            </p:cNvPr>
            <p:cNvSpPr/>
            <p:nvPr/>
          </p:nvSpPr>
          <p:spPr>
            <a:xfrm>
              <a:off x="5165525" y="6738667"/>
              <a:ext cx="258141" cy="258141"/>
            </a:xfrm>
            <a:custGeom>
              <a:avLst/>
              <a:gdLst>
                <a:gd name="connsiteX0" fmla="*/ 200059 w 258141"/>
                <a:gd name="connsiteY0" fmla="*/ 148431 h 258141"/>
                <a:gd name="connsiteX1" fmla="*/ 148431 w 258141"/>
                <a:gd name="connsiteY1" fmla="*/ 200059 h 258141"/>
                <a:gd name="connsiteX2" fmla="*/ 96803 w 258141"/>
                <a:gd name="connsiteY2" fmla="*/ 148431 h 258141"/>
                <a:gd name="connsiteX3" fmla="*/ 148431 w 258141"/>
                <a:gd name="connsiteY3" fmla="*/ 96803 h 258141"/>
                <a:gd name="connsiteX4" fmla="*/ 200059 w 258141"/>
                <a:gd name="connsiteY4" fmla="*/ 148431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00059" y="148431"/>
                  </a:moveTo>
                  <a:cubicBezTo>
                    <a:pt x="200059" y="174245"/>
                    <a:pt x="174246" y="200059"/>
                    <a:pt x="148431" y="200059"/>
                  </a:cubicBezTo>
                  <a:cubicBezTo>
                    <a:pt x="122617" y="200059"/>
                    <a:pt x="96803" y="174245"/>
                    <a:pt x="96803" y="148431"/>
                  </a:cubicBezTo>
                  <a:cubicBezTo>
                    <a:pt x="96803" y="122617"/>
                    <a:pt x="122617" y="96803"/>
                    <a:pt x="148431" y="96803"/>
                  </a:cubicBezTo>
                  <a:cubicBezTo>
                    <a:pt x="174246" y="96803"/>
                    <a:pt x="200059" y="122617"/>
                    <a:pt x="200059" y="1484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4" name="Freeform: Shape 4053">
              <a:extLst>
                <a:ext uri="{FF2B5EF4-FFF2-40B4-BE49-F238E27FC236}">
                  <a16:creationId xmlns:a16="http://schemas.microsoft.com/office/drawing/2014/main" id="{5718BB23-55E5-482A-BBA9-A7171ED343B1}"/>
                </a:ext>
              </a:extLst>
            </p:cNvPr>
            <p:cNvSpPr/>
            <p:nvPr/>
          </p:nvSpPr>
          <p:spPr>
            <a:xfrm>
              <a:off x="5139711" y="6712853"/>
              <a:ext cx="258141" cy="258141"/>
            </a:xfrm>
            <a:custGeom>
              <a:avLst/>
              <a:gdLst>
                <a:gd name="connsiteX0" fmla="*/ 174246 w 258141"/>
                <a:gd name="connsiteY0" fmla="*/ 251688 h 258141"/>
                <a:gd name="connsiteX1" fmla="*/ 96803 w 258141"/>
                <a:gd name="connsiteY1" fmla="*/ 174245 h 258141"/>
                <a:gd name="connsiteX2" fmla="*/ 174246 w 258141"/>
                <a:gd name="connsiteY2" fmla="*/ 96803 h 258141"/>
                <a:gd name="connsiteX3" fmla="*/ 251688 w 258141"/>
                <a:gd name="connsiteY3" fmla="*/ 174245 h 258141"/>
                <a:gd name="connsiteX4" fmla="*/ 174246 w 258141"/>
                <a:gd name="connsiteY4" fmla="*/ 251688 h 258141"/>
                <a:gd name="connsiteX5" fmla="*/ 174246 w 258141"/>
                <a:gd name="connsiteY5" fmla="*/ 96803 h 258141"/>
                <a:gd name="connsiteX6" fmla="*/ 96803 w 258141"/>
                <a:gd name="connsiteY6" fmla="*/ 174245 h 258141"/>
                <a:gd name="connsiteX7" fmla="*/ 174246 w 258141"/>
                <a:gd name="connsiteY7" fmla="*/ 251688 h 258141"/>
                <a:gd name="connsiteX8" fmla="*/ 251688 w 258141"/>
                <a:gd name="connsiteY8" fmla="*/ 174245 h 258141"/>
                <a:gd name="connsiteX9" fmla="*/ 174246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74246" y="251688"/>
                  </a:moveTo>
                  <a:cubicBezTo>
                    <a:pt x="135525" y="251688"/>
                    <a:pt x="96803" y="212966"/>
                    <a:pt x="96803" y="174245"/>
                  </a:cubicBezTo>
                  <a:cubicBezTo>
                    <a:pt x="96803" y="135524"/>
                    <a:pt x="135525" y="96803"/>
                    <a:pt x="174246" y="96803"/>
                  </a:cubicBezTo>
                  <a:cubicBezTo>
                    <a:pt x="212967" y="96803"/>
                    <a:pt x="251688" y="135524"/>
                    <a:pt x="251688" y="174245"/>
                  </a:cubicBezTo>
                  <a:cubicBezTo>
                    <a:pt x="251688" y="212966"/>
                    <a:pt x="212967" y="251688"/>
                    <a:pt x="174246" y="251688"/>
                  </a:cubicBezTo>
                  <a:close/>
                  <a:moveTo>
                    <a:pt x="174246" y="96803"/>
                  </a:moveTo>
                  <a:cubicBezTo>
                    <a:pt x="135525" y="96803"/>
                    <a:pt x="96803" y="135524"/>
                    <a:pt x="96803" y="174245"/>
                  </a:cubicBezTo>
                  <a:cubicBezTo>
                    <a:pt x="96803" y="212966"/>
                    <a:pt x="135525" y="251688"/>
                    <a:pt x="174246" y="251688"/>
                  </a:cubicBezTo>
                  <a:cubicBezTo>
                    <a:pt x="212967" y="251688"/>
                    <a:pt x="251688" y="212966"/>
                    <a:pt x="251688" y="174245"/>
                  </a:cubicBezTo>
                  <a:cubicBezTo>
                    <a:pt x="251688" y="135524"/>
                    <a:pt x="212967" y="96803"/>
                    <a:pt x="174246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5" name="Freeform: Shape 4054">
              <a:extLst>
                <a:ext uri="{FF2B5EF4-FFF2-40B4-BE49-F238E27FC236}">
                  <a16:creationId xmlns:a16="http://schemas.microsoft.com/office/drawing/2014/main" id="{BCA3ABB2-BD21-48D4-AA35-B143FDAA0241}"/>
                </a:ext>
              </a:extLst>
            </p:cNvPr>
            <p:cNvSpPr/>
            <p:nvPr/>
          </p:nvSpPr>
          <p:spPr>
            <a:xfrm>
              <a:off x="5113897" y="6687039"/>
              <a:ext cx="387212" cy="387212"/>
            </a:xfrm>
            <a:custGeom>
              <a:avLst/>
              <a:gdLst>
                <a:gd name="connsiteX0" fmla="*/ 200059 w 387211"/>
                <a:gd name="connsiteY0" fmla="*/ 303316 h 387211"/>
                <a:gd name="connsiteX1" fmla="*/ 96803 w 387211"/>
                <a:gd name="connsiteY1" fmla="*/ 200059 h 387211"/>
                <a:gd name="connsiteX2" fmla="*/ 200059 w 387211"/>
                <a:gd name="connsiteY2" fmla="*/ 96803 h 387211"/>
                <a:gd name="connsiteX3" fmla="*/ 303316 w 387211"/>
                <a:gd name="connsiteY3" fmla="*/ 200059 h 387211"/>
                <a:gd name="connsiteX4" fmla="*/ 200059 w 387211"/>
                <a:gd name="connsiteY4" fmla="*/ 303316 h 387211"/>
                <a:gd name="connsiteX5" fmla="*/ 200059 w 387211"/>
                <a:gd name="connsiteY5" fmla="*/ 96803 h 387211"/>
                <a:gd name="connsiteX6" fmla="*/ 96803 w 387211"/>
                <a:gd name="connsiteY6" fmla="*/ 200059 h 387211"/>
                <a:gd name="connsiteX7" fmla="*/ 200059 w 387211"/>
                <a:gd name="connsiteY7" fmla="*/ 303316 h 387211"/>
                <a:gd name="connsiteX8" fmla="*/ 303316 w 387211"/>
                <a:gd name="connsiteY8" fmla="*/ 200059 h 387211"/>
                <a:gd name="connsiteX9" fmla="*/ 200059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59" y="303316"/>
                  </a:moveTo>
                  <a:cubicBezTo>
                    <a:pt x="135524" y="303316"/>
                    <a:pt x="96803" y="251688"/>
                    <a:pt x="96803" y="200059"/>
                  </a:cubicBezTo>
                  <a:cubicBezTo>
                    <a:pt x="96803" y="135524"/>
                    <a:pt x="148431" y="96803"/>
                    <a:pt x="200059" y="96803"/>
                  </a:cubicBezTo>
                  <a:cubicBezTo>
                    <a:pt x="264595" y="96803"/>
                    <a:pt x="303316" y="148431"/>
                    <a:pt x="303316" y="200059"/>
                  </a:cubicBezTo>
                  <a:cubicBezTo>
                    <a:pt x="316223" y="264595"/>
                    <a:pt x="264595" y="303316"/>
                    <a:pt x="200059" y="303316"/>
                  </a:cubicBezTo>
                  <a:close/>
                  <a:moveTo>
                    <a:pt x="200059" y="96803"/>
                  </a:moveTo>
                  <a:cubicBezTo>
                    <a:pt x="135524" y="96803"/>
                    <a:pt x="96803" y="148431"/>
                    <a:pt x="96803" y="200059"/>
                  </a:cubicBezTo>
                  <a:cubicBezTo>
                    <a:pt x="96803" y="264595"/>
                    <a:pt x="148431" y="303316"/>
                    <a:pt x="200059" y="303316"/>
                  </a:cubicBezTo>
                  <a:cubicBezTo>
                    <a:pt x="264595" y="303316"/>
                    <a:pt x="303316" y="251688"/>
                    <a:pt x="303316" y="200059"/>
                  </a:cubicBezTo>
                  <a:cubicBezTo>
                    <a:pt x="303316" y="135524"/>
                    <a:pt x="264595" y="96803"/>
                    <a:pt x="200059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6" name="Freeform: Shape 4055">
              <a:extLst>
                <a:ext uri="{FF2B5EF4-FFF2-40B4-BE49-F238E27FC236}">
                  <a16:creationId xmlns:a16="http://schemas.microsoft.com/office/drawing/2014/main" id="{EC76103C-2766-4EEE-96CD-BCD05C5FAD28}"/>
                </a:ext>
              </a:extLst>
            </p:cNvPr>
            <p:cNvSpPr/>
            <p:nvPr/>
          </p:nvSpPr>
          <p:spPr>
            <a:xfrm>
              <a:off x="5862507" y="6248199"/>
              <a:ext cx="258141" cy="258141"/>
            </a:xfrm>
            <a:custGeom>
              <a:avLst/>
              <a:gdLst>
                <a:gd name="connsiteX0" fmla="*/ 174245 w 258141"/>
                <a:gd name="connsiteY0" fmla="*/ 135525 h 258141"/>
                <a:gd name="connsiteX1" fmla="*/ 135524 w 258141"/>
                <a:gd name="connsiteY1" fmla="*/ 174246 h 258141"/>
                <a:gd name="connsiteX2" fmla="*/ 96803 w 258141"/>
                <a:gd name="connsiteY2" fmla="*/ 135525 h 258141"/>
                <a:gd name="connsiteX3" fmla="*/ 135524 w 258141"/>
                <a:gd name="connsiteY3" fmla="*/ 96803 h 258141"/>
                <a:gd name="connsiteX4" fmla="*/ 174245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5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7" name="Freeform: Shape 4056">
              <a:extLst>
                <a:ext uri="{FF2B5EF4-FFF2-40B4-BE49-F238E27FC236}">
                  <a16:creationId xmlns:a16="http://schemas.microsoft.com/office/drawing/2014/main" id="{44551A02-0A9D-451A-9470-A41B93D85D63}"/>
                </a:ext>
              </a:extLst>
            </p:cNvPr>
            <p:cNvSpPr/>
            <p:nvPr/>
          </p:nvSpPr>
          <p:spPr>
            <a:xfrm>
              <a:off x="5836693" y="6222385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187153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187153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8" name="Freeform: Shape 4057">
              <a:extLst>
                <a:ext uri="{FF2B5EF4-FFF2-40B4-BE49-F238E27FC236}">
                  <a16:creationId xmlns:a16="http://schemas.microsoft.com/office/drawing/2014/main" id="{E17C7383-06F9-4207-90C5-BC901DE68C95}"/>
                </a:ext>
              </a:extLst>
            </p:cNvPr>
            <p:cNvSpPr/>
            <p:nvPr/>
          </p:nvSpPr>
          <p:spPr>
            <a:xfrm>
              <a:off x="5810879" y="6196571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0"/>
                    <a:pt x="96803" y="187153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0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3"/>
                  </a:cubicBezTo>
                  <a:cubicBezTo>
                    <a:pt x="96803" y="238780"/>
                    <a:pt x="135524" y="277502"/>
                    <a:pt x="187153" y="277502"/>
                  </a:cubicBezTo>
                  <a:cubicBezTo>
                    <a:pt x="238781" y="277502"/>
                    <a:pt x="277502" y="238780"/>
                    <a:pt x="277502" y="187153"/>
                  </a:cubicBezTo>
                  <a:cubicBezTo>
                    <a:pt x="277502" y="135524"/>
                    <a:pt x="225874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59" name="Freeform: Shape 4058">
              <a:extLst>
                <a:ext uri="{FF2B5EF4-FFF2-40B4-BE49-F238E27FC236}">
                  <a16:creationId xmlns:a16="http://schemas.microsoft.com/office/drawing/2014/main" id="{07313668-9DA3-47F5-A39F-D39B896DF581}"/>
                </a:ext>
              </a:extLst>
            </p:cNvPr>
            <p:cNvSpPr/>
            <p:nvPr/>
          </p:nvSpPr>
          <p:spPr>
            <a:xfrm>
              <a:off x="5526923" y="6915933"/>
              <a:ext cx="258141" cy="258141"/>
            </a:xfrm>
            <a:custGeom>
              <a:avLst/>
              <a:gdLst>
                <a:gd name="connsiteX0" fmla="*/ 174246 w 258141"/>
                <a:gd name="connsiteY0" fmla="*/ 138957 h 258141"/>
                <a:gd name="connsiteX1" fmla="*/ 135525 w 258141"/>
                <a:gd name="connsiteY1" fmla="*/ 177679 h 258141"/>
                <a:gd name="connsiteX2" fmla="*/ 96803 w 258141"/>
                <a:gd name="connsiteY2" fmla="*/ 138957 h 258141"/>
                <a:gd name="connsiteX3" fmla="*/ 135525 w 258141"/>
                <a:gd name="connsiteY3" fmla="*/ 100236 h 258141"/>
                <a:gd name="connsiteX4" fmla="*/ 174246 w 258141"/>
                <a:gd name="connsiteY4" fmla="*/ 138957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8957"/>
                  </a:moveTo>
                  <a:cubicBezTo>
                    <a:pt x="174246" y="164771"/>
                    <a:pt x="148431" y="177679"/>
                    <a:pt x="135525" y="177679"/>
                  </a:cubicBezTo>
                  <a:cubicBezTo>
                    <a:pt x="109710" y="177679"/>
                    <a:pt x="96803" y="151864"/>
                    <a:pt x="96803" y="138957"/>
                  </a:cubicBezTo>
                  <a:cubicBezTo>
                    <a:pt x="96803" y="113143"/>
                    <a:pt x="122617" y="100236"/>
                    <a:pt x="135525" y="100236"/>
                  </a:cubicBezTo>
                  <a:cubicBezTo>
                    <a:pt x="161338" y="87329"/>
                    <a:pt x="174246" y="113143"/>
                    <a:pt x="174246" y="138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0" name="Freeform: Shape 4059">
              <a:extLst>
                <a:ext uri="{FF2B5EF4-FFF2-40B4-BE49-F238E27FC236}">
                  <a16:creationId xmlns:a16="http://schemas.microsoft.com/office/drawing/2014/main" id="{4FD9EFF6-D3FB-4ABD-9DA5-EDB538C1AA82}"/>
                </a:ext>
              </a:extLst>
            </p:cNvPr>
            <p:cNvSpPr/>
            <p:nvPr/>
          </p:nvSpPr>
          <p:spPr>
            <a:xfrm>
              <a:off x="5501109" y="689355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187153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60"/>
                    <a:pt x="122617" y="225874"/>
                    <a:pt x="161338" y="225874"/>
                  </a:cubicBezTo>
                  <a:cubicBezTo>
                    <a:pt x="200059" y="225874"/>
                    <a:pt x="225874" y="200060"/>
                    <a:pt x="225874" y="161338"/>
                  </a:cubicBezTo>
                  <a:cubicBezTo>
                    <a:pt x="225874" y="122617"/>
                    <a:pt x="187152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1" name="Freeform: Shape 4060">
              <a:extLst>
                <a:ext uri="{FF2B5EF4-FFF2-40B4-BE49-F238E27FC236}">
                  <a16:creationId xmlns:a16="http://schemas.microsoft.com/office/drawing/2014/main" id="{65424652-16EB-4C5B-B4C6-BDFC95C525D2}"/>
                </a:ext>
              </a:extLst>
            </p:cNvPr>
            <p:cNvSpPr/>
            <p:nvPr/>
          </p:nvSpPr>
          <p:spPr>
            <a:xfrm>
              <a:off x="5475295" y="6867738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0"/>
                    <a:pt x="96803" y="187152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0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0"/>
                    <a:pt x="135524" y="277502"/>
                    <a:pt x="187153" y="277502"/>
                  </a:cubicBezTo>
                  <a:cubicBezTo>
                    <a:pt x="238781" y="277502"/>
                    <a:pt x="277502" y="238780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2" name="Freeform: Shape 4061">
              <a:extLst>
                <a:ext uri="{FF2B5EF4-FFF2-40B4-BE49-F238E27FC236}">
                  <a16:creationId xmlns:a16="http://schemas.microsoft.com/office/drawing/2014/main" id="{49B0DE4F-7C67-418F-9701-360378A733FF}"/>
                </a:ext>
              </a:extLst>
            </p:cNvPr>
            <p:cNvSpPr/>
            <p:nvPr/>
          </p:nvSpPr>
          <p:spPr>
            <a:xfrm>
              <a:off x="6017392" y="6467619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6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6"/>
                    <a:pt x="135524" y="174246"/>
                  </a:cubicBezTo>
                  <a:cubicBezTo>
                    <a:pt x="109710" y="174246"/>
                    <a:pt x="96803" y="148431"/>
                    <a:pt x="96803" y="135524"/>
                  </a:cubicBezTo>
                  <a:cubicBezTo>
                    <a:pt x="96803" y="109710"/>
                    <a:pt x="122617" y="96803"/>
                    <a:pt x="135524" y="96803"/>
                  </a:cubicBezTo>
                  <a:cubicBezTo>
                    <a:pt x="161338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3" name="Freeform: Shape 4062">
              <a:extLst>
                <a:ext uri="{FF2B5EF4-FFF2-40B4-BE49-F238E27FC236}">
                  <a16:creationId xmlns:a16="http://schemas.microsoft.com/office/drawing/2014/main" id="{830EFFC7-66BD-42DE-BC9D-094B47904068}"/>
                </a:ext>
              </a:extLst>
            </p:cNvPr>
            <p:cNvSpPr/>
            <p:nvPr/>
          </p:nvSpPr>
          <p:spPr>
            <a:xfrm>
              <a:off x="5991578" y="6441804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6 h 258141"/>
                <a:gd name="connsiteX7" fmla="*/ 161338 w 258141"/>
                <a:gd name="connsiteY7" fmla="*/ 238781 h 258141"/>
                <a:gd name="connsiteX8" fmla="*/ 225874 w 258141"/>
                <a:gd name="connsiteY8" fmla="*/ 174246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60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5"/>
                    <a:pt x="96803" y="174246"/>
                  </a:cubicBezTo>
                  <a:cubicBezTo>
                    <a:pt x="96803" y="212967"/>
                    <a:pt x="122617" y="238781"/>
                    <a:pt x="161338" y="238781"/>
                  </a:cubicBezTo>
                  <a:cubicBezTo>
                    <a:pt x="200059" y="238781"/>
                    <a:pt x="225874" y="212967"/>
                    <a:pt x="225874" y="174246"/>
                  </a:cubicBezTo>
                  <a:cubicBezTo>
                    <a:pt x="225874" y="135525"/>
                    <a:pt x="187153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4" name="Freeform: Shape 4063">
              <a:extLst>
                <a:ext uri="{FF2B5EF4-FFF2-40B4-BE49-F238E27FC236}">
                  <a16:creationId xmlns:a16="http://schemas.microsoft.com/office/drawing/2014/main" id="{D822EDE8-877D-45D4-AA7B-8D6A0F8F271A}"/>
                </a:ext>
              </a:extLst>
            </p:cNvPr>
            <p:cNvSpPr/>
            <p:nvPr/>
          </p:nvSpPr>
          <p:spPr>
            <a:xfrm>
              <a:off x="5965764" y="6415991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2 h 258141"/>
                <a:gd name="connsiteX2" fmla="*/ 187153 w 258141"/>
                <a:gd name="connsiteY2" fmla="*/ 96803 h 258141"/>
                <a:gd name="connsiteX3" fmla="*/ 277502 w 258141"/>
                <a:gd name="connsiteY3" fmla="*/ 187152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2 h 258141"/>
                <a:gd name="connsiteX7" fmla="*/ 187153 w 258141"/>
                <a:gd name="connsiteY7" fmla="*/ 277502 h 258141"/>
                <a:gd name="connsiteX8" fmla="*/ 277502 w 258141"/>
                <a:gd name="connsiteY8" fmla="*/ 187152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0"/>
                    <a:pt x="96803" y="187152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2"/>
                  </a:cubicBezTo>
                  <a:cubicBezTo>
                    <a:pt x="277502" y="238780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2"/>
                  </a:cubicBezTo>
                  <a:cubicBezTo>
                    <a:pt x="96803" y="238780"/>
                    <a:pt x="135524" y="277502"/>
                    <a:pt x="187153" y="277502"/>
                  </a:cubicBezTo>
                  <a:cubicBezTo>
                    <a:pt x="238781" y="277502"/>
                    <a:pt x="277502" y="238780"/>
                    <a:pt x="277502" y="187152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5" name="Freeform: Shape 4064">
              <a:extLst>
                <a:ext uri="{FF2B5EF4-FFF2-40B4-BE49-F238E27FC236}">
                  <a16:creationId xmlns:a16="http://schemas.microsoft.com/office/drawing/2014/main" id="{DD51AB52-D0AD-4782-9365-B7697CC3F9CC}"/>
                </a:ext>
              </a:extLst>
            </p:cNvPr>
            <p:cNvSpPr/>
            <p:nvPr/>
          </p:nvSpPr>
          <p:spPr>
            <a:xfrm>
              <a:off x="4868663" y="8352050"/>
              <a:ext cx="258141" cy="258141"/>
            </a:xfrm>
            <a:custGeom>
              <a:avLst/>
              <a:gdLst>
                <a:gd name="connsiteX0" fmla="*/ 174245 w 258141"/>
                <a:gd name="connsiteY0" fmla="*/ 135524 h 258141"/>
                <a:gd name="connsiteX1" fmla="*/ 135524 w 258141"/>
                <a:gd name="connsiteY1" fmla="*/ 174245 h 258141"/>
                <a:gd name="connsiteX2" fmla="*/ 96803 w 258141"/>
                <a:gd name="connsiteY2" fmla="*/ 135524 h 258141"/>
                <a:gd name="connsiteX3" fmla="*/ 135524 w 258141"/>
                <a:gd name="connsiteY3" fmla="*/ 96803 h 258141"/>
                <a:gd name="connsiteX4" fmla="*/ 174245 w 258141"/>
                <a:gd name="connsiteY4" fmla="*/ 135524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5" y="135524"/>
                  </a:moveTo>
                  <a:cubicBezTo>
                    <a:pt x="174245" y="161338"/>
                    <a:pt x="148431" y="174245"/>
                    <a:pt x="135524" y="174245"/>
                  </a:cubicBezTo>
                  <a:cubicBezTo>
                    <a:pt x="122617" y="174245"/>
                    <a:pt x="96803" y="148431"/>
                    <a:pt x="96803" y="135524"/>
                  </a:cubicBezTo>
                  <a:cubicBezTo>
                    <a:pt x="96803" y="122617"/>
                    <a:pt x="122617" y="96803"/>
                    <a:pt x="135524" y="96803"/>
                  </a:cubicBezTo>
                  <a:cubicBezTo>
                    <a:pt x="148431" y="96803"/>
                    <a:pt x="174245" y="109710"/>
                    <a:pt x="174245" y="1355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6" name="Freeform: Shape 4065">
              <a:extLst>
                <a:ext uri="{FF2B5EF4-FFF2-40B4-BE49-F238E27FC236}">
                  <a16:creationId xmlns:a16="http://schemas.microsoft.com/office/drawing/2014/main" id="{E5CE7522-C2D4-49B9-9B61-BD8C145D69CD}"/>
                </a:ext>
              </a:extLst>
            </p:cNvPr>
            <p:cNvSpPr/>
            <p:nvPr/>
          </p:nvSpPr>
          <p:spPr>
            <a:xfrm>
              <a:off x="4829942" y="8326236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96803 h 258141"/>
                <a:gd name="connsiteX6" fmla="*/ 96803 w 258141"/>
                <a:gd name="connsiteY6" fmla="*/ 161338 h 258141"/>
                <a:gd name="connsiteX7" fmla="*/ 161338 w 258141"/>
                <a:gd name="connsiteY7" fmla="*/ 225874 h 258141"/>
                <a:gd name="connsiteX8" fmla="*/ 225874 w 258141"/>
                <a:gd name="connsiteY8" fmla="*/ 161338 h 258141"/>
                <a:gd name="connsiteX9" fmla="*/ 161338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96803"/>
                  </a:moveTo>
                  <a:cubicBezTo>
                    <a:pt x="122617" y="96803"/>
                    <a:pt x="96803" y="122617"/>
                    <a:pt x="96803" y="161338"/>
                  </a:cubicBezTo>
                  <a:cubicBezTo>
                    <a:pt x="96803" y="200059"/>
                    <a:pt x="122617" y="225874"/>
                    <a:pt x="161338" y="225874"/>
                  </a:cubicBezTo>
                  <a:cubicBezTo>
                    <a:pt x="200059" y="225874"/>
                    <a:pt x="225874" y="200059"/>
                    <a:pt x="225874" y="161338"/>
                  </a:cubicBezTo>
                  <a:cubicBezTo>
                    <a:pt x="225874" y="122617"/>
                    <a:pt x="200059" y="96803"/>
                    <a:pt x="161338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7" name="Freeform: Shape 4066">
              <a:extLst>
                <a:ext uri="{FF2B5EF4-FFF2-40B4-BE49-F238E27FC236}">
                  <a16:creationId xmlns:a16="http://schemas.microsoft.com/office/drawing/2014/main" id="{7B73BF4A-77AC-4245-8B5A-B83EBFF35E20}"/>
                </a:ext>
              </a:extLst>
            </p:cNvPr>
            <p:cNvSpPr/>
            <p:nvPr/>
          </p:nvSpPr>
          <p:spPr>
            <a:xfrm>
              <a:off x="4804128" y="8300422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0"/>
                    <a:pt x="96803" y="187153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90409" y="238780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3"/>
                  </a:cubicBezTo>
                  <a:cubicBezTo>
                    <a:pt x="96803" y="238780"/>
                    <a:pt x="135524" y="277502"/>
                    <a:pt x="187153" y="277502"/>
                  </a:cubicBezTo>
                  <a:cubicBezTo>
                    <a:pt x="238781" y="277502"/>
                    <a:pt x="277502" y="238780"/>
                    <a:pt x="277502" y="187153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8" name="Freeform: Shape 4067">
              <a:extLst>
                <a:ext uri="{FF2B5EF4-FFF2-40B4-BE49-F238E27FC236}">
                  <a16:creationId xmlns:a16="http://schemas.microsoft.com/office/drawing/2014/main" id="{B4441548-8F24-4C0B-8702-5EDD76155897}"/>
                </a:ext>
              </a:extLst>
            </p:cNvPr>
            <p:cNvSpPr/>
            <p:nvPr/>
          </p:nvSpPr>
          <p:spPr>
            <a:xfrm>
              <a:off x="5333317" y="7797046"/>
              <a:ext cx="258141" cy="258141"/>
            </a:xfrm>
            <a:custGeom>
              <a:avLst/>
              <a:gdLst>
                <a:gd name="connsiteX0" fmla="*/ 174246 w 258141"/>
                <a:gd name="connsiteY0" fmla="*/ 135525 h 258141"/>
                <a:gd name="connsiteX1" fmla="*/ 135525 w 258141"/>
                <a:gd name="connsiteY1" fmla="*/ 174246 h 258141"/>
                <a:gd name="connsiteX2" fmla="*/ 96803 w 258141"/>
                <a:gd name="connsiteY2" fmla="*/ 135525 h 258141"/>
                <a:gd name="connsiteX3" fmla="*/ 135525 w 258141"/>
                <a:gd name="connsiteY3" fmla="*/ 96803 h 258141"/>
                <a:gd name="connsiteX4" fmla="*/ 174246 w 258141"/>
                <a:gd name="connsiteY4" fmla="*/ 135525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174246" y="135525"/>
                  </a:moveTo>
                  <a:cubicBezTo>
                    <a:pt x="174246" y="161338"/>
                    <a:pt x="148431" y="174246"/>
                    <a:pt x="135525" y="174246"/>
                  </a:cubicBezTo>
                  <a:cubicBezTo>
                    <a:pt x="109710" y="174246"/>
                    <a:pt x="96803" y="148431"/>
                    <a:pt x="96803" y="135525"/>
                  </a:cubicBezTo>
                  <a:cubicBezTo>
                    <a:pt x="96803" y="109710"/>
                    <a:pt x="122617" y="96803"/>
                    <a:pt x="135525" y="96803"/>
                  </a:cubicBezTo>
                  <a:cubicBezTo>
                    <a:pt x="148431" y="96803"/>
                    <a:pt x="174246" y="109710"/>
                    <a:pt x="174246" y="135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69" name="Freeform: Shape 4068">
              <a:extLst>
                <a:ext uri="{FF2B5EF4-FFF2-40B4-BE49-F238E27FC236}">
                  <a16:creationId xmlns:a16="http://schemas.microsoft.com/office/drawing/2014/main" id="{C461DF4E-98D4-4F5D-A2E6-AEBC74AA504A}"/>
                </a:ext>
              </a:extLst>
            </p:cNvPr>
            <p:cNvSpPr/>
            <p:nvPr/>
          </p:nvSpPr>
          <p:spPr>
            <a:xfrm>
              <a:off x="5294596" y="7771232"/>
              <a:ext cx="258141" cy="258141"/>
            </a:xfrm>
            <a:custGeom>
              <a:avLst/>
              <a:gdLst>
                <a:gd name="connsiteX0" fmla="*/ 161338 w 258141"/>
                <a:gd name="connsiteY0" fmla="*/ 225874 h 258141"/>
                <a:gd name="connsiteX1" fmla="*/ 96803 w 258141"/>
                <a:gd name="connsiteY1" fmla="*/ 161338 h 258141"/>
                <a:gd name="connsiteX2" fmla="*/ 161338 w 258141"/>
                <a:gd name="connsiteY2" fmla="*/ 96803 h 258141"/>
                <a:gd name="connsiteX3" fmla="*/ 225874 w 258141"/>
                <a:gd name="connsiteY3" fmla="*/ 161338 h 258141"/>
                <a:gd name="connsiteX4" fmla="*/ 161338 w 258141"/>
                <a:gd name="connsiteY4" fmla="*/ 225874 h 258141"/>
                <a:gd name="connsiteX5" fmla="*/ 161338 w 258141"/>
                <a:gd name="connsiteY5" fmla="*/ 109710 h 258141"/>
                <a:gd name="connsiteX6" fmla="*/ 96803 w 258141"/>
                <a:gd name="connsiteY6" fmla="*/ 174245 h 258141"/>
                <a:gd name="connsiteX7" fmla="*/ 161338 w 258141"/>
                <a:gd name="connsiteY7" fmla="*/ 238780 h 258141"/>
                <a:gd name="connsiteX8" fmla="*/ 225874 w 258141"/>
                <a:gd name="connsiteY8" fmla="*/ 174245 h 258141"/>
                <a:gd name="connsiteX9" fmla="*/ 161338 w 258141"/>
                <a:gd name="connsiteY9" fmla="*/ 10971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61338" y="225874"/>
                  </a:move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ubicBezTo>
                    <a:pt x="225874" y="200059"/>
                    <a:pt x="200059" y="225874"/>
                    <a:pt x="161338" y="225874"/>
                  </a:cubicBezTo>
                  <a:close/>
                  <a:moveTo>
                    <a:pt x="161338" y="109710"/>
                  </a:moveTo>
                  <a:cubicBezTo>
                    <a:pt x="122617" y="109710"/>
                    <a:pt x="96803" y="135524"/>
                    <a:pt x="96803" y="174245"/>
                  </a:cubicBezTo>
                  <a:cubicBezTo>
                    <a:pt x="96803" y="212966"/>
                    <a:pt x="122617" y="238780"/>
                    <a:pt x="161338" y="238780"/>
                  </a:cubicBezTo>
                  <a:cubicBezTo>
                    <a:pt x="200059" y="238780"/>
                    <a:pt x="225874" y="212966"/>
                    <a:pt x="225874" y="174245"/>
                  </a:cubicBezTo>
                  <a:cubicBezTo>
                    <a:pt x="225874" y="135524"/>
                    <a:pt x="200059" y="109710"/>
                    <a:pt x="161338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0" name="Freeform: Shape 4069">
              <a:extLst>
                <a:ext uri="{FF2B5EF4-FFF2-40B4-BE49-F238E27FC236}">
                  <a16:creationId xmlns:a16="http://schemas.microsoft.com/office/drawing/2014/main" id="{B552D50F-2AD3-49DF-8F4B-AFB7C73D61F1}"/>
                </a:ext>
              </a:extLst>
            </p:cNvPr>
            <p:cNvSpPr/>
            <p:nvPr/>
          </p:nvSpPr>
          <p:spPr>
            <a:xfrm>
              <a:off x="5268782" y="7745418"/>
              <a:ext cx="258141" cy="387212"/>
            </a:xfrm>
            <a:custGeom>
              <a:avLst/>
              <a:gdLst>
                <a:gd name="connsiteX0" fmla="*/ 187153 w 258141"/>
                <a:gd name="connsiteY0" fmla="*/ 290409 h 387211"/>
                <a:gd name="connsiteX1" fmla="*/ 96803 w 258141"/>
                <a:gd name="connsiteY1" fmla="*/ 200059 h 387211"/>
                <a:gd name="connsiteX2" fmla="*/ 187153 w 258141"/>
                <a:gd name="connsiteY2" fmla="*/ 109710 h 387211"/>
                <a:gd name="connsiteX3" fmla="*/ 277502 w 258141"/>
                <a:gd name="connsiteY3" fmla="*/ 200059 h 387211"/>
                <a:gd name="connsiteX4" fmla="*/ 187153 w 258141"/>
                <a:gd name="connsiteY4" fmla="*/ 290409 h 387211"/>
                <a:gd name="connsiteX5" fmla="*/ 187153 w 258141"/>
                <a:gd name="connsiteY5" fmla="*/ 96803 h 387211"/>
                <a:gd name="connsiteX6" fmla="*/ 96803 w 258141"/>
                <a:gd name="connsiteY6" fmla="*/ 187153 h 387211"/>
                <a:gd name="connsiteX7" fmla="*/ 187153 w 258141"/>
                <a:gd name="connsiteY7" fmla="*/ 277502 h 387211"/>
                <a:gd name="connsiteX8" fmla="*/ 277502 w 258141"/>
                <a:gd name="connsiteY8" fmla="*/ 187153 h 387211"/>
                <a:gd name="connsiteX9" fmla="*/ 187153 w 25814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387211">
                  <a:moveTo>
                    <a:pt x="187153" y="290409"/>
                  </a:moveTo>
                  <a:cubicBezTo>
                    <a:pt x="135525" y="290409"/>
                    <a:pt x="96803" y="251688"/>
                    <a:pt x="96803" y="200059"/>
                  </a:cubicBezTo>
                  <a:cubicBezTo>
                    <a:pt x="96803" y="148431"/>
                    <a:pt x="135525" y="109710"/>
                    <a:pt x="187153" y="109710"/>
                  </a:cubicBezTo>
                  <a:cubicBezTo>
                    <a:pt x="238781" y="109710"/>
                    <a:pt x="277502" y="148431"/>
                    <a:pt x="277502" y="200059"/>
                  </a:cubicBezTo>
                  <a:cubicBezTo>
                    <a:pt x="277502" y="238780"/>
                    <a:pt x="238781" y="290409"/>
                    <a:pt x="187153" y="290409"/>
                  </a:cubicBezTo>
                  <a:close/>
                  <a:moveTo>
                    <a:pt x="187153" y="96803"/>
                  </a:moveTo>
                  <a:cubicBezTo>
                    <a:pt x="135525" y="96803"/>
                    <a:pt x="96803" y="135524"/>
                    <a:pt x="96803" y="187153"/>
                  </a:cubicBezTo>
                  <a:cubicBezTo>
                    <a:pt x="96803" y="238780"/>
                    <a:pt x="135525" y="277502"/>
                    <a:pt x="187153" y="277502"/>
                  </a:cubicBezTo>
                  <a:cubicBezTo>
                    <a:pt x="238781" y="277502"/>
                    <a:pt x="277502" y="238780"/>
                    <a:pt x="277502" y="187153"/>
                  </a:cubicBezTo>
                  <a:cubicBezTo>
                    <a:pt x="277502" y="148431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1" name="Freeform: Shape 4070">
              <a:extLst>
                <a:ext uri="{FF2B5EF4-FFF2-40B4-BE49-F238E27FC236}">
                  <a16:creationId xmlns:a16="http://schemas.microsoft.com/office/drawing/2014/main" id="{3E892CF8-E217-4CDC-9EA5-C6026B6C3225}"/>
                </a:ext>
              </a:extLst>
            </p:cNvPr>
            <p:cNvSpPr/>
            <p:nvPr/>
          </p:nvSpPr>
          <p:spPr>
            <a:xfrm>
              <a:off x="14845825" y="2053403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59" y="225874"/>
                    <a:pt x="161338" y="225874"/>
                  </a:cubicBez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2" name="Freeform: Shape 4071">
              <a:extLst>
                <a:ext uri="{FF2B5EF4-FFF2-40B4-BE49-F238E27FC236}">
                  <a16:creationId xmlns:a16="http://schemas.microsoft.com/office/drawing/2014/main" id="{AEDD4735-6C21-47B7-A335-D7ADFDAE9077}"/>
                </a:ext>
              </a:extLst>
            </p:cNvPr>
            <p:cNvSpPr/>
            <p:nvPr/>
          </p:nvSpPr>
          <p:spPr>
            <a:xfrm>
              <a:off x="14807103" y="2014682"/>
              <a:ext cx="387212" cy="387212"/>
            </a:xfrm>
            <a:custGeom>
              <a:avLst/>
              <a:gdLst>
                <a:gd name="connsiteX0" fmla="*/ 200060 w 387211"/>
                <a:gd name="connsiteY0" fmla="*/ 303316 h 387211"/>
                <a:gd name="connsiteX1" fmla="*/ 96803 w 387211"/>
                <a:gd name="connsiteY1" fmla="*/ 200060 h 387211"/>
                <a:gd name="connsiteX2" fmla="*/ 200060 w 387211"/>
                <a:gd name="connsiteY2" fmla="*/ 96803 h 387211"/>
                <a:gd name="connsiteX3" fmla="*/ 303316 w 387211"/>
                <a:gd name="connsiteY3" fmla="*/ 200060 h 387211"/>
                <a:gd name="connsiteX4" fmla="*/ 200060 w 387211"/>
                <a:gd name="connsiteY4" fmla="*/ 303316 h 387211"/>
                <a:gd name="connsiteX5" fmla="*/ 200060 w 387211"/>
                <a:gd name="connsiteY5" fmla="*/ 109710 h 387211"/>
                <a:gd name="connsiteX6" fmla="*/ 96803 w 387211"/>
                <a:gd name="connsiteY6" fmla="*/ 212967 h 387211"/>
                <a:gd name="connsiteX7" fmla="*/ 200060 w 387211"/>
                <a:gd name="connsiteY7" fmla="*/ 316223 h 387211"/>
                <a:gd name="connsiteX8" fmla="*/ 303316 w 387211"/>
                <a:gd name="connsiteY8" fmla="*/ 212967 h 387211"/>
                <a:gd name="connsiteX9" fmla="*/ 200060 w 38721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60" y="303316"/>
                  </a:moveTo>
                  <a:cubicBezTo>
                    <a:pt x="148431" y="303316"/>
                    <a:pt x="96803" y="251688"/>
                    <a:pt x="96803" y="200060"/>
                  </a:cubicBezTo>
                  <a:cubicBezTo>
                    <a:pt x="96803" y="148431"/>
                    <a:pt x="148431" y="96803"/>
                    <a:pt x="200060" y="96803"/>
                  </a:cubicBezTo>
                  <a:cubicBezTo>
                    <a:pt x="251687" y="96803"/>
                    <a:pt x="303316" y="148431"/>
                    <a:pt x="303316" y="200060"/>
                  </a:cubicBezTo>
                  <a:cubicBezTo>
                    <a:pt x="303316" y="264595"/>
                    <a:pt x="251687" y="303316"/>
                    <a:pt x="200060" y="303316"/>
                  </a:cubicBezTo>
                  <a:close/>
                  <a:moveTo>
                    <a:pt x="200060" y="109710"/>
                  </a:moveTo>
                  <a:cubicBezTo>
                    <a:pt x="148431" y="109710"/>
                    <a:pt x="96803" y="148431"/>
                    <a:pt x="96803" y="212967"/>
                  </a:cubicBezTo>
                  <a:cubicBezTo>
                    <a:pt x="96803" y="264595"/>
                    <a:pt x="135525" y="316223"/>
                    <a:pt x="200060" y="316223"/>
                  </a:cubicBezTo>
                  <a:cubicBezTo>
                    <a:pt x="264595" y="316223"/>
                    <a:pt x="303316" y="277502"/>
                    <a:pt x="303316" y="212967"/>
                  </a:cubicBezTo>
                  <a:cubicBezTo>
                    <a:pt x="290409" y="148431"/>
                    <a:pt x="251687" y="109710"/>
                    <a:pt x="200060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3" name="Freeform: Shape 4072">
              <a:extLst>
                <a:ext uri="{FF2B5EF4-FFF2-40B4-BE49-F238E27FC236}">
                  <a16:creationId xmlns:a16="http://schemas.microsoft.com/office/drawing/2014/main" id="{9E729DCE-6692-4443-B554-CF80934AF52C}"/>
                </a:ext>
              </a:extLst>
            </p:cNvPr>
            <p:cNvSpPr/>
            <p:nvPr/>
          </p:nvSpPr>
          <p:spPr>
            <a:xfrm>
              <a:off x="14768381" y="1975961"/>
              <a:ext cx="387212" cy="387212"/>
            </a:xfrm>
            <a:custGeom>
              <a:avLst/>
              <a:gdLst>
                <a:gd name="connsiteX0" fmla="*/ 238781 w 387211"/>
                <a:gd name="connsiteY0" fmla="*/ 393665 h 387211"/>
                <a:gd name="connsiteX1" fmla="*/ 96803 w 387211"/>
                <a:gd name="connsiteY1" fmla="*/ 251688 h 387211"/>
                <a:gd name="connsiteX2" fmla="*/ 238781 w 387211"/>
                <a:gd name="connsiteY2" fmla="*/ 109710 h 387211"/>
                <a:gd name="connsiteX3" fmla="*/ 380759 w 387211"/>
                <a:gd name="connsiteY3" fmla="*/ 251688 h 387211"/>
                <a:gd name="connsiteX4" fmla="*/ 238781 w 387211"/>
                <a:gd name="connsiteY4" fmla="*/ 393665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8 h 387211"/>
                <a:gd name="connsiteX8" fmla="*/ 380759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93665"/>
                  </a:moveTo>
                  <a:cubicBezTo>
                    <a:pt x="161338" y="393665"/>
                    <a:pt x="96803" y="329130"/>
                    <a:pt x="96803" y="251688"/>
                  </a:cubicBezTo>
                  <a:cubicBezTo>
                    <a:pt x="96803" y="174245"/>
                    <a:pt x="161338" y="109710"/>
                    <a:pt x="238781" y="109710"/>
                  </a:cubicBezTo>
                  <a:cubicBezTo>
                    <a:pt x="316224" y="109710"/>
                    <a:pt x="380759" y="174245"/>
                    <a:pt x="380759" y="251688"/>
                  </a:cubicBezTo>
                  <a:cubicBezTo>
                    <a:pt x="380759" y="329130"/>
                    <a:pt x="316224" y="393665"/>
                    <a:pt x="238781" y="393665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8"/>
                    <a:pt x="238781" y="380758"/>
                  </a:cubicBezTo>
                  <a:cubicBezTo>
                    <a:pt x="316224" y="380758"/>
                    <a:pt x="380759" y="316223"/>
                    <a:pt x="380759" y="238781"/>
                  </a:cubicBezTo>
                  <a:cubicBezTo>
                    <a:pt x="380759" y="161338"/>
                    <a:pt x="316224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4" name="Freeform: Shape 4073">
              <a:extLst>
                <a:ext uri="{FF2B5EF4-FFF2-40B4-BE49-F238E27FC236}">
                  <a16:creationId xmlns:a16="http://schemas.microsoft.com/office/drawing/2014/main" id="{E5BED8D0-E280-41E1-A54A-CC541E4BC59D}"/>
                </a:ext>
              </a:extLst>
            </p:cNvPr>
            <p:cNvSpPr/>
            <p:nvPr/>
          </p:nvSpPr>
          <p:spPr>
            <a:xfrm>
              <a:off x="9127994" y="5009121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60" y="225874"/>
                    <a:pt x="161338" y="225874"/>
                  </a:cubicBez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35524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5" name="Freeform: Shape 4074">
              <a:extLst>
                <a:ext uri="{FF2B5EF4-FFF2-40B4-BE49-F238E27FC236}">
                  <a16:creationId xmlns:a16="http://schemas.microsoft.com/office/drawing/2014/main" id="{E24C2C5B-D97C-48CF-A9C4-8C05EEE4066E}"/>
                </a:ext>
              </a:extLst>
            </p:cNvPr>
            <p:cNvSpPr/>
            <p:nvPr/>
          </p:nvSpPr>
          <p:spPr>
            <a:xfrm>
              <a:off x="9089273" y="4970399"/>
              <a:ext cx="387212" cy="387212"/>
            </a:xfrm>
            <a:custGeom>
              <a:avLst/>
              <a:gdLst>
                <a:gd name="connsiteX0" fmla="*/ 200060 w 387211"/>
                <a:gd name="connsiteY0" fmla="*/ 303316 h 387211"/>
                <a:gd name="connsiteX1" fmla="*/ 96803 w 387211"/>
                <a:gd name="connsiteY1" fmla="*/ 200059 h 387211"/>
                <a:gd name="connsiteX2" fmla="*/ 200060 w 387211"/>
                <a:gd name="connsiteY2" fmla="*/ 96803 h 387211"/>
                <a:gd name="connsiteX3" fmla="*/ 303317 w 387211"/>
                <a:gd name="connsiteY3" fmla="*/ 200059 h 387211"/>
                <a:gd name="connsiteX4" fmla="*/ 200060 w 387211"/>
                <a:gd name="connsiteY4" fmla="*/ 303316 h 387211"/>
                <a:gd name="connsiteX5" fmla="*/ 200060 w 387211"/>
                <a:gd name="connsiteY5" fmla="*/ 109710 h 387211"/>
                <a:gd name="connsiteX6" fmla="*/ 96803 w 387211"/>
                <a:gd name="connsiteY6" fmla="*/ 212967 h 387211"/>
                <a:gd name="connsiteX7" fmla="*/ 200060 w 387211"/>
                <a:gd name="connsiteY7" fmla="*/ 316223 h 387211"/>
                <a:gd name="connsiteX8" fmla="*/ 303317 w 387211"/>
                <a:gd name="connsiteY8" fmla="*/ 212967 h 387211"/>
                <a:gd name="connsiteX9" fmla="*/ 200060 w 38721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60" y="303316"/>
                  </a:moveTo>
                  <a:cubicBezTo>
                    <a:pt x="148431" y="303316"/>
                    <a:pt x="96803" y="251688"/>
                    <a:pt x="96803" y="200059"/>
                  </a:cubicBezTo>
                  <a:cubicBezTo>
                    <a:pt x="96803" y="148431"/>
                    <a:pt x="148431" y="96803"/>
                    <a:pt x="200060" y="96803"/>
                  </a:cubicBezTo>
                  <a:cubicBezTo>
                    <a:pt x="251688" y="96803"/>
                    <a:pt x="303317" y="148431"/>
                    <a:pt x="303317" y="200059"/>
                  </a:cubicBezTo>
                  <a:cubicBezTo>
                    <a:pt x="303317" y="264595"/>
                    <a:pt x="264595" y="303316"/>
                    <a:pt x="200060" y="303316"/>
                  </a:cubicBezTo>
                  <a:close/>
                  <a:moveTo>
                    <a:pt x="200060" y="109710"/>
                  </a:moveTo>
                  <a:cubicBezTo>
                    <a:pt x="148431" y="109710"/>
                    <a:pt x="96803" y="148431"/>
                    <a:pt x="96803" y="212967"/>
                  </a:cubicBezTo>
                  <a:cubicBezTo>
                    <a:pt x="96803" y="264595"/>
                    <a:pt x="135525" y="316223"/>
                    <a:pt x="200060" y="316223"/>
                  </a:cubicBezTo>
                  <a:cubicBezTo>
                    <a:pt x="251688" y="316223"/>
                    <a:pt x="303317" y="277502"/>
                    <a:pt x="303317" y="212967"/>
                  </a:cubicBezTo>
                  <a:cubicBezTo>
                    <a:pt x="303317" y="148431"/>
                    <a:pt x="251688" y="109710"/>
                    <a:pt x="200060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6" name="Freeform: Shape 4075">
              <a:extLst>
                <a:ext uri="{FF2B5EF4-FFF2-40B4-BE49-F238E27FC236}">
                  <a16:creationId xmlns:a16="http://schemas.microsoft.com/office/drawing/2014/main" id="{7E817B49-8B8F-4106-A9C8-3290C1459508}"/>
                </a:ext>
              </a:extLst>
            </p:cNvPr>
            <p:cNvSpPr/>
            <p:nvPr/>
          </p:nvSpPr>
          <p:spPr>
            <a:xfrm>
              <a:off x="9050552" y="4931678"/>
              <a:ext cx="387212" cy="387212"/>
            </a:xfrm>
            <a:custGeom>
              <a:avLst/>
              <a:gdLst>
                <a:gd name="connsiteX0" fmla="*/ 238781 w 387211"/>
                <a:gd name="connsiteY0" fmla="*/ 393666 h 387211"/>
                <a:gd name="connsiteX1" fmla="*/ 96803 w 387211"/>
                <a:gd name="connsiteY1" fmla="*/ 251688 h 387211"/>
                <a:gd name="connsiteX2" fmla="*/ 238781 w 387211"/>
                <a:gd name="connsiteY2" fmla="*/ 109710 h 387211"/>
                <a:gd name="connsiteX3" fmla="*/ 380758 w 387211"/>
                <a:gd name="connsiteY3" fmla="*/ 251688 h 387211"/>
                <a:gd name="connsiteX4" fmla="*/ 238781 w 387211"/>
                <a:gd name="connsiteY4" fmla="*/ 393666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8 h 387211"/>
                <a:gd name="connsiteX8" fmla="*/ 380758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93666"/>
                  </a:moveTo>
                  <a:cubicBezTo>
                    <a:pt x="161338" y="393666"/>
                    <a:pt x="96803" y="329130"/>
                    <a:pt x="96803" y="251688"/>
                  </a:cubicBezTo>
                  <a:cubicBezTo>
                    <a:pt x="96803" y="174245"/>
                    <a:pt x="161338" y="109710"/>
                    <a:pt x="238781" y="109710"/>
                  </a:cubicBezTo>
                  <a:cubicBezTo>
                    <a:pt x="316223" y="109710"/>
                    <a:pt x="380758" y="174245"/>
                    <a:pt x="380758" y="251688"/>
                  </a:cubicBezTo>
                  <a:cubicBezTo>
                    <a:pt x="380758" y="329130"/>
                    <a:pt x="316223" y="393666"/>
                    <a:pt x="238781" y="393666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8"/>
                    <a:pt x="238781" y="380758"/>
                  </a:cubicBezTo>
                  <a:cubicBezTo>
                    <a:pt x="316223" y="380758"/>
                    <a:pt x="380758" y="316223"/>
                    <a:pt x="380758" y="238781"/>
                  </a:cubicBezTo>
                  <a:cubicBezTo>
                    <a:pt x="380758" y="161338"/>
                    <a:pt x="316223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7" name="Freeform: Shape 4076">
              <a:extLst>
                <a:ext uri="{FF2B5EF4-FFF2-40B4-BE49-F238E27FC236}">
                  <a16:creationId xmlns:a16="http://schemas.microsoft.com/office/drawing/2014/main" id="{82458B9B-41EE-4515-AB0D-44B28EA28A07}"/>
                </a:ext>
              </a:extLst>
            </p:cNvPr>
            <p:cNvSpPr/>
            <p:nvPr/>
          </p:nvSpPr>
          <p:spPr>
            <a:xfrm>
              <a:off x="9424857" y="3008526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60"/>
                    <a:pt x="200059" y="225874"/>
                    <a:pt x="161338" y="225874"/>
                  </a:cubicBezTo>
                  <a:cubicBezTo>
                    <a:pt x="122617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8" name="Freeform: Shape 4077">
              <a:extLst>
                <a:ext uri="{FF2B5EF4-FFF2-40B4-BE49-F238E27FC236}">
                  <a16:creationId xmlns:a16="http://schemas.microsoft.com/office/drawing/2014/main" id="{86531926-602E-4120-AE24-D8BBFC7F6533}"/>
                </a:ext>
              </a:extLst>
            </p:cNvPr>
            <p:cNvSpPr/>
            <p:nvPr/>
          </p:nvSpPr>
          <p:spPr>
            <a:xfrm>
              <a:off x="9386136" y="2969804"/>
              <a:ext cx="387212" cy="387212"/>
            </a:xfrm>
            <a:custGeom>
              <a:avLst/>
              <a:gdLst>
                <a:gd name="connsiteX0" fmla="*/ 200060 w 387211"/>
                <a:gd name="connsiteY0" fmla="*/ 303316 h 387211"/>
                <a:gd name="connsiteX1" fmla="*/ 96803 w 387211"/>
                <a:gd name="connsiteY1" fmla="*/ 200060 h 387211"/>
                <a:gd name="connsiteX2" fmla="*/ 200060 w 387211"/>
                <a:gd name="connsiteY2" fmla="*/ 96803 h 387211"/>
                <a:gd name="connsiteX3" fmla="*/ 303316 w 387211"/>
                <a:gd name="connsiteY3" fmla="*/ 200060 h 387211"/>
                <a:gd name="connsiteX4" fmla="*/ 200060 w 387211"/>
                <a:gd name="connsiteY4" fmla="*/ 303316 h 387211"/>
                <a:gd name="connsiteX5" fmla="*/ 200060 w 387211"/>
                <a:gd name="connsiteY5" fmla="*/ 96803 h 387211"/>
                <a:gd name="connsiteX6" fmla="*/ 96803 w 387211"/>
                <a:gd name="connsiteY6" fmla="*/ 200060 h 387211"/>
                <a:gd name="connsiteX7" fmla="*/ 200060 w 387211"/>
                <a:gd name="connsiteY7" fmla="*/ 303316 h 387211"/>
                <a:gd name="connsiteX8" fmla="*/ 303316 w 387211"/>
                <a:gd name="connsiteY8" fmla="*/ 200060 h 387211"/>
                <a:gd name="connsiteX9" fmla="*/ 200060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60" y="303316"/>
                  </a:moveTo>
                  <a:cubicBezTo>
                    <a:pt x="148431" y="303316"/>
                    <a:pt x="96803" y="251688"/>
                    <a:pt x="96803" y="200060"/>
                  </a:cubicBezTo>
                  <a:cubicBezTo>
                    <a:pt x="96803" y="148431"/>
                    <a:pt x="148431" y="96803"/>
                    <a:pt x="200060" y="96803"/>
                  </a:cubicBezTo>
                  <a:cubicBezTo>
                    <a:pt x="251687" y="96803"/>
                    <a:pt x="303316" y="148431"/>
                    <a:pt x="303316" y="200060"/>
                  </a:cubicBezTo>
                  <a:cubicBezTo>
                    <a:pt x="303316" y="251688"/>
                    <a:pt x="251687" y="303316"/>
                    <a:pt x="200060" y="303316"/>
                  </a:cubicBezTo>
                  <a:close/>
                  <a:moveTo>
                    <a:pt x="200060" y="96803"/>
                  </a:moveTo>
                  <a:cubicBezTo>
                    <a:pt x="148431" y="96803"/>
                    <a:pt x="96803" y="135524"/>
                    <a:pt x="96803" y="200060"/>
                  </a:cubicBezTo>
                  <a:cubicBezTo>
                    <a:pt x="96803" y="251688"/>
                    <a:pt x="135525" y="303316"/>
                    <a:pt x="200060" y="303316"/>
                  </a:cubicBezTo>
                  <a:cubicBezTo>
                    <a:pt x="251687" y="303316"/>
                    <a:pt x="303316" y="264595"/>
                    <a:pt x="303316" y="200060"/>
                  </a:cubicBezTo>
                  <a:cubicBezTo>
                    <a:pt x="290409" y="135524"/>
                    <a:pt x="251687" y="96803"/>
                    <a:pt x="200060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79" name="Freeform: Shape 4078">
              <a:extLst>
                <a:ext uri="{FF2B5EF4-FFF2-40B4-BE49-F238E27FC236}">
                  <a16:creationId xmlns:a16="http://schemas.microsoft.com/office/drawing/2014/main" id="{D235FFA1-CECB-45D3-86CF-51AA6DEEF2D2}"/>
                </a:ext>
              </a:extLst>
            </p:cNvPr>
            <p:cNvSpPr/>
            <p:nvPr/>
          </p:nvSpPr>
          <p:spPr>
            <a:xfrm>
              <a:off x="9347414" y="2931083"/>
              <a:ext cx="387212" cy="387212"/>
            </a:xfrm>
            <a:custGeom>
              <a:avLst/>
              <a:gdLst>
                <a:gd name="connsiteX0" fmla="*/ 238781 w 387211"/>
                <a:gd name="connsiteY0" fmla="*/ 380759 h 387211"/>
                <a:gd name="connsiteX1" fmla="*/ 96803 w 387211"/>
                <a:gd name="connsiteY1" fmla="*/ 238781 h 387211"/>
                <a:gd name="connsiteX2" fmla="*/ 238781 w 387211"/>
                <a:gd name="connsiteY2" fmla="*/ 96803 h 387211"/>
                <a:gd name="connsiteX3" fmla="*/ 380759 w 387211"/>
                <a:gd name="connsiteY3" fmla="*/ 238781 h 387211"/>
                <a:gd name="connsiteX4" fmla="*/ 238781 w 387211"/>
                <a:gd name="connsiteY4" fmla="*/ 380759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9 h 387211"/>
                <a:gd name="connsiteX8" fmla="*/ 380759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80759"/>
                  </a:moveTo>
                  <a:cubicBezTo>
                    <a:pt x="161338" y="380759"/>
                    <a:pt x="96803" y="316223"/>
                    <a:pt x="96803" y="238781"/>
                  </a:cubicBezTo>
                  <a:cubicBezTo>
                    <a:pt x="96803" y="161338"/>
                    <a:pt x="161338" y="96803"/>
                    <a:pt x="238781" y="96803"/>
                  </a:cubicBezTo>
                  <a:cubicBezTo>
                    <a:pt x="316224" y="96803"/>
                    <a:pt x="380759" y="161338"/>
                    <a:pt x="380759" y="238781"/>
                  </a:cubicBezTo>
                  <a:cubicBezTo>
                    <a:pt x="380759" y="316223"/>
                    <a:pt x="316224" y="380759"/>
                    <a:pt x="238781" y="380759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9"/>
                    <a:pt x="238781" y="380759"/>
                  </a:cubicBezTo>
                  <a:cubicBezTo>
                    <a:pt x="316224" y="380759"/>
                    <a:pt x="380759" y="316223"/>
                    <a:pt x="380759" y="238781"/>
                  </a:cubicBezTo>
                  <a:cubicBezTo>
                    <a:pt x="380759" y="161338"/>
                    <a:pt x="316224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0" name="Freeform: Shape 4079">
              <a:extLst>
                <a:ext uri="{FF2B5EF4-FFF2-40B4-BE49-F238E27FC236}">
                  <a16:creationId xmlns:a16="http://schemas.microsoft.com/office/drawing/2014/main" id="{AB651074-4539-42FF-86A7-C81070F6C3A6}"/>
                </a:ext>
              </a:extLst>
            </p:cNvPr>
            <p:cNvSpPr/>
            <p:nvPr/>
          </p:nvSpPr>
          <p:spPr>
            <a:xfrm>
              <a:off x="14832917" y="7577627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60" y="225874"/>
                    <a:pt x="161338" y="225874"/>
                  </a:cubicBezTo>
                  <a:cubicBezTo>
                    <a:pt x="122618" y="225874"/>
                    <a:pt x="96803" y="200059"/>
                    <a:pt x="96803" y="161338"/>
                  </a:cubicBezTo>
                  <a:cubicBezTo>
                    <a:pt x="96803" y="122617"/>
                    <a:pt x="122618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1" name="Freeform: Shape 4080">
              <a:extLst>
                <a:ext uri="{FF2B5EF4-FFF2-40B4-BE49-F238E27FC236}">
                  <a16:creationId xmlns:a16="http://schemas.microsoft.com/office/drawing/2014/main" id="{A0055BC3-3D3A-473D-9FC9-CD1F34254119}"/>
                </a:ext>
              </a:extLst>
            </p:cNvPr>
            <p:cNvSpPr/>
            <p:nvPr/>
          </p:nvSpPr>
          <p:spPr>
            <a:xfrm>
              <a:off x="14794196" y="7538905"/>
              <a:ext cx="387212" cy="387212"/>
            </a:xfrm>
            <a:custGeom>
              <a:avLst/>
              <a:gdLst>
                <a:gd name="connsiteX0" fmla="*/ 200059 w 387211"/>
                <a:gd name="connsiteY0" fmla="*/ 303316 h 387211"/>
                <a:gd name="connsiteX1" fmla="*/ 96803 w 387211"/>
                <a:gd name="connsiteY1" fmla="*/ 200060 h 387211"/>
                <a:gd name="connsiteX2" fmla="*/ 200059 w 387211"/>
                <a:gd name="connsiteY2" fmla="*/ 96803 h 387211"/>
                <a:gd name="connsiteX3" fmla="*/ 303316 w 387211"/>
                <a:gd name="connsiteY3" fmla="*/ 200060 h 387211"/>
                <a:gd name="connsiteX4" fmla="*/ 200059 w 387211"/>
                <a:gd name="connsiteY4" fmla="*/ 303316 h 387211"/>
                <a:gd name="connsiteX5" fmla="*/ 200059 w 387211"/>
                <a:gd name="connsiteY5" fmla="*/ 109710 h 387211"/>
                <a:gd name="connsiteX6" fmla="*/ 96803 w 387211"/>
                <a:gd name="connsiteY6" fmla="*/ 212967 h 387211"/>
                <a:gd name="connsiteX7" fmla="*/ 200059 w 387211"/>
                <a:gd name="connsiteY7" fmla="*/ 316223 h 387211"/>
                <a:gd name="connsiteX8" fmla="*/ 303316 w 387211"/>
                <a:gd name="connsiteY8" fmla="*/ 212967 h 387211"/>
                <a:gd name="connsiteX9" fmla="*/ 200059 w 38721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59" y="303316"/>
                  </a:moveTo>
                  <a:cubicBezTo>
                    <a:pt x="148431" y="303316"/>
                    <a:pt x="96803" y="251688"/>
                    <a:pt x="96803" y="200060"/>
                  </a:cubicBezTo>
                  <a:cubicBezTo>
                    <a:pt x="96803" y="148431"/>
                    <a:pt x="148431" y="96803"/>
                    <a:pt x="200059" y="96803"/>
                  </a:cubicBezTo>
                  <a:cubicBezTo>
                    <a:pt x="251687" y="96803"/>
                    <a:pt x="303316" y="148431"/>
                    <a:pt x="303316" y="200060"/>
                  </a:cubicBezTo>
                  <a:cubicBezTo>
                    <a:pt x="303316" y="264595"/>
                    <a:pt x="251687" y="303316"/>
                    <a:pt x="200059" y="303316"/>
                  </a:cubicBezTo>
                  <a:close/>
                  <a:moveTo>
                    <a:pt x="200059" y="109710"/>
                  </a:moveTo>
                  <a:cubicBezTo>
                    <a:pt x="148431" y="109710"/>
                    <a:pt x="96803" y="148431"/>
                    <a:pt x="96803" y="212967"/>
                  </a:cubicBezTo>
                  <a:cubicBezTo>
                    <a:pt x="96803" y="264595"/>
                    <a:pt x="135524" y="316223"/>
                    <a:pt x="200059" y="316223"/>
                  </a:cubicBezTo>
                  <a:cubicBezTo>
                    <a:pt x="251687" y="316223"/>
                    <a:pt x="303316" y="277502"/>
                    <a:pt x="303316" y="212967"/>
                  </a:cubicBezTo>
                  <a:cubicBezTo>
                    <a:pt x="290409" y="148431"/>
                    <a:pt x="251687" y="109710"/>
                    <a:pt x="200059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2" name="Freeform: Shape 4081">
              <a:extLst>
                <a:ext uri="{FF2B5EF4-FFF2-40B4-BE49-F238E27FC236}">
                  <a16:creationId xmlns:a16="http://schemas.microsoft.com/office/drawing/2014/main" id="{5A26A539-34BD-4688-9723-A8DAE00AFC93}"/>
                </a:ext>
              </a:extLst>
            </p:cNvPr>
            <p:cNvSpPr/>
            <p:nvPr/>
          </p:nvSpPr>
          <p:spPr>
            <a:xfrm>
              <a:off x="14755475" y="7500184"/>
              <a:ext cx="387212" cy="387212"/>
            </a:xfrm>
            <a:custGeom>
              <a:avLst/>
              <a:gdLst>
                <a:gd name="connsiteX0" fmla="*/ 238781 w 387211"/>
                <a:gd name="connsiteY0" fmla="*/ 393665 h 387211"/>
                <a:gd name="connsiteX1" fmla="*/ 96803 w 387211"/>
                <a:gd name="connsiteY1" fmla="*/ 251688 h 387211"/>
                <a:gd name="connsiteX2" fmla="*/ 238781 w 387211"/>
                <a:gd name="connsiteY2" fmla="*/ 109710 h 387211"/>
                <a:gd name="connsiteX3" fmla="*/ 380759 w 387211"/>
                <a:gd name="connsiteY3" fmla="*/ 251688 h 387211"/>
                <a:gd name="connsiteX4" fmla="*/ 238781 w 387211"/>
                <a:gd name="connsiteY4" fmla="*/ 393665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9 h 387211"/>
                <a:gd name="connsiteX8" fmla="*/ 380759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93665"/>
                  </a:moveTo>
                  <a:cubicBezTo>
                    <a:pt x="161338" y="393665"/>
                    <a:pt x="96803" y="329130"/>
                    <a:pt x="96803" y="251688"/>
                  </a:cubicBezTo>
                  <a:cubicBezTo>
                    <a:pt x="96803" y="174246"/>
                    <a:pt x="161338" y="109710"/>
                    <a:pt x="238781" y="109710"/>
                  </a:cubicBezTo>
                  <a:cubicBezTo>
                    <a:pt x="316224" y="109710"/>
                    <a:pt x="380759" y="174246"/>
                    <a:pt x="380759" y="251688"/>
                  </a:cubicBezTo>
                  <a:cubicBezTo>
                    <a:pt x="380759" y="329130"/>
                    <a:pt x="316224" y="393665"/>
                    <a:pt x="238781" y="393665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9"/>
                    <a:pt x="238781" y="380759"/>
                  </a:cubicBezTo>
                  <a:cubicBezTo>
                    <a:pt x="316224" y="380759"/>
                    <a:pt x="380759" y="316223"/>
                    <a:pt x="380759" y="238781"/>
                  </a:cubicBezTo>
                  <a:cubicBezTo>
                    <a:pt x="380759" y="161338"/>
                    <a:pt x="316224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3" name="Freeform: Shape 4082">
              <a:extLst>
                <a:ext uri="{FF2B5EF4-FFF2-40B4-BE49-F238E27FC236}">
                  <a16:creationId xmlns:a16="http://schemas.microsoft.com/office/drawing/2014/main" id="{FBE7C8FA-3626-4B90-86CC-1C455985E71A}"/>
                </a:ext>
              </a:extLst>
            </p:cNvPr>
            <p:cNvSpPr/>
            <p:nvPr/>
          </p:nvSpPr>
          <p:spPr>
            <a:xfrm>
              <a:off x="13606746" y="2141221"/>
              <a:ext cx="258141" cy="258141"/>
            </a:xfrm>
            <a:custGeom>
              <a:avLst/>
              <a:gdLst>
                <a:gd name="connsiteX0" fmla="*/ 225874 w 258141"/>
                <a:gd name="connsiteY0" fmla="*/ 163870 h 258141"/>
                <a:gd name="connsiteX1" fmla="*/ 161338 w 258141"/>
                <a:gd name="connsiteY1" fmla="*/ 228405 h 258141"/>
                <a:gd name="connsiteX2" fmla="*/ 96803 w 258141"/>
                <a:gd name="connsiteY2" fmla="*/ 163870 h 258141"/>
                <a:gd name="connsiteX3" fmla="*/ 161338 w 258141"/>
                <a:gd name="connsiteY3" fmla="*/ 99335 h 258141"/>
                <a:gd name="connsiteX4" fmla="*/ 225874 w 258141"/>
                <a:gd name="connsiteY4" fmla="*/ 16387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3870"/>
                  </a:moveTo>
                  <a:cubicBezTo>
                    <a:pt x="225874" y="202591"/>
                    <a:pt x="200060" y="228405"/>
                    <a:pt x="161338" y="228405"/>
                  </a:cubicBezTo>
                  <a:cubicBezTo>
                    <a:pt x="122618" y="228405"/>
                    <a:pt x="96803" y="202591"/>
                    <a:pt x="96803" y="163870"/>
                  </a:cubicBezTo>
                  <a:cubicBezTo>
                    <a:pt x="96803" y="125149"/>
                    <a:pt x="122618" y="99335"/>
                    <a:pt x="161338" y="99335"/>
                  </a:cubicBezTo>
                  <a:cubicBezTo>
                    <a:pt x="187153" y="86428"/>
                    <a:pt x="225874" y="125149"/>
                    <a:pt x="225874" y="163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4" name="Freeform: Shape 4083">
              <a:extLst>
                <a:ext uri="{FF2B5EF4-FFF2-40B4-BE49-F238E27FC236}">
                  <a16:creationId xmlns:a16="http://schemas.microsoft.com/office/drawing/2014/main" id="{2674D062-3A2A-486C-9149-B57BCBD19A68}"/>
                </a:ext>
              </a:extLst>
            </p:cNvPr>
            <p:cNvSpPr/>
            <p:nvPr/>
          </p:nvSpPr>
          <p:spPr>
            <a:xfrm>
              <a:off x="13555118" y="2105031"/>
              <a:ext cx="387212" cy="387212"/>
            </a:xfrm>
            <a:custGeom>
              <a:avLst/>
              <a:gdLst>
                <a:gd name="connsiteX0" fmla="*/ 200059 w 387211"/>
                <a:gd name="connsiteY0" fmla="*/ 303316 h 387211"/>
                <a:gd name="connsiteX1" fmla="*/ 96803 w 387211"/>
                <a:gd name="connsiteY1" fmla="*/ 200060 h 387211"/>
                <a:gd name="connsiteX2" fmla="*/ 200059 w 387211"/>
                <a:gd name="connsiteY2" fmla="*/ 96803 h 387211"/>
                <a:gd name="connsiteX3" fmla="*/ 303316 w 387211"/>
                <a:gd name="connsiteY3" fmla="*/ 200060 h 387211"/>
                <a:gd name="connsiteX4" fmla="*/ 200059 w 387211"/>
                <a:gd name="connsiteY4" fmla="*/ 303316 h 387211"/>
                <a:gd name="connsiteX5" fmla="*/ 200059 w 387211"/>
                <a:gd name="connsiteY5" fmla="*/ 96803 h 387211"/>
                <a:gd name="connsiteX6" fmla="*/ 96803 w 387211"/>
                <a:gd name="connsiteY6" fmla="*/ 200060 h 387211"/>
                <a:gd name="connsiteX7" fmla="*/ 200059 w 387211"/>
                <a:gd name="connsiteY7" fmla="*/ 303316 h 387211"/>
                <a:gd name="connsiteX8" fmla="*/ 303316 w 387211"/>
                <a:gd name="connsiteY8" fmla="*/ 200060 h 387211"/>
                <a:gd name="connsiteX9" fmla="*/ 200059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59" y="303316"/>
                  </a:moveTo>
                  <a:cubicBezTo>
                    <a:pt x="148430" y="303316"/>
                    <a:pt x="96803" y="251688"/>
                    <a:pt x="96803" y="200060"/>
                  </a:cubicBezTo>
                  <a:cubicBezTo>
                    <a:pt x="96803" y="148431"/>
                    <a:pt x="148430" y="96803"/>
                    <a:pt x="200059" y="96803"/>
                  </a:cubicBezTo>
                  <a:cubicBezTo>
                    <a:pt x="251687" y="96803"/>
                    <a:pt x="303316" y="148431"/>
                    <a:pt x="303316" y="200060"/>
                  </a:cubicBezTo>
                  <a:cubicBezTo>
                    <a:pt x="303316" y="251688"/>
                    <a:pt x="264594" y="303316"/>
                    <a:pt x="200059" y="303316"/>
                  </a:cubicBezTo>
                  <a:close/>
                  <a:moveTo>
                    <a:pt x="200059" y="96803"/>
                  </a:moveTo>
                  <a:cubicBezTo>
                    <a:pt x="148430" y="96803"/>
                    <a:pt x="96803" y="135524"/>
                    <a:pt x="96803" y="200060"/>
                  </a:cubicBezTo>
                  <a:cubicBezTo>
                    <a:pt x="96803" y="251688"/>
                    <a:pt x="135524" y="303316"/>
                    <a:pt x="200059" y="303316"/>
                  </a:cubicBezTo>
                  <a:cubicBezTo>
                    <a:pt x="251687" y="303316"/>
                    <a:pt x="303316" y="264595"/>
                    <a:pt x="303316" y="200060"/>
                  </a:cubicBezTo>
                  <a:cubicBezTo>
                    <a:pt x="303316" y="135524"/>
                    <a:pt x="264594" y="96803"/>
                    <a:pt x="200059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5" name="Freeform: Shape 4084">
              <a:extLst>
                <a:ext uri="{FF2B5EF4-FFF2-40B4-BE49-F238E27FC236}">
                  <a16:creationId xmlns:a16="http://schemas.microsoft.com/office/drawing/2014/main" id="{3E50F8E3-D7E5-4F79-93DE-E23FE6F7B985}"/>
                </a:ext>
              </a:extLst>
            </p:cNvPr>
            <p:cNvSpPr/>
            <p:nvPr/>
          </p:nvSpPr>
          <p:spPr>
            <a:xfrm>
              <a:off x="13516397" y="2066310"/>
              <a:ext cx="387212" cy="387212"/>
            </a:xfrm>
            <a:custGeom>
              <a:avLst/>
              <a:gdLst>
                <a:gd name="connsiteX0" fmla="*/ 238781 w 387211"/>
                <a:gd name="connsiteY0" fmla="*/ 380758 h 387211"/>
                <a:gd name="connsiteX1" fmla="*/ 96803 w 387211"/>
                <a:gd name="connsiteY1" fmla="*/ 238781 h 387211"/>
                <a:gd name="connsiteX2" fmla="*/ 238781 w 387211"/>
                <a:gd name="connsiteY2" fmla="*/ 96803 h 387211"/>
                <a:gd name="connsiteX3" fmla="*/ 380758 w 387211"/>
                <a:gd name="connsiteY3" fmla="*/ 238781 h 387211"/>
                <a:gd name="connsiteX4" fmla="*/ 238781 w 387211"/>
                <a:gd name="connsiteY4" fmla="*/ 380758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8 h 387211"/>
                <a:gd name="connsiteX8" fmla="*/ 380758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80758"/>
                  </a:moveTo>
                  <a:cubicBezTo>
                    <a:pt x="161338" y="380758"/>
                    <a:pt x="96803" y="316223"/>
                    <a:pt x="96803" y="238781"/>
                  </a:cubicBezTo>
                  <a:cubicBezTo>
                    <a:pt x="96803" y="161338"/>
                    <a:pt x="161338" y="96803"/>
                    <a:pt x="238781" y="96803"/>
                  </a:cubicBezTo>
                  <a:cubicBezTo>
                    <a:pt x="316223" y="96803"/>
                    <a:pt x="380758" y="161338"/>
                    <a:pt x="380758" y="238781"/>
                  </a:cubicBezTo>
                  <a:cubicBezTo>
                    <a:pt x="393666" y="316223"/>
                    <a:pt x="329131" y="380758"/>
                    <a:pt x="238781" y="380758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8"/>
                    <a:pt x="238781" y="380758"/>
                  </a:cubicBezTo>
                  <a:cubicBezTo>
                    <a:pt x="316223" y="380758"/>
                    <a:pt x="380758" y="316223"/>
                    <a:pt x="380758" y="238781"/>
                  </a:cubicBezTo>
                  <a:cubicBezTo>
                    <a:pt x="380758" y="161338"/>
                    <a:pt x="316223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6" name="Freeform: Shape 4085">
              <a:extLst>
                <a:ext uri="{FF2B5EF4-FFF2-40B4-BE49-F238E27FC236}">
                  <a16:creationId xmlns:a16="http://schemas.microsoft.com/office/drawing/2014/main" id="{4A27C414-0EE5-440D-AAF6-FE34848070E5}"/>
                </a:ext>
              </a:extLst>
            </p:cNvPr>
            <p:cNvSpPr/>
            <p:nvPr/>
          </p:nvSpPr>
          <p:spPr>
            <a:xfrm>
              <a:off x="6727281" y="1614563"/>
              <a:ext cx="258141" cy="258141"/>
            </a:xfrm>
            <a:custGeom>
              <a:avLst/>
              <a:gdLst>
                <a:gd name="connsiteX0" fmla="*/ 238781 w 258141"/>
                <a:gd name="connsiteY0" fmla="*/ 161338 h 258141"/>
                <a:gd name="connsiteX1" fmla="*/ 174245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38781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38781" y="161338"/>
                  </a:moveTo>
                  <a:cubicBezTo>
                    <a:pt x="238781" y="200060"/>
                    <a:pt x="212966" y="225874"/>
                    <a:pt x="174245" y="225874"/>
                  </a:cubicBezTo>
                  <a:cubicBezTo>
                    <a:pt x="135524" y="225874"/>
                    <a:pt x="96803" y="200060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38781" y="122617"/>
                    <a:pt x="238781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7" name="Freeform: Shape 4086">
              <a:extLst>
                <a:ext uri="{FF2B5EF4-FFF2-40B4-BE49-F238E27FC236}">
                  <a16:creationId xmlns:a16="http://schemas.microsoft.com/office/drawing/2014/main" id="{75C95D9B-353A-47EC-8914-599AA007A305}"/>
                </a:ext>
              </a:extLst>
            </p:cNvPr>
            <p:cNvSpPr/>
            <p:nvPr/>
          </p:nvSpPr>
          <p:spPr>
            <a:xfrm>
              <a:off x="6701466" y="1575842"/>
              <a:ext cx="387212" cy="387212"/>
            </a:xfrm>
            <a:custGeom>
              <a:avLst/>
              <a:gdLst>
                <a:gd name="connsiteX0" fmla="*/ 200059 w 387211"/>
                <a:gd name="connsiteY0" fmla="*/ 303316 h 387211"/>
                <a:gd name="connsiteX1" fmla="*/ 96803 w 387211"/>
                <a:gd name="connsiteY1" fmla="*/ 200059 h 387211"/>
                <a:gd name="connsiteX2" fmla="*/ 200059 w 387211"/>
                <a:gd name="connsiteY2" fmla="*/ 96803 h 387211"/>
                <a:gd name="connsiteX3" fmla="*/ 303316 w 387211"/>
                <a:gd name="connsiteY3" fmla="*/ 200059 h 387211"/>
                <a:gd name="connsiteX4" fmla="*/ 200059 w 387211"/>
                <a:gd name="connsiteY4" fmla="*/ 303316 h 387211"/>
                <a:gd name="connsiteX5" fmla="*/ 200059 w 387211"/>
                <a:gd name="connsiteY5" fmla="*/ 96803 h 387211"/>
                <a:gd name="connsiteX6" fmla="*/ 96803 w 387211"/>
                <a:gd name="connsiteY6" fmla="*/ 200059 h 387211"/>
                <a:gd name="connsiteX7" fmla="*/ 200059 w 387211"/>
                <a:gd name="connsiteY7" fmla="*/ 303316 h 387211"/>
                <a:gd name="connsiteX8" fmla="*/ 303316 w 387211"/>
                <a:gd name="connsiteY8" fmla="*/ 200059 h 387211"/>
                <a:gd name="connsiteX9" fmla="*/ 200059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59" y="303316"/>
                  </a:moveTo>
                  <a:cubicBezTo>
                    <a:pt x="148431" y="303316"/>
                    <a:pt x="96803" y="251688"/>
                    <a:pt x="96803" y="200059"/>
                  </a:cubicBezTo>
                  <a:cubicBezTo>
                    <a:pt x="96803" y="148431"/>
                    <a:pt x="148431" y="96803"/>
                    <a:pt x="200059" y="96803"/>
                  </a:cubicBezTo>
                  <a:cubicBezTo>
                    <a:pt x="251688" y="96803"/>
                    <a:pt x="303316" y="148431"/>
                    <a:pt x="303316" y="200059"/>
                  </a:cubicBezTo>
                  <a:cubicBezTo>
                    <a:pt x="290409" y="251688"/>
                    <a:pt x="251688" y="303316"/>
                    <a:pt x="200059" y="303316"/>
                  </a:cubicBezTo>
                  <a:close/>
                  <a:moveTo>
                    <a:pt x="200059" y="96803"/>
                  </a:moveTo>
                  <a:cubicBezTo>
                    <a:pt x="148431" y="96803"/>
                    <a:pt x="96803" y="135524"/>
                    <a:pt x="96803" y="200059"/>
                  </a:cubicBezTo>
                  <a:cubicBezTo>
                    <a:pt x="96803" y="251688"/>
                    <a:pt x="135524" y="303316"/>
                    <a:pt x="200059" y="303316"/>
                  </a:cubicBezTo>
                  <a:cubicBezTo>
                    <a:pt x="264595" y="303316"/>
                    <a:pt x="303316" y="264595"/>
                    <a:pt x="303316" y="200059"/>
                  </a:cubicBezTo>
                  <a:cubicBezTo>
                    <a:pt x="290409" y="148431"/>
                    <a:pt x="251688" y="96803"/>
                    <a:pt x="200059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8" name="Freeform: Shape 4087">
              <a:extLst>
                <a:ext uri="{FF2B5EF4-FFF2-40B4-BE49-F238E27FC236}">
                  <a16:creationId xmlns:a16="http://schemas.microsoft.com/office/drawing/2014/main" id="{A0C8FA24-95AB-4949-AEF9-2455D3CDB6B8}"/>
                </a:ext>
              </a:extLst>
            </p:cNvPr>
            <p:cNvSpPr/>
            <p:nvPr/>
          </p:nvSpPr>
          <p:spPr>
            <a:xfrm>
              <a:off x="6662745" y="1537120"/>
              <a:ext cx="387212" cy="387212"/>
            </a:xfrm>
            <a:custGeom>
              <a:avLst/>
              <a:gdLst>
                <a:gd name="connsiteX0" fmla="*/ 238781 w 387211"/>
                <a:gd name="connsiteY0" fmla="*/ 380758 h 387211"/>
                <a:gd name="connsiteX1" fmla="*/ 96803 w 387211"/>
                <a:gd name="connsiteY1" fmla="*/ 238781 h 387211"/>
                <a:gd name="connsiteX2" fmla="*/ 238781 w 387211"/>
                <a:gd name="connsiteY2" fmla="*/ 96803 h 387211"/>
                <a:gd name="connsiteX3" fmla="*/ 380758 w 387211"/>
                <a:gd name="connsiteY3" fmla="*/ 238781 h 387211"/>
                <a:gd name="connsiteX4" fmla="*/ 238781 w 387211"/>
                <a:gd name="connsiteY4" fmla="*/ 380758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8 h 387211"/>
                <a:gd name="connsiteX8" fmla="*/ 380758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80758"/>
                  </a:moveTo>
                  <a:cubicBezTo>
                    <a:pt x="161338" y="380758"/>
                    <a:pt x="96803" y="316223"/>
                    <a:pt x="96803" y="238781"/>
                  </a:cubicBezTo>
                  <a:cubicBezTo>
                    <a:pt x="96803" y="161338"/>
                    <a:pt x="161338" y="96803"/>
                    <a:pt x="238781" y="96803"/>
                  </a:cubicBezTo>
                  <a:cubicBezTo>
                    <a:pt x="316223" y="96803"/>
                    <a:pt x="380758" y="161338"/>
                    <a:pt x="380758" y="238781"/>
                  </a:cubicBezTo>
                  <a:cubicBezTo>
                    <a:pt x="380758" y="316223"/>
                    <a:pt x="316223" y="380758"/>
                    <a:pt x="238781" y="380758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8"/>
                    <a:pt x="238781" y="380758"/>
                  </a:cubicBezTo>
                  <a:cubicBezTo>
                    <a:pt x="316223" y="380758"/>
                    <a:pt x="380758" y="316223"/>
                    <a:pt x="380758" y="238781"/>
                  </a:cubicBezTo>
                  <a:cubicBezTo>
                    <a:pt x="380758" y="161338"/>
                    <a:pt x="316223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89" name="Freeform: Shape 4088">
              <a:extLst>
                <a:ext uri="{FF2B5EF4-FFF2-40B4-BE49-F238E27FC236}">
                  <a16:creationId xmlns:a16="http://schemas.microsoft.com/office/drawing/2014/main" id="{7C600B98-77C7-482D-8D53-20695CA96AA5}"/>
                </a:ext>
              </a:extLst>
            </p:cNvPr>
            <p:cNvSpPr/>
            <p:nvPr/>
          </p:nvSpPr>
          <p:spPr>
            <a:xfrm>
              <a:off x="4068425" y="3354485"/>
              <a:ext cx="258141" cy="258141"/>
            </a:xfrm>
            <a:custGeom>
              <a:avLst/>
              <a:gdLst>
                <a:gd name="connsiteX0" fmla="*/ 225874 w 258141"/>
                <a:gd name="connsiteY0" fmla="*/ 163870 h 258141"/>
                <a:gd name="connsiteX1" fmla="*/ 161338 w 258141"/>
                <a:gd name="connsiteY1" fmla="*/ 228405 h 258141"/>
                <a:gd name="connsiteX2" fmla="*/ 96803 w 258141"/>
                <a:gd name="connsiteY2" fmla="*/ 163870 h 258141"/>
                <a:gd name="connsiteX3" fmla="*/ 161338 w 258141"/>
                <a:gd name="connsiteY3" fmla="*/ 99335 h 258141"/>
                <a:gd name="connsiteX4" fmla="*/ 225874 w 258141"/>
                <a:gd name="connsiteY4" fmla="*/ 16387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3870"/>
                  </a:moveTo>
                  <a:cubicBezTo>
                    <a:pt x="225874" y="202591"/>
                    <a:pt x="200060" y="228405"/>
                    <a:pt x="161338" y="228405"/>
                  </a:cubicBezTo>
                  <a:cubicBezTo>
                    <a:pt x="122617" y="228405"/>
                    <a:pt x="96803" y="202591"/>
                    <a:pt x="96803" y="163870"/>
                  </a:cubicBezTo>
                  <a:cubicBezTo>
                    <a:pt x="96803" y="125149"/>
                    <a:pt x="122617" y="99335"/>
                    <a:pt x="161338" y="99335"/>
                  </a:cubicBezTo>
                  <a:cubicBezTo>
                    <a:pt x="200060" y="86428"/>
                    <a:pt x="225874" y="125149"/>
                    <a:pt x="225874" y="163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0" name="Freeform: Shape 4089">
              <a:extLst>
                <a:ext uri="{FF2B5EF4-FFF2-40B4-BE49-F238E27FC236}">
                  <a16:creationId xmlns:a16="http://schemas.microsoft.com/office/drawing/2014/main" id="{F0A9853E-2212-4AD9-B379-4B5D323CBB99}"/>
                </a:ext>
              </a:extLst>
            </p:cNvPr>
            <p:cNvSpPr/>
            <p:nvPr/>
          </p:nvSpPr>
          <p:spPr>
            <a:xfrm>
              <a:off x="4029704" y="3318295"/>
              <a:ext cx="387212" cy="387212"/>
            </a:xfrm>
            <a:custGeom>
              <a:avLst/>
              <a:gdLst>
                <a:gd name="connsiteX0" fmla="*/ 200059 w 387211"/>
                <a:gd name="connsiteY0" fmla="*/ 303316 h 387211"/>
                <a:gd name="connsiteX1" fmla="*/ 96803 w 387211"/>
                <a:gd name="connsiteY1" fmla="*/ 200060 h 387211"/>
                <a:gd name="connsiteX2" fmla="*/ 200059 w 387211"/>
                <a:gd name="connsiteY2" fmla="*/ 96803 h 387211"/>
                <a:gd name="connsiteX3" fmla="*/ 303316 w 387211"/>
                <a:gd name="connsiteY3" fmla="*/ 200060 h 387211"/>
                <a:gd name="connsiteX4" fmla="*/ 200059 w 387211"/>
                <a:gd name="connsiteY4" fmla="*/ 303316 h 387211"/>
                <a:gd name="connsiteX5" fmla="*/ 200059 w 387211"/>
                <a:gd name="connsiteY5" fmla="*/ 96803 h 387211"/>
                <a:gd name="connsiteX6" fmla="*/ 96803 w 387211"/>
                <a:gd name="connsiteY6" fmla="*/ 200060 h 387211"/>
                <a:gd name="connsiteX7" fmla="*/ 200059 w 387211"/>
                <a:gd name="connsiteY7" fmla="*/ 303316 h 387211"/>
                <a:gd name="connsiteX8" fmla="*/ 303316 w 387211"/>
                <a:gd name="connsiteY8" fmla="*/ 200060 h 387211"/>
                <a:gd name="connsiteX9" fmla="*/ 200059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59" y="303316"/>
                  </a:moveTo>
                  <a:cubicBezTo>
                    <a:pt x="148431" y="303316"/>
                    <a:pt x="96803" y="251688"/>
                    <a:pt x="96803" y="200060"/>
                  </a:cubicBezTo>
                  <a:cubicBezTo>
                    <a:pt x="96803" y="148431"/>
                    <a:pt x="148431" y="96803"/>
                    <a:pt x="200059" y="96803"/>
                  </a:cubicBezTo>
                  <a:cubicBezTo>
                    <a:pt x="251688" y="96803"/>
                    <a:pt x="303316" y="148431"/>
                    <a:pt x="303316" y="200060"/>
                  </a:cubicBezTo>
                  <a:cubicBezTo>
                    <a:pt x="303316" y="251688"/>
                    <a:pt x="251688" y="303316"/>
                    <a:pt x="200059" y="303316"/>
                  </a:cubicBezTo>
                  <a:close/>
                  <a:moveTo>
                    <a:pt x="200059" y="96803"/>
                  </a:moveTo>
                  <a:cubicBezTo>
                    <a:pt x="148431" y="96803"/>
                    <a:pt x="96803" y="135524"/>
                    <a:pt x="96803" y="200060"/>
                  </a:cubicBezTo>
                  <a:cubicBezTo>
                    <a:pt x="96803" y="251688"/>
                    <a:pt x="135524" y="303316"/>
                    <a:pt x="200059" y="303316"/>
                  </a:cubicBezTo>
                  <a:cubicBezTo>
                    <a:pt x="251688" y="303316"/>
                    <a:pt x="303316" y="264595"/>
                    <a:pt x="303316" y="200060"/>
                  </a:cubicBezTo>
                  <a:cubicBezTo>
                    <a:pt x="290409" y="135524"/>
                    <a:pt x="251688" y="96803"/>
                    <a:pt x="200059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1" name="Freeform: Shape 4090">
              <a:extLst>
                <a:ext uri="{FF2B5EF4-FFF2-40B4-BE49-F238E27FC236}">
                  <a16:creationId xmlns:a16="http://schemas.microsoft.com/office/drawing/2014/main" id="{D2F6C685-B468-4CDA-8EC3-8018CF7772B0}"/>
                </a:ext>
              </a:extLst>
            </p:cNvPr>
            <p:cNvSpPr/>
            <p:nvPr/>
          </p:nvSpPr>
          <p:spPr>
            <a:xfrm>
              <a:off x="3990983" y="3279574"/>
              <a:ext cx="387212" cy="387212"/>
            </a:xfrm>
            <a:custGeom>
              <a:avLst/>
              <a:gdLst>
                <a:gd name="connsiteX0" fmla="*/ 238781 w 387211"/>
                <a:gd name="connsiteY0" fmla="*/ 380758 h 387211"/>
                <a:gd name="connsiteX1" fmla="*/ 96803 w 387211"/>
                <a:gd name="connsiteY1" fmla="*/ 238781 h 387211"/>
                <a:gd name="connsiteX2" fmla="*/ 238781 w 387211"/>
                <a:gd name="connsiteY2" fmla="*/ 96803 h 387211"/>
                <a:gd name="connsiteX3" fmla="*/ 380758 w 387211"/>
                <a:gd name="connsiteY3" fmla="*/ 238781 h 387211"/>
                <a:gd name="connsiteX4" fmla="*/ 238781 w 387211"/>
                <a:gd name="connsiteY4" fmla="*/ 380758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8 h 387211"/>
                <a:gd name="connsiteX8" fmla="*/ 380758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80758"/>
                  </a:moveTo>
                  <a:cubicBezTo>
                    <a:pt x="161338" y="380758"/>
                    <a:pt x="96803" y="316223"/>
                    <a:pt x="96803" y="238781"/>
                  </a:cubicBezTo>
                  <a:cubicBezTo>
                    <a:pt x="96803" y="161338"/>
                    <a:pt x="161338" y="96803"/>
                    <a:pt x="238781" y="96803"/>
                  </a:cubicBezTo>
                  <a:cubicBezTo>
                    <a:pt x="316223" y="96803"/>
                    <a:pt x="380758" y="161338"/>
                    <a:pt x="380758" y="238781"/>
                  </a:cubicBezTo>
                  <a:cubicBezTo>
                    <a:pt x="380758" y="316223"/>
                    <a:pt x="316223" y="380758"/>
                    <a:pt x="238781" y="380758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8"/>
                    <a:pt x="238781" y="380758"/>
                  </a:cubicBezTo>
                  <a:cubicBezTo>
                    <a:pt x="316223" y="380758"/>
                    <a:pt x="380758" y="316223"/>
                    <a:pt x="380758" y="238781"/>
                  </a:cubicBezTo>
                  <a:cubicBezTo>
                    <a:pt x="380758" y="148431"/>
                    <a:pt x="316223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2" name="Freeform: Shape 4091">
              <a:extLst>
                <a:ext uri="{FF2B5EF4-FFF2-40B4-BE49-F238E27FC236}">
                  <a16:creationId xmlns:a16="http://schemas.microsoft.com/office/drawing/2014/main" id="{69DF623C-1D73-487E-A05F-4477CCA0870D}"/>
                </a:ext>
              </a:extLst>
            </p:cNvPr>
            <p:cNvSpPr/>
            <p:nvPr/>
          </p:nvSpPr>
          <p:spPr>
            <a:xfrm>
              <a:off x="2377600" y="3109250"/>
              <a:ext cx="258141" cy="258141"/>
            </a:xfrm>
            <a:custGeom>
              <a:avLst/>
              <a:gdLst>
                <a:gd name="connsiteX0" fmla="*/ 225874 w 258141"/>
                <a:gd name="connsiteY0" fmla="*/ 163870 h 258141"/>
                <a:gd name="connsiteX1" fmla="*/ 161338 w 258141"/>
                <a:gd name="connsiteY1" fmla="*/ 228405 h 258141"/>
                <a:gd name="connsiteX2" fmla="*/ 96803 w 258141"/>
                <a:gd name="connsiteY2" fmla="*/ 163870 h 258141"/>
                <a:gd name="connsiteX3" fmla="*/ 161338 w 258141"/>
                <a:gd name="connsiteY3" fmla="*/ 99335 h 258141"/>
                <a:gd name="connsiteX4" fmla="*/ 225874 w 258141"/>
                <a:gd name="connsiteY4" fmla="*/ 163870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3870"/>
                  </a:moveTo>
                  <a:cubicBezTo>
                    <a:pt x="225874" y="202591"/>
                    <a:pt x="200059" y="228405"/>
                    <a:pt x="161338" y="228405"/>
                  </a:cubicBezTo>
                  <a:cubicBezTo>
                    <a:pt x="122617" y="228405"/>
                    <a:pt x="96803" y="202591"/>
                    <a:pt x="96803" y="163870"/>
                  </a:cubicBezTo>
                  <a:cubicBezTo>
                    <a:pt x="96803" y="125149"/>
                    <a:pt x="122617" y="99335"/>
                    <a:pt x="161338" y="99335"/>
                  </a:cubicBezTo>
                  <a:cubicBezTo>
                    <a:pt x="200059" y="86428"/>
                    <a:pt x="225874" y="125149"/>
                    <a:pt x="225874" y="1638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3" name="Freeform: Shape 4092">
              <a:extLst>
                <a:ext uri="{FF2B5EF4-FFF2-40B4-BE49-F238E27FC236}">
                  <a16:creationId xmlns:a16="http://schemas.microsoft.com/office/drawing/2014/main" id="{B9142C40-2F37-4F01-BA47-7B9231488C3E}"/>
                </a:ext>
              </a:extLst>
            </p:cNvPr>
            <p:cNvSpPr/>
            <p:nvPr/>
          </p:nvSpPr>
          <p:spPr>
            <a:xfrm>
              <a:off x="2338878" y="3073061"/>
              <a:ext cx="387212" cy="387212"/>
            </a:xfrm>
            <a:custGeom>
              <a:avLst/>
              <a:gdLst>
                <a:gd name="connsiteX0" fmla="*/ 200060 w 387211"/>
                <a:gd name="connsiteY0" fmla="*/ 303316 h 387211"/>
                <a:gd name="connsiteX1" fmla="*/ 96803 w 387211"/>
                <a:gd name="connsiteY1" fmla="*/ 200059 h 387211"/>
                <a:gd name="connsiteX2" fmla="*/ 200060 w 387211"/>
                <a:gd name="connsiteY2" fmla="*/ 96803 h 387211"/>
                <a:gd name="connsiteX3" fmla="*/ 303316 w 387211"/>
                <a:gd name="connsiteY3" fmla="*/ 200059 h 387211"/>
                <a:gd name="connsiteX4" fmla="*/ 200060 w 387211"/>
                <a:gd name="connsiteY4" fmla="*/ 303316 h 387211"/>
                <a:gd name="connsiteX5" fmla="*/ 200060 w 387211"/>
                <a:gd name="connsiteY5" fmla="*/ 96803 h 387211"/>
                <a:gd name="connsiteX6" fmla="*/ 96803 w 387211"/>
                <a:gd name="connsiteY6" fmla="*/ 200059 h 387211"/>
                <a:gd name="connsiteX7" fmla="*/ 200060 w 387211"/>
                <a:gd name="connsiteY7" fmla="*/ 303316 h 387211"/>
                <a:gd name="connsiteX8" fmla="*/ 303316 w 387211"/>
                <a:gd name="connsiteY8" fmla="*/ 200059 h 387211"/>
                <a:gd name="connsiteX9" fmla="*/ 200060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60" y="303316"/>
                  </a:moveTo>
                  <a:cubicBezTo>
                    <a:pt x="148431" y="303316"/>
                    <a:pt x="96803" y="251688"/>
                    <a:pt x="96803" y="200059"/>
                  </a:cubicBezTo>
                  <a:cubicBezTo>
                    <a:pt x="96803" y="148431"/>
                    <a:pt x="148431" y="96803"/>
                    <a:pt x="200060" y="96803"/>
                  </a:cubicBezTo>
                  <a:cubicBezTo>
                    <a:pt x="251688" y="96803"/>
                    <a:pt x="303316" y="148431"/>
                    <a:pt x="303316" y="200059"/>
                  </a:cubicBezTo>
                  <a:cubicBezTo>
                    <a:pt x="303316" y="251688"/>
                    <a:pt x="251688" y="303316"/>
                    <a:pt x="200060" y="303316"/>
                  </a:cubicBezTo>
                  <a:close/>
                  <a:moveTo>
                    <a:pt x="200060" y="96803"/>
                  </a:moveTo>
                  <a:cubicBezTo>
                    <a:pt x="148431" y="96803"/>
                    <a:pt x="96803" y="135524"/>
                    <a:pt x="96803" y="200059"/>
                  </a:cubicBezTo>
                  <a:cubicBezTo>
                    <a:pt x="96803" y="264595"/>
                    <a:pt x="135524" y="303316"/>
                    <a:pt x="200060" y="303316"/>
                  </a:cubicBezTo>
                  <a:cubicBezTo>
                    <a:pt x="251688" y="303316"/>
                    <a:pt x="303316" y="264595"/>
                    <a:pt x="303316" y="200059"/>
                  </a:cubicBezTo>
                  <a:cubicBezTo>
                    <a:pt x="303316" y="135524"/>
                    <a:pt x="251688" y="96803"/>
                    <a:pt x="200060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4" name="Freeform: Shape 4093">
              <a:extLst>
                <a:ext uri="{FF2B5EF4-FFF2-40B4-BE49-F238E27FC236}">
                  <a16:creationId xmlns:a16="http://schemas.microsoft.com/office/drawing/2014/main" id="{B539BF5F-49D3-434E-A19D-966405B2CFB3}"/>
                </a:ext>
              </a:extLst>
            </p:cNvPr>
            <p:cNvSpPr/>
            <p:nvPr/>
          </p:nvSpPr>
          <p:spPr>
            <a:xfrm>
              <a:off x="2300157" y="3034340"/>
              <a:ext cx="387212" cy="387212"/>
            </a:xfrm>
            <a:custGeom>
              <a:avLst/>
              <a:gdLst>
                <a:gd name="connsiteX0" fmla="*/ 238781 w 387211"/>
                <a:gd name="connsiteY0" fmla="*/ 380758 h 387211"/>
                <a:gd name="connsiteX1" fmla="*/ 96803 w 387211"/>
                <a:gd name="connsiteY1" fmla="*/ 238781 h 387211"/>
                <a:gd name="connsiteX2" fmla="*/ 238781 w 387211"/>
                <a:gd name="connsiteY2" fmla="*/ 96803 h 387211"/>
                <a:gd name="connsiteX3" fmla="*/ 380758 w 387211"/>
                <a:gd name="connsiteY3" fmla="*/ 238781 h 387211"/>
                <a:gd name="connsiteX4" fmla="*/ 238781 w 387211"/>
                <a:gd name="connsiteY4" fmla="*/ 380758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8 h 387211"/>
                <a:gd name="connsiteX8" fmla="*/ 380758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80758"/>
                  </a:moveTo>
                  <a:cubicBezTo>
                    <a:pt x="161338" y="380758"/>
                    <a:pt x="96803" y="316223"/>
                    <a:pt x="96803" y="238781"/>
                  </a:cubicBezTo>
                  <a:cubicBezTo>
                    <a:pt x="96803" y="161338"/>
                    <a:pt x="161338" y="96803"/>
                    <a:pt x="238781" y="96803"/>
                  </a:cubicBezTo>
                  <a:cubicBezTo>
                    <a:pt x="316223" y="96803"/>
                    <a:pt x="380758" y="161338"/>
                    <a:pt x="380758" y="238781"/>
                  </a:cubicBezTo>
                  <a:cubicBezTo>
                    <a:pt x="380758" y="316223"/>
                    <a:pt x="316223" y="380758"/>
                    <a:pt x="238781" y="380758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8"/>
                    <a:pt x="238781" y="380758"/>
                  </a:cubicBezTo>
                  <a:cubicBezTo>
                    <a:pt x="316223" y="380758"/>
                    <a:pt x="380758" y="316223"/>
                    <a:pt x="380758" y="238781"/>
                  </a:cubicBezTo>
                  <a:cubicBezTo>
                    <a:pt x="380758" y="161338"/>
                    <a:pt x="316223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5" name="Freeform: Shape 4094">
              <a:extLst>
                <a:ext uri="{FF2B5EF4-FFF2-40B4-BE49-F238E27FC236}">
                  <a16:creationId xmlns:a16="http://schemas.microsoft.com/office/drawing/2014/main" id="{E0728EBA-7937-4E87-8360-2528D16F4312}"/>
                </a:ext>
              </a:extLst>
            </p:cNvPr>
            <p:cNvSpPr/>
            <p:nvPr/>
          </p:nvSpPr>
          <p:spPr>
            <a:xfrm>
              <a:off x="4855756" y="6325641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59" y="225874"/>
                    <a:pt x="161338" y="225874"/>
                  </a:cubicBez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59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6" name="Freeform: Shape 4095">
              <a:extLst>
                <a:ext uri="{FF2B5EF4-FFF2-40B4-BE49-F238E27FC236}">
                  <a16:creationId xmlns:a16="http://schemas.microsoft.com/office/drawing/2014/main" id="{1A56CF3D-25C4-4726-906A-C143612BEFCA}"/>
                </a:ext>
              </a:extLst>
            </p:cNvPr>
            <p:cNvSpPr/>
            <p:nvPr/>
          </p:nvSpPr>
          <p:spPr>
            <a:xfrm>
              <a:off x="4842849" y="6299827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0"/>
                    <a:pt x="96803" y="187153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0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3"/>
                  </a:cubicBezTo>
                  <a:cubicBezTo>
                    <a:pt x="96803" y="238780"/>
                    <a:pt x="135524" y="277502"/>
                    <a:pt x="187153" y="277502"/>
                  </a:cubicBezTo>
                  <a:cubicBezTo>
                    <a:pt x="238781" y="277502"/>
                    <a:pt x="277502" y="238780"/>
                    <a:pt x="277502" y="187153"/>
                  </a:cubicBezTo>
                  <a:cubicBezTo>
                    <a:pt x="277502" y="135524"/>
                    <a:pt x="225874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7" name="Freeform: Shape 4096">
              <a:extLst>
                <a:ext uri="{FF2B5EF4-FFF2-40B4-BE49-F238E27FC236}">
                  <a16:creationId xmlns:a16="http://schemas.microsoft.com/office/drawing/2014/main" id="{62D63FB5-CB39-4C82-BA1C-782FA3E4E16E}"/>
                </a:ext>
              </a:extLst>
            </p:cNvPr>
            <p:cNvSpPr/>
            <p:nvPr/>
          </p:nvSpPr>
          <p:spPr>
            <a:xfrm>
              <a:off x="4804128" y="6261106"/>
              <a:ext cx="387212" cy="387212"/>
            </a:xfrm>
            <a:custGeom>
              <a:avLst/>
              <a:gdLst>
                <a:gd name="connsiteX0" fmla="*/ 225874 w 387211"/>
                <a:gd name="connsiteY0" fmla="*/ 354944 h 387211"/>
                <a:gd name="connsiteX1" fmla="*/ 96803 w 387211"/>
                <a:gd name="connsiteY1" fmla="*/ 225874 h 387211"/>
                <a:gd name="connsiteX2" fmla="*/ 225874 w 387211"/>
                <a:gd name="connsiteY2" fmla="*/ 96803 h 387211"/>
                <a:gd name="connsiteX3" fmla="*/ 354944 w 387211"/>
                <a:gd name="connsiteY3" fmla="*/ 225874 h 387211"/>
                <a:gd name="connsiteX4" fmla="*/ 225874 w 387211"/>
                <a:gd name="connsiteY4" fmla="*/ 354944 h 387211"/>
                <a:gd name="connsiteX5" fmla="*/ 225874 w 387211"/>
                <a:gd name="connsiteY5" fmla="*/ 96803 h 387211"/>
                <a:gd name="connsiteX6" fmla="*/ 96803 w 387211"/>
                <a:gd name="connsiteY6" fmla="*/ 225874 h 387211"/>
                <a:gd name="connsiteX7" fmla="*/ 225874 w 387211"/>
                <a:gd name="connsiteY7" fmla="*/ 354944 h 387211"/>
                <a:gd name="connsiteX8" fmla="*/ 354944 w 387211"/>
                <a:gd name="connsiteY8" fmla="*/ 225874 h 387211"/>
                <a:gd name="connsiteX9" fmla="*/ 225874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25874" y="354944"/>
                  </a:moveTo>
                  <a:cubicBezTo>
                    <a:pt x="148431" y="354944"/>
                    <a:pt x="96803" y="290409"/>
                    <a:pt x="96803" y="225874"/>
                  </a:cubicBezTo>
                  <a:cubicBezTo>
                    <a:pt x="96803" y="148431"/>
                    <a:pt x="161338" y="96803"/>
                    <a:pt x="225874" y="96803"/>
                  </a:cubicBezTo>
                  <a:cubicBezTo>
                    <a:pt x="290409" y="96803"/>
                    <a:pt x="354944" y="161338"/>
                    <a:pt x="354944" y="225874"/>
                  </a:cubicBezTo>
                  <a:cubicBezTo>
                    <a:pt x="354944" y="303316"/>
                    <a:pt x="290409" y="354944"/>
                    <a:pt x="225874" y="354944"/>
                  </a:cubicBezTo>
                  <a:close/>
                  <a:moveTo>
                    <a:pt x="225874" y="96803"/>
                  </a:moveTo>
                  <a:cubicBezTo>
                    <a:pt x="148431" y="96803"/>
                    <a:pt x="96803" y="161338"/>
                    <a:pt x="96803" y="225874"/>
                  </a:cubicBezTo>
                  <a:cubicBezTo>
                    <a:pt x="96803" y="290409"/>
                    <a:pt x="161338" y="354944"/>
                    <a:pt x="225874" y="354944"/>
                  </a:cubicBezTo>
                  <a:cubicBezTo>
                    <a:pt x="290409" y="354944"/>
                    <a:pt x="354944" y="290409"/>
                    <a:pt x="354944" y="225874"/>
                  </a:cubicBezTo>
                  <a:cubicBezTo>
                    <a:pt x="354944" y="161338"/>
                    <a:pt x="290409" y="96803"/>
                    <a:pt x="225874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8" name="Freeform: Shape 4097">
              <a:extLst>
                <a:ext uri="{FF2B5EF4-FFF2-40B4-BE49-F238E27FC236}">
                  <a16:creationId xmlns:a16="http://schemas.microsoft.com/office/drawing/2014/main" id="{423CADD3-D915-4B01-B121-EC1DD473C4AD}"/>
                </a:ext>
              </a:extLst>
            </p:cNvPr>
            <p:cNvSpPr/>
            <p:nvPr/>
          </p:nvSpPr>
          <p:spPr>
            <a:xfrm>
              <a:off x="5630180" y="7513091"/>
              <a:ext cx="258141" cy="258141"/>
            </a:xfrm>
            <a:custGeom>
              <a:avLst/>
              <a:gdLst>
                <a:gd name="connsiteX0" fmla="*/ 225874 w 258141"/>
                <a:gd name="connsiteY0" fmla="*/ 161339 h 258141"/>
                <a:gd name="connsiteX1" fmla="*/ 161339 w 258141"/>
                <a:gd name="connsiteY1" fmla="*/ 225874 h 258141"/>
                <a:gd name="connsiteX2" fmla="*/ 96803 w 258141"/>
                <a:gd name="connsiteY2" fmla="*/ 161339 h 258141"/>
                <a:gd name="connsiteX3" fmla="*/ 161339 w 258141"/>
                <a:gd name="connsiteY3" fmla="*/ 96803 h 258141"/>
                <a:gd name="connsiteX4" fmla="*/ 225874 w 258141"/>
                <a:gd name="connsiteY4" fmla="*/ 161339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9"/>
                  </a:moveTo>
                  <a:cubicBezTo>
                    <a:pt x="225874" y="196980"/>
                    <a:pt x="196980" y="225874"/>
                    <a:pt x="161339" y="225874"/>
                  </a:cubicBezTo>
                  <a:cubicBezTo>
                    <a:pt x="125697" y="225874"/>
                    <a:pt x="96803" y="196980"/>
                    <a:pt x="96803" y="161339"/>
                  </a:cubicBezTo>
                  <a:cubicBezTo>
                    <a:pt x="96803" y="125697"/>
                    <a:pt x="125697" y="96803"/>
                    <a:pt x="161339" y="96803"/>
                  </a:cubicBezTo>
                  <a:cubicBezTo>
                    <a:pt x="196980" y="96803"/>
                    <a:pt x="225874" y="125697"/>
                    <a:pt x="225874" y="1613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99" name="Freeform: Shape 4098">
              <a:extLst>
                <a:ext uri="{FF2B5EF4-FFF2-40B4-BE49-F238E27FC236}">
                  <a16:creationId xmlns:a16="http://schemas.microsoft.com/office/drawing/2014/main" id="{113C47FB-2DB0-4CD2-B11F-D3FE3E4A2EE0}"/>
                </a:ext>
              </a:extLst>
            </p:cNvPr>
            <p:cNvSpPr/>
            <p:nvPr/>
          </p:nvSpPr>
          <p:spPr>
            <a:xfrm>
              <a:off x="5604366" y="7487277"/>
              <a:ext cx="258141" cy="258141"/>
            </a:xfrm>
            <a:custGeom>
              <a:avLst/>
              <a:gdLst>
                <a:gd name="connsiteX0" fmla="*/ 187153 w 258141"/>
                <a:gd name="connsiteY0" fmla="*/ 277502 h 258141"/>
                <a:gd name="connsiteX1" fmla="*/ 96803 w 258141"/>
                <a:gd name="connsiteY1" fmla="*/ 187153 h 258141"/>
                <a:gd name="connsiteX2" fmla="*/ 187153 w 258141"/>
                <a:gd name="connsiteY2" fmla="*/ 96803 h 258141"/>
                <a:gd name="connsiteX3" fmla="*/ 277502 w 258141"/>
                <a:gd name="connsiteY3" fmla="*/ 187153 h 258141"/>
                <a:gd name="connsiteX4" fmla="*/ 187153 w 258141"/>
                <a:gd name="connsiteY4" fmla="*/ 277502 h 258141"/>
                <a:gd name="connsiteX5" fmla="*/ 187153 w 258141"/>
                <a:gd name="connsiteY5" fmla="*/ 96803 h 258141"/>
                <a:gd name="connsiteX6" fmla="*/ 96803 w 258141"/>
                <a:gd name="connsiteY6" fmla="*/ 187153 h 258141"/>
                <a:gd name="connsiteX7" fmla="*/ 187153 w 258141"/>
                <a:gd name="connsiteY7" fmla="*/ 277502 h 258141"/>
                <a:gd name="connsiteX8" fmla="*/ 277502 w 258141"/>
                <a:gd name="connsiteY8" fmla="*/ 187153 h 258141"/>
                <a:gd name="connsiteX9" fmla="*/ 187153 w 258141"/>
                <a:gd name="connsiteY9" fmla="*/ 96803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141" h="258141">
                  <a:moveTo>
                    <a:pt x="187153" y="277502"/>
                  </a:moveTo>
                  <a:cubicBezTo>
                    <a:pt x="135524" y="277502"/>
                    <a:pt x="96803" y="238780"/>
                    <a:pt x="96803" y="187153"/>
                  </a:cubicBezTo>
                  <a:cubicBezTo>
                    <a:pt x="96803" y="135524"/>
                    <a:pt x="135524" y="96803"/>
                    <a:pt x="187153" y="96803"/>
                  </a:cubicBezTo>
                  <a:cubicBezTo>
                    <a:pt x="238781" y="96803"/>
                    <a:pt x="277502" y="135524"/>
                    <a:pt x="277502" y="187153"/>
                  </a:cubicBezTo>
                  <a:cubicBezTo>
                    <a:pt x="277502" y="238780"/>
                    <a:pt x="238781" y="277502"/>
                    <a:pt x="187153" y="277502"/>
                  </a:cubicBezTo>
                  <a:close/>
                  <a:moveTo>
                    <a:pt x="187153" y="96803"/>
                  </a:moveTo>
                  <a:cubicBezTo>
                    <a:pt x="135524" y="96803"/>
                    <a:pt x="96803" y="135524"/>
                    <a:pt x="96803" y="187153"/>
                  </a:cubicBezTo>
                  <a:cubicBezTo>
                    <a:pt x="96803" y="238780"/>
                    <a:pt x="135524" y="277502"/>
                    <a:pt x="187153" y="277502"/>
                  </a:cubicBezTo>
                  <a:cubicBezTo>
                    <a:pt x="238781" y="277502"/>
                    <a:pt x="277502" y="238780"/>
                    <a:pt x="277502" y="187153"/>
                  </a:cubicBezTo>
                  <a:cubicBezTo>
                    <a:pt x="277502" y="135524"/>
                    <a:pt x="238781" y="96803"/>
                    <a:pt x="187153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0" name="Freeform: Shape 4099">
              <a:extLst>
                <a:ext uri="{FF2B5EF4-FFF2-40B4-BE49-F238E27FC236}">
                  <a16:creationId xmlns:a16="http://schemas.microsoft.com/office/drawing/2014/main" id="{E2E1441E-B5BE-459E-84F2-89A1A2EDEB3B}"/>
                </a:ext>
              </a:extLst>
            </p:cNvPr>
            <p:cNvSpPr/>
            <p:nvPr/>
          </p:nvSpPr>
          <p:spPr>
            <a:xfrm>
              <a:off x="5565645" y="7448556"/>
              <a:ext cx="387212" cy="387212"/>
            </a:xfrm>
            <a:custGeom>
              <a:avLst/>
              <a:gdLst>
                <a:gd name="connsiteX0" fmla="*/ 225874 w 387211"/>
                <a:gd name="connsiteY0" fmla="*/ 354944 h 387211"/>
                <a:gd name="connsiteX1" fmla="*/ 96803 w 387211"/>
                <a:gd name="connsiteY1" fmla="*/ 225874 h 387211"/>
                <a:gd name="connsiteX2" fmla="*/ 225874 w 387211"/>
                <a:gd name="connsiteY2" fmla="*/ 96803 h 387211"/>
                <a:gd name="connsiteX3" fmla="*/ 354944 w 387211"/>
                <a:gd name="connsiteY3" fmla="*/ 225874 h 387211"/>
                <a:gd name="connsiteX4" fmla="*/ 225874 w 387211"/>
                <a:gd name="connsiteY4" fmla="*/ 354944 h 387211"/>
                <a:gd name="connsiteX5" fmla="*/ 225874 w 387211"/>
                <a:gd name="connsiteY5" fmla="*/ 96803 h 387211"/>
                <a:gd name="connsiteX6" fmla="*/ 96803 w 387211"/>
                <a:gd name="connsiteY6" fmla="*/ 225874 h 387211"/>
                <a:gd name="connsiteX7" fmla="*/ 225874 w 387211"/>
                <a:gd name="connsiteY7" fmla="*/ 354944 h 387211"/>
                <a:gd name="connsiteX8" fmla="*/ 354944 w 387211"/>
                <a:gd name="connsiteY8" fmla="*/ 225874 h 387211"/>
                <a:gd name="connsiteX9" fmla="*/ 225874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25874" y="354944"/>
                  </a:moveTo>
                  <a:cubicBezTo>
                    <a:pt x="148431" y="354944"/>
                    <a:pt x="96803" y="290409"/>
                    <a:pt x="96803" y="225874"/>
                  </a:cubicBezTo>
                  <a:cubicBezTo>
                    <a:pt x="96803" y="148431"/>
                    <a:pt x="161338" y="96803"/>
                    <a:pt x="225874" y="96803"/>
                  </a:cubicBezTo>
                  <a:cubicBezTo>
                    <a:pt x="303316" y="96803"/>
                    <a:pt x="354944" y="161338"/>
                    <a:pt x="354944" y="225874"/>
                  </a:cubicBezTo>
                  <a:cubicBezTo>
                    <a:pt x="354944" y="303316"/>
                    <a:pt x="303316" y="354944"/>
                    <a:pt x="225874" y="354944"/>
                  </a:cubicBezTo>
                  <a:close/>
                  <a:moveTo>
                    <a:pt x="225874" y="96803"/>
                  </a:moveTo>
                  <a:cubicBezTo>
                    <a:pt x="148431" y="96803"/>
                    <a:pt x="96803" y="161338"/>
                    <a:pt x="96803" y="225874"/>
                  </a:cubicBezTo>
                  <a:cubicBezTo>
                    <a:pt x="96803" y="303316"/>
                    <a:pt x="161338" y="354944"/>
                    <a:pt x="225874" y="354944"/>
                  </a:cubicBezTo>
                  <a:cubicBezTo>
                    <a:pt x="303316" y="354944"/>
                    <a:pt x="354944" y="290409"/>
                    <a:pt x="354944" y="225874"/>
                  </a:cubicBezTo>
                  <a:cubicBezTo>
                    <a:pt x="354944" y="148431"/>
                    <a:pt x="290409" y="96803"/>
                    <a:pt x="225874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1" name="Freeform: Shape 4100">
              <a:extLst>
                <a:ext uri="{FF2B5EF4-FFF2-40B4-BE49-F238E27FC236}">
                  <a16:creationId xmlns:a16="http://schemas.microsoft.com/office/drawing/2014/main" id="{9F8300EB-F4C4-4455-9EB1-D7BFDAAE7847}"/>
                </a:ext>
              </a:extLst>
            </p:cNvPr>
            <p:cNvSpPr/>
            <p:nvPr/>
          </p:nvSpPr>
          <p:spPr>
            <a:xfrm>
              <a:off x="1151428" y="2092124"/>
              <a:ext cx="258141" cy="258141"/>
            </a:xfrm>
            <a:custGeom>
              <a:avLst/>
              <a:gdLst>
                <a:gd name="connsiteX0" fmla="*/ 238781 w 258141"/>
                <a:gd name="connsiteY0" fmla="*/ 161338 h 258141"/>
                <a:gd name="connsiteX1" fmla="*/ 161338 w 258141"/>
                <a:gd name="connsiteY1" fmla="*/ 238781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38781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38781" y="161338"/>
                  </a:moveTo>
                  <a:cubicBezTo>
                    <a:pt x="238781" y="200059"/>
                    <a:pt x="200060" y="238781"/>
                    <a:pt x="161338" y="238781"/>
                  </a:cubicBezTo>
                  <a:cubicBezTo>
                    <a:pt x="122617" y="238781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38781" y="122617"/>
                    <a:pt x="238781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2" name="Freeform: Shape 4101">
              <a:extLst>
                <a:ext uri="{FF2B5EF4-FFF2-40B4-BE49-F238E27FC236}">
                  <a16:creationId xmlns:a16="http://schemas.microsoft.com/office/drawing/2014/main" id="{E0D39C60-58E1-47BF-910E-D90C3E9534A1}"/>
                </a:ext>
              </a:extLst>
            </p:cNvPr>
            <p:cNvSpPr/>
            <p:nvPr/>
          </p:nvSpPr>
          <p:spPr>
            <a:xfrm>
              <a:off x="1112707" y="2053403"/>
              <a:ext cx="387212" cy="387212"/>
            </a:xfrm>
            <a:custGeom>
              <a:avLst/>
              <a:gdLst>
                <a:gd name="connsiteX0" fmla="*/ 200059 w 387211"/>
                <a:gd name="connsiteY0" fmla="*/ 303316 h 387211"/>
                <a:gd name="connsiteX1" fmla="*/ 96803 w 387211"/>
                <a:gd name="connsiteY1" fmla="*/ 200059 h 387211"/>
                <a:gd name="connsiteX2" fmla="*/ 200059 w 387211"/>
                <a:gd name="connsiteY2" fmla="*/ 96803 h 387211"/>
                <a:gd name="connsiteX3" fmla="*/ 303316 w 387211"/>
                <a:gd name="connsiteY3" fmla="*/ 200059 h 387211"/>
                <a:gd name="connsiteX4" fmla="*/ 200059 w 387211"/>
                <a:gd name="connsiteY4" fmla="*/ 303316 h 387211"/>
                <a:gd name="connsiteX5" fmla="*/ 200059 w 387211"/>
                <a:gd name="connsiteY5" fmla="*/ 109710 h 387211"/>
                <a:gd name="connsiteX6" fmla="*/ 109710 w 387211"/>
                <a:gd name="connsiteY6" fmla="*/ 200059 h 387211"/>
                <a:gd name="connsiteX7" fmla="*/ 212967 w 387211"/>
                <a:gd name="connsiteY7" fmla="*/ 303316 h 387211"/>
                <a:gd name="connsiteX8" fmla="*/ 303316 w 387211"/>
                <a:gd name="connsiteY8" fmla="*/ 200059 h 387211"/>
                <a:gd name="connsiteX9" fmla="*/ 200059 w 38721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59" y="303316"/>
                  </a:moveTo>
                  <a:cubicBezTo>
                    <a:pt x="148431" y="303316"/>
                    <a:pt x="96803" y="251688"/>
                    <a:pt x="96803" y="200059"/>
                  </a:cubicBezTo>
                  <a:cubicBezTo>
                    <a:pt x="96803" y="148431"/>
                    <a:pt x="148431" y="96803"/>
                    <a:pt x="200059" y="96803"/>
                  </a:cubicBezTo>
                  <a:cubicBezTo>
                    <a:pt x="264595" y="96803"/>
                    <a:pt x="303316" y="148431"/>
                    <a:pt x="303316" y="200059"/>
                  </a:cubicBezTo>
                  <a:cubicBezTo>
                    <a:pt x="303316" y="264595"/>
                    <a:pt x="264595" y="303316"/>
                    <a:pt x="200059" y="303316"/>
                  </a:cubicBezTo>
                  <a:close/>
                  <a:moveTo>
                    <a:pt x="200059" y="109710"/>
                  </a:moveTo>
                  <a:cubicBezTo>
                    <a:pt x="148431" y="109710"/>
                    <a:pt x="109710" y="148431"/>
                    <a:pt x="109710" y="200059"/>
                  </a:cubicBezTo>
                  <a:cubicBezTo>
                    <a:pt x="109710" y="251688"/>
                    <a:pt x="148431" y="303316"/>
                    <a:pt x="212967" y="303316"/>
                  </a:cubicBezTo>
                  <a:cubicBezTo>
                    <a:pt x="277502" y="303316"/>
                    <a:pt x="303316" y="264595"/>
                    <a:pt x="303316" y="200059"/>
                  </a:cubicBezTo>
                  <a:cubicBezTo>
                    <a:pt x="303316" y="148431"/>
                    <a:pt x="251688" y="109710"/>
                    <a:pt x="200059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3" name="Freeform: Shape 4102">
              <a:extLst>
                <a:ext uri="{FF2B5EF4-FFF2-40B4-BE49-F238E27FC236}">
                  <a16:creationId xmlns:a16="http://schemas.microsoft.com/office/drawing/2014/main" id="{E2776EB7-6A7E-4FA0-8212-46EFC093733F}"/>
                </a:ext>
              </a:extLst>
            </p:cNvPr>
            <p:cNvSpPr/>
            <p:nvPr/>
          </p:nvSpPr>
          <p:spPr>
            <a:xfrm>
              <a:off x="1073986" y="2014682"/>
              <a:ext cx="387212" cy="387212"/>
            </a:xfrm>
            <a:custGeom>
              <a:avLst/>
              <a:gdLst>
                <a:gd name="connsiteX0" fmla="*/ 238781 w 387211"/>
                <a:gd name="connsiteY0" fmla="*/ 393665 h 387211"/>
                <a:gd name="connsiteX1" fmla="*/ 96803 w 387211"/>
                <a:gd name="connsiteY1" fmla="*/ 251688 h 387211"/>
                <a:gd name="connsiteX2" fmla="*/ 238781 w 387211"/>
                <a:gd name="connsiteY2" fmla="*/ 109710 h 387211"/>
                <a:gd name="connsiteX3" fmla="*/ 380758 w 387211"/>
                <a:gd name="connsiteY3" fmla="*/ 251688 h 387211"/>
                <a:gd name="connsiteX4" fmla="*/ 238781 w 387211"/>
                <a:gd name="connsiteY4" fmla="*/ 393665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8 h 387211"/>
                <a:gd name="connsiteX8" fmla="*/ 380758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93665"/>
                  </a:moveTo>
                  <a:cubicBezTo>
                    <a:pt x="161338" y="393665"/>
                    <a:pt x="96803" y="329130"/>
                    <a:pt x="96803" y="251688"/>
                  </a:cubicBezTo>
                  <a:cubicBezTo>
                    <a:pt x="96803" y="174245"/>
                    <a:pt x="161338" y="109710"/>
                    <a:pt x="238781" y="109710"/>
                  </a:cubicBezTo>
                  <a:cubicBezTo>
                    <a:pt x="316223" y="109710"/>
                    <a:pt x="380758" y="174245"/>
                    <a:pt x="380758" y="251688"/>
                  </a:cubicBezTo>
                  <a:cubicBezTo>
                    <a:pt x="393665" y="329130"/>
                    <a:pt x="316223" y="393665"/>
                    <a:pt x="238781" y="393665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8"/>
                    <a:pt x="238781" y="380758"/>
                  </a:cubicBezTo>
                  <a:cubicBezTo>
                    <a:pt x="316223" y="380758"/>
                    <a:pt x="380758" y="316223"/>
                    <a:pt x="380758" y="238781"/>
                  </a:cubicBezTo>
                  <a:cubicBezTo>
                    <a:pt x="380758" y="161338"/>
                    <a:pt x="316223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4" name="Freeform: Shape 4103">
              <a:extLst>
                <a:ext uri="{FF2B5EF4-FFF2-40B4-BE49-F238E27FC236}">
                  <a16:creationId xmlns:a16="http://schemas.microsoft.com/office/drawing/2014/main" id="{8A2046D4-F532-4D75-BA6B-3F965A79AD27}"/>
                </a:ext>
              </a:extLst>
            </p:cNvPr>
            <p:cNvSpPr/>
            <p:nvPr/>
          </p:nvSpPr>
          <p:spPr>
            <a:xfrm>
              <a:off x="2054923" y="2505150"/>
              <a:ext cx="258141" cy="258141"/>
            </a:xfrm>
            <a:custGeom>
              <a:avLst/>
              <a:gdLst>
                <a:gd name="connsiteX0" fmla="*/ 225874 w 258141"/>
                <a:gd name="connsiteY0" fmla="*/ 161338 h 258141"/>
                <a:gd name="connsiteX1" fmla="*/ 161338 w 258141"/>
                <a:gd name="connsiteY1" fmla="*/ 225874 h 258141"/>
                <a:gd name="connsiteX2" fmla="*/ 96803 w 258141"/>
                <a:gd name="connsiteY2" fmla="*/ 161338 h 258141"/>
                <a:gd name="connsiteX3" fmla="*/ 161338 w 258141"/>
                <a:gd name="connsiteY3" fmla="*/ 96803 h 258141"/>
                <a:gd name="connsiteX4" fmla="*/ 225874 w 258141"/>
                <a:gd name="connsiteY4" fmla="*/ 161338 h 25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141" h="258141">
                  <a:moveTo>
                    <a:pt x="225874" y="161338"/>
                  </a:moveTo>
                  <a:cubicBezTo>
                    <a:pt x="225874" y="200059"/>
                    <a:pt x="200060" y="225874"/>
                    <a:pt x="161338" y="225874"/>
                  </a:cubicBezTo>
                  <a:cubicBezTo>
                    <a:pt x="122617" y="225874"/>
                    <a:pt x="96803" y="200059"/>
                    <a:pt x="96803" y="161338"/>
                  </a:cubicBezTo>
                  <a:cubicBezTo>
                    <a:pt x="96803" y="122617"/>
                    <a:pt x="122617" y="96803"/>
                    <a:pt x="161338" y="96803"/>
                  </a:cubicBezTo>
                  <a:cubicBezTo>
                    <a:pt x="200060" y="96803"/>
                    <a:pt x="225874" y="122617"/>
                    <a:pt x="225874" y="1613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5" name="Freeform: Shape 4104">
              <a:extLst>
                <a:ext uri="{FF2B5EF4-FFF2-40B4-BE49-F238E27FC236}">
                  <a16:creationId xmlns:a16="http://schemas.microsoft.com/office/drawing/2014/main" id="{437F30F9-7674-40A0-88DF-7F4C7BE64A45}"/>
                </a:ext>
              </a:extLst>
            </p:cNvPr>
            <p:cNvSpPr/>
            <p:nvPr/>
          </p:nvSpPr>
          <p:spPr>
            <a:xfrm>
              <a:off x="2016202" y="2466429"/>
              <a:ext cx="387212" cy="387212"/>
            </a:xfrm>
            <a:custGeom>
              <a:avLst/>
              <a:gdLst>
                <a:gd name="connsiteX0" fmla="*/ 200060 w 387211"/>
                <a:gd name="connsiteY0" fmla="*/ 303316 h 387211"/>
                <a:gd name="connsiteX1" fmla="*/ 96803 w 387211"/>
                <a:gd name="connsiteY1" fmla="*/ 200060 h 387211"/>
                <a:gd name="connsiteX2" fmla="*/ 200060 w 387211"/>
                <a:gd name="connsiteY2" fmla="*/ 96803 h 387211"/>
                <a:gd name="connsiteX3" fmla="*/ 303316 w 387211"/>
                <a:gd name="connsiteY3" fmla="*/ 200060 h 387211"/>
                <a:gd name="connsiteX4" fmla="*/ 200060 w 387211"/>
                <a:gd name="connsiteY4" fmla="*/ 303316 h 387211"/>
                <a:gd name="connsiteX5" fmla="*/ 200060 w 387211"/>
                <a:gd name="connsiteY5" fmla="*/ 109710 h 387211"/>
                <a:gd name="connsiteX6" fmla="*/ 96803 w 387211"/>
                <a:gd name="connsiteY6" fmla="*/ 212967 h 387211"/>
                <a:gd name="connsiteX7" fmla="*/ 200060 w 387211"/>
                <a:gd name="connsiteY7" fmla="*/ 316223 h 387211"/>
                <a:gd name="connsiteX8" fmla="*/ 303316 w 387211"/>
                <a:gd name="connsiteY8" fmla="*/ 212967 h 387211"/>
                <a:gd name="connsiteX9" fmla="*/ 200060 w 387211"/>
                <a:gd name="connsiteY9" fmla="*/ 109710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00060" y="303316"/>
                  </a:moveTo>
                  <a:cubicBezTo>
                    <a:pt x="148431" y="303316"/>
                    <a:pt x="96803" y="251688"/>
                    <a:pt x="96803" y="200060"/>
                  </a:cubicBezTo>
                  <a:cubicBezTo>
                    <a:pt x="96803" y="148431"/>
                    <a:pt x="148431" y="96803"/>
                    <a:pt x="200060" y="96803"/>
                  </a:cubicBezTo>
                  <a:cubicBezTo>
                    <a:pt x="251688" y="96803"/>
                    <a:pt x="303316" y="148431"/>
                    <a:pt x="303316" y="200060"/>
                  </a:cubicBezTo>
                  <a:cubicBezTo>
                    <a:pt x="303316" y="264595"/>
                    <a:pt x="251688" y="303316"/>
                    <a:pt x="200060" y="303316"/>
                  </a:cubicBezTo>
                  <a:close/>
                  <a:moveTo>
                    <a:pt x="200060" y="109710"/>
                  </a:moveTo>
                  <a:cubicBezTo>
                    <a:pt x="148431" y="109710"/>
                    <a:pt x="96803" y="148431"/>
                    <a:pt x="96803" y="212967"/>
                  </a:cubicBezTo>
                  <a:cubicBezTo>
                    <a:pt x="96803" y="264595"/>
                    <a:pt x="135524" y="316223"/>
                    <a:pt x="200060" y="316223"/>
                  </a:cubicBezTo>
                  <a:cubicBezTo>
                    <a:pt x="251688" y="316223"/>
                    <a:pt x="303316" y="277502"/>
                    <a:pt x="303316" y="212967"/>
                  </a:cubicBezTo>
                  <a:cubicBezTo>
                    <a:pt x="303316" y="148431"/>
                    <a:pt x="251688" y="109710"/>
                    <a:pt x="200060" y="1097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06" name="Freeform: Shape 4105">
              <a:extLst>
                <a:ext uri="{FF2B5EF4-FFF2-40B4-BE49-F238E27FC236}">
                  <a16:creationId xmlns:a16="http://schemas.microsoft.com/office/drawing/2014/main" id="{8AD94947-13D5-46BE-83FD-BDED83CA41FF}"/>
                </a:ext>
              </a:extLst>
            </p:cNvPr>
            <p:cNvSpPr/>
            <p:nvPr/>
          </p:nvSpPr>
          <p:spPr>
            <a:xfrm>
              <a:off x="1977481" y="2427708"/>
              <a:ext cx="387212" cy="387212"/>
            </a:xfrm>
            <a:custGeom>
              <a:avLst/>
              <a:gdLst>
                <a:gd name="connsiteX0" fmla="*/ 238781 w 387211"/>
                <a:gd name="connsiteY0" fmla="*/ 393665 h 387211"/>
                <a:gd name="connsiteX1" fmla="*/ 96803 w 387211"/>
                <a:gd name="connsiteY1" fmla="*/ 251688 h 387211"/>
                <a:gd name="connsiteX2" fmla="*/ 238781 w 387211"/>
                <a:gd name="connsiteY2" fmla="*/ 109710 h 387211"/>
                <a:gd name="connsiteX3" fmla="*/ 380758 w 387211"/>
                <a:gd name="connsiteY3" fmla="*/ 251688 h 387211"/>
                <a:gd name="connsiteX4" fmla="*/ 238781 w 387211"/>
                <a:gd name="connsiteY4" fmla="*/ 393665 h 387211"/>
                <a:gd name="connsiteX5" fmla="*/ 238781 w 387211"/>
                <a:gd name="connsiteY5" fmla="*/ 96803 h 387211"/>
                <a:gd name="connsiteX6" fmla="*/ 96803 w 387211"/>
                <a:gd name="connsiteY6" fmla="*/ 238781 h 387211"/>
                <a:gd name="connsiteX7" fmla="*/ 238781 w 387211"/>
                <a:gd name="connsiteY7" fmla="*/ 380758 h 387211"/>
                <a:gd name="connsiteX8" fmla="*/ 380758 w 387211"/>
                <a:gd name="connsiteY8" fmla="*/ 238781 h 387211"/>
                <a:gd name="connsiteX9" fmla="*/ 238781 w 387211"/>
                <a:gd name="connsiteY9" fmla="*/ 96803 h 38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211" h="387211">
                  <a:moveTo>
                    <a:pt x="238781" y="393665"/>
                  </a:moveTo>
                  <a:cubicBezTo>
                    <a:pt x="161338" y="393665"/>
                    <a:pt x="96803" y="329130"/>
                    <a:pt x="96803" y="251688"/>
                  </a:cubicBezTo>
                  <a:cubicBezTo>
                    <a:pt x="96803" y="174245"/>
                    <a:pt x="161338" y="109710"/>
                    <a:pt x="238781" y="109710"/>
                  </a:cubicBezTo>
                  <a:cubicBezTo>
                    <a:pt x="316223" y="109710"/>
                    <a:pt x="380758" y="174245"/>
                    <a:pt x="380758" y="251688"/>
                  </a:cubicBezTo>
                  <a:cubicBezTo>
                    <a:pt x="380758" y="329130"/>
                    <a:pt x="316223" y="393665"/>
                    <a:pt x="238781" y="393665"/>
                  </a:cubicBezTo>
                  <a:close/>
                  <a:moveTo>
                    <a:pt x="238781" y="96803"/>
                  </a:moveTo>
                  <a:cubicBezTo>
                    <a:pt x="161338" y="96803"/>
                    <a:pt x="96803" y="161338"/>
                    <a:pt x="96803" y="238781"/>
                  </a:cubicBezTo>
                  <a:cubicBezTo>
                    <a:pt x="96803" y="316223"/>
                    <a:pt x="161338" y="380758"/>
                    <a:pt x="238781" y="380758"/>
                  </a:cubicBezTo>
                  <a:cubicBezTo>
                    <a:pt x="316223" y="380758"/>
                    <a:pt x="380758" y="316223"/>
                    <a:pt x="380758" y="238781"/>
                  </a:cubicBezTo>
                  <a:cubicBezTo>
                    <a:pt x="380758" y="161338"/>
                    <a:pt x="316223" y="96803"/>
                    <a:pt x="238781" y="968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901616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D1E15B2-4F13-4F05-8C6D-1ABCC9A9593F}"/>
              </a:ext>
            </a:extLst>
          </p:cNvPr>
          <p:cNvSpPr/>
          <p:nvPr/>
        </p:nvSpPr>
        <p:spPr>
          <a:xfrm>
            <a:off x="1" y="5151479"/>
            <a:ext cx="5146813" cy="5151479"/>
          </a:xfrm>
          <a:custGeom>
            <a:avLst/>
            <a:gdLst>
              <a:gd name="connsiteX0" fmla="*/ 1715307 w 3430613"/>
              <a:gd name="connsiteY0" fmla="*/ 0 h 3430613"/>
              <a:gd name="connsiteX1" fmla="*/ 1715307 w 3430613"/>
              <a:gd name="connsiteY1" fmla="*/ 885354 h 3430613"/>
              <a:gd name="connsiteX2" fmla="*/ 1072538 w 3430613"/>
              <a:gd name="connsiteY2" fmla="*/ 0 h 3430613"/>
              <a:gd name="connsiteX3" fmla="*/ 0 w 3430613"/>
              <a:gd name="connsiteY3" fmla="*/ 0 h 3430613"/>
              <a:gd name="connsiteX4" fmla="*/ 0 w 3430613"/>
              <a:gd name="connsiteY4" fmla="*/ 1441525 h 3430613"/>
              <a:gd name="connsiteX5" fmla="*/ 199554 w 3430613"/>
              <a:gd name="connsiteY5" fmla="*/ 1715307 h 3430613"/>
              <a:gd name="connsiteX6" fmla="*/ 1450131 w 3430613"/>
              <a:gd name="connsiteY6" fmla="*/ 3430614 h 3430613"/>
              <a:gd name="connsiteX7" fmla="*/ 3430614 w 3430613"/>
              <a:gd name="connsiteY7" fmla="*/ 3430614 h 3430613"/>
              <a:gd name="connsiteX8" fmla="*/ 3430614 w 3430613"/>
              <a:gd name="connsiteY8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30613" h="3430613">
                <a:moveTo>
                  <a:pt x="1715307" y="0"/>
                </a:moveTo>
                <a:lnTo>
                  <a:pt x="1715307" y="885354"/>
                </a:lnTo>
                <a:lnTo>
                  <a:pt x="1072538" y="0"/>
                </a:lnTo>
                <a:lnTo>
                  <a:pt x="0" y="0"/>
                </a:lnTo>
                <a:lnTo>
                  <a:pt x="0" y="1441525"/>
                </a:lnTo>
                <a:lnTo>
                  <a:pt x="199554" y="1715307"/>
                </a:lnTo>
                <a:lnTo>
                  <a:pt x="1450131" y="3430614"/>
                </a:lnTo>
                <a:lnTo>
                  <a:pt x="3430614" y="3430614"/>
                </a:lnTo>
                <a:lnTo>
                  <a:pt x="3430614" y="0"/>
                </a:lnTo>
                <a:close/>
              </a:path>
            </a:pathLst>
          </a:custGeom>
          <a:blipFill>
            <a:blip r:embed="rId2"/>
            <a:stretch>
              <a:fillRect l="-79000" r="-70000" b="-1000"/>
            </a:stretch>
          </a:blip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4555E14-22CA-4D8C-B245-BE40EAD5928D}"/>
              </a:ext>
            </a:extLst>
          </p:cNvPr>
          <p:cNvSpPr/>
          <p:nvPr/>
        </p:nvSpPr>
        <p:spPr>
          <a:xfrm>
            <a:off x="2573406" y="5151480"/>
            <a:ext cx="2573406" cy="20192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438FB1-9588-4BAD-99C1-7B154D484B64}"/>
              </a:ext>
            </a:extLst>
          </p:cNvPr>
          <p:cNvSpPr/>
          <p:nvPr/>
        </p:nvSpPr>
        <p:spPr>
          <a:xfrm>
            <a:off x="1" y="5151480"/>
            <a:ext cx="1609085" cy="20192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C499D15D-30A8-4051-A933-E5B8CC413B8A}"/>
              </a:ext>
            </a:extLst>
          </p:cNvPr>
          <p:cNvSpPr/>
          <p:nvPr/>
        </p:nvSpPr>
        <p:spPr>
          <a:xfrm>
            <a:off x="1" y="2933145"/>
            <a:ext cx="1609085" cy="2218333"/>
          </a:xfrm>
          <a:custGeom>
            <a:avLst/>
            <a:gdLst>
              <a:gd name="connsiteX0" fmla="*/ 0 w 1072537"/>
              <a:gd name="connsiteY0" fmla="*/ 1477294 h 1477293"/>
              <a:gd name="connsiteX1" fmla="*/ 1072538 w 1072537"/>
              <a:gd name="connsiteY1" fmla="*/ 1477294 h 1477293"/>
              <a:gd name="connsiteX2" fmla="*/ 0 w 1072537"/>
              <a:gd name="connsiteY2" fmla="*/ 0 h 1477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2537" h="1477293">
                <a:moveTo>
                  <a:pt x="0" y="1477294"/>
                </a:moveTo>
                <a:lnTo>
                  <a:pt x="1072538" y="1477294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96000">
                <a:schemeClr val="accent3"/>
              </a:gs>
              <a:gs pos="59000">
                <a:schemeClr val="accent1"/>
              </a:gs>
            </a:gsLst>
            <a:lin ang="13500000" scaled="1"/>
            <a:tileRect/>
          </a:gradFill>
          <a:ln w="1344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137184" tIns="68592" rIns="137184" bIns="685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2149449-EF0F-4D47-912B-B93D7CD2BBFC}"/>
              </a:ext>
            </a:extLst>
          </p:cNvPr>
          <p:cNvSpPr/>
          <p:nvPr/>
        </p:nvSpPr>
        <p:spPr>
          <a:xfrm>
            <a:off x="1609086" y="5151478"/>
            <a:ext cx="964321" cy="1329466"/>
          </a:xfrm>
          <a:custGeom>
            <a:avLst/>
            <a:gdLst>
              <a:gd name="connsiteX0" fmla="*/ 642769 w 642769"/>
              <a:gd name="connsiteY0" fmla="*/ 0 h 885354"/>
              <a:gd name="connsiteX1" fmla="*/ 0 w 642769"/>
              <a:gd name="connsiteY1" fmla="*/ 0 h 885354"/>
              <a:gd name="connsiteX2" fmla="*/ 642769 w 642769"/>
              <a:gd name="connsiteY2" fmla="*/ 885354 h 885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2769" h="885354">
                <a:moveTo>
                  <a:pt x="642769" y="0"/>
                </a:moveTo>
                <a:lnTo>
                  <a:pt x="0" y="0"/>
                </a:lnTo>
                <a:lnTo>
                  <a:pt x="642769" y="885354"/>
                </a:lnTo>
                <a:close/>
              </a:path>
            </a:pathLst>
          </a:custGeom>
          <a:solidFill>
            <a:srgbClr val="D0D2D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A5FCB2A-2898-4D22-BB1B-26EE9B5C77B5}"/>
              </a:ext>
            </a:extLst>
          </p:cNvPr>
          <p:cNvSpPr/>
          <p:nvPr/>
        </p:nvSpPr>
        <p:spPr>
          <a:xfrm>
            <a:off x="0" y="7316102"/>
            <a:ext cx="2175573" cy="2986855"/>
          </a:xfrm>
          <a:custGeom>
            <a:avLst/>
            <a:gdLst>
              <a:gd name="connsiteX0" fmla="*/ 0 w 1450130"/>
              <a:gd name="connsiteY0" fmla="*/ 0 h 1989088"/>
              <a:gd name="connsiteX1" fmla="*/ 0 w 1450130"/>
              <a:gd name="connsiteY1" fmla="*/ 1989089 h 1989088"/>
              <a:gd name="connsiteX2" fmla="*/ 1450131 w 1450130"/>
              <a:gd name="connsiteY2" fmla="*/ 1989089 h 1989088"/>
              <a:gd name="connsiteX3" fmla="*/ 199554 w 1450130"/>
              <a:gd name="connsiteY3" fmla="*/ 273782 h 1989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0130" h="1989088">
                <a:moveTo>
                  <a:pt x="0" y="0"/>
                </a:moveTo>
                <a:lnTo>
                  <a:pt x="0" y="1989089"/>
                </a:lnTo>
                <a:lnTo>
                  <a:pt x="1450131" y="1989089"/>
                </a:lnTo>
                <a:lnTo>
                  <a:pt x="199554" y="273782"/>
                </a:lnTo>
                <a:close/>
              </a:path>
            </a:pathLst>
          </a:custGeom>
          <a:solidFill>
            <a:srgbClr val="D0D2D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354615D-CF1B-49E0-8FD5-373E587F3B04}"/>
              </a:ext>
            </a:extLst>
          </p:cNvPr>
          <p:cNvSpPr/>
          <p:nvPr/>
        </p:nvSpPr>
        <p:spPr>
          <a:xfrm>
            <a:off x="0" y="1"/>
            <a:ext cx="2573406" cy="5151479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953320 h 3430613"/>
              <a:gd name="connsiteX2" fmla="*/ 1072538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953320"/>
                </a:lnTo>
                <a:lnTo>
                  <a:pt x="1072538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solidFill>
            <a:srgbClr val="E6E6E6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7D86F8A-CE76-4E46-B232-E08E01F5D098}"/>
              </a:ext>
            </a:extLst>
          </p:cNvPr>
          <p:cNvSpPr/>
          <p:nvPr/>
        </p:nvSpPr>
        <p:spPr>
          <a:xfrm>
            <a:off x="2573406" y="1"/>
            <a:ext cx="2573406" cy="5151479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3"/>
              </a:gs>
              <a:gs pos="38000">
                <a:schemeClr val="accent1"/>
              </a:gs>
            </a:gsLst>
            <a:lin ang="13800000" scaled="0"/>
            <a:tileRect/>
          </a:gra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8872A2-7FD7-42D4-AE5F-D49F168A28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1867755" y="2192629"/>
            <a:ext cx="3742346" cy="1152463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75665CE-44ED-4C71-BA57-B5E6210FBF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64123" y="897686"/>
            <a:ext cx="12209560" cy="8443280"/>
          </a:xfrm>
        </p:spPr>
        <p:txBody>
          <a:bodyPr lIns="0" tIns="0" rIns="0" bIns="0"/>
          <a:lstStyle>
            <a:lvl1pPr marL="0" marR="0" indent="0" algn="l" defTabSz="1413133" rtl="0" eaLnBrk="0" fontAlgn="base" latinLnBrk="0" hangingPunct="0">
              <a:lnSpc>
                <a:spcPct val="100000"/>
              </a:lnSpc>
              <a:spcBef>
                <a:spcPts val="4997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None/>
              <a:tabLst/>
              <a:defRPr sz="3796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620123" marR="0" lvl="0" indent="-620123" algn="l" defTabSz="1413133" rtl="0" eaLnBrk="0" fontAlgn="base" latinLnBrk="0" hangingPunct="0">
              <a:lnSpc>
                <a:spcPct val="100000"/>
              </a:lnSpc>
              <a:spcBef>
                <a:spcPts val="4997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13002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714BA7-7651-4720-A536-D1CCF8F0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8291175" cy="102981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7877695" y="1924049"/>
            <a:ext cx="9737205" cy="7181851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marL="900843" lvl="1" indent="-279134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10F7B810-8012-4CA5-99A1-C3042C799D1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877696" y="503499"/>
            <a:ext cx="9737205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3" name="Group 4">
            <a:extLst>
              <a:ext uri="{FF2B5EF4-FFF2-40B4-BE49-F238E27FC236}">
                <a16:creationId xmlns:a16="http://schemas.microsoft.com/office/drawing/2014/main" id="{90A47F85-CEEB-4626-AF18-66F35BF08EA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A2F07EFA-1966-44A7-9FBD-B8BD804C847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4638EF71-5B46-4B6E-BF00-F5582E394E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F50FF6A7-A9F7-4AE9-8F06-CF19B67E31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0A4FCCDA-FDE2-4F4D-9838-EB6834A732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EF83FB5D-D30A-4496-B197-572261D9A8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47A3BABC-FD92-49B4-AD1F-2657A51699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687452A5-C270-488B-A3B1-99AEBBA0E6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B4FC6C62-34D1-4569-8ED5-A45B9C7EA9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91EADAD5-D3EE-48B9-88D2-8F46BA9170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D0BA4E26-1CBE-4B77-80EB-778B621BF5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F549F873-FF5A-445F-AB9A-79F65B9837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452DD46E-FFD9-4B19-AFC5-54D6948391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Rectangle 16">
              <a:extLst>
                <a:ext uri="{FF2B5EF4-FFF2-40B4-BE49-F238E27FC236}">
                  <a16:creationId xmlns:a16="http://schemas.microsoft.com/office/drawing/2014/main" id="{A41A6C16-A2CC-427A-9628-F44F43DF7E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42CE0281-70DA-4DC5-AFE9-7CE0997E4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8">
              <a:extLst>
                <a:ext uri="{FF2B5EF4-FFF2-40B4-BE49-F238E27FC236}">
                  <a16:creationId xmlns:a16="http://schemas.microsoft.com/office/drawing/2014/main" id="{F555ECE5-4E14-4CBF-AD3E-B29BF5C389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AC2667A3-28C2-41AB-8BAC-E6F9F0201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B5BE719C-36FC-4494-A7EB-3FFB1B0B45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7985D453-537A-40B3-B610-6EED9E6229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32578" y="2696543"/>
            <a:ext cx="4658319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395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26981861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714BA7-7651-4720-A536-D1CCF8F0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91175" cy="102981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299200" y="1924049"/>
            <a:ext cx="11277601" cy="7181851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marL="900843" lvl="1" indent="-279134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10F7B810-8012-4CA5-99A1-C3042C799D1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99201" y="503499"/>
            <a:ext cx="11277601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3" name="Group 4">
            <a:extLst>
              <a:ext uri="{FF2B5EF4-FFF2-40B4-BE49-F238E27FC236}">
                <a16:creationId xmlns:a16="http://schemas.microsoft.com/office/drawing/2014/main" id="{03E9445E-8163-49DB-858B-84DE0F3C44C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08A48A48-AE25-4742-A484-9378D079CDF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439E1665-CB49-4F4C-A3DE-87A6F5D491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6F8B3A5F-EBB9-40FF-B28D-C18131167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FEBA5C43-248E-48DF-86B3-4B457643A1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A3E22320-D129-4366-A5C4-CC1F10233C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79FE8B18-F5D0-4388-BFFB-20B61C0992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46F6BB4A-53A0-4442-99AD-BC79B58669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0A34A910-C272-4B79-91BE-15BE5F3900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170C8D80-EB0B-41CB-AABE-8E20262B56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B852F2C9-30E8-464C-BF69-931BC6FA95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915D71EE-4A85-4A03-ADB9-BE11327166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8B0A1BDA-7394-4CA0-A1AD-C6F317FA10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Rectangle 16">
              <a:extLst>
                <a:ext uri="{FF2B5EF4-FFF2-40B4-BE49-F238E27FC236}">
                  <a16:creationId xmlns:a16="http://schemas.microsoft.com/office/drawing/2014/main" id="{B0C62467-0A47-4F8D-849B-C4160BC4EE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A8CDA444-3673-4DBC-ABC1-38B44CF79C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8">
              <a:extLst>
                <a:ext uri="{FF2B5EF4-FFF2-40B4-BE49-F238E27FC236}">
                  <a16:creationId xmlns:a16="http://schemas.microsoft.com/office/drawing/2014/main" id="{90FB3045-7D4C-47D4-9CAB-FD11B2A2D6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6124F102-6CBE-44DA-BB08-FF7C7B7F57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4ECC5C6A-88D5-4DFE-BA2A-4434EB2850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939B2F98-C516-4480-AB3F-F11BFD9DE7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2412" y="2108981"/>
            <a:ext cx="4658319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395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27681426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714BA7-7651-4720-A536-D1CCF8F0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64"/>
            <a:ext cx="18291175" cy="1028878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7750696" y="1924049"/>
            <a:ext cx="9775304" cy="7181851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marL="900843" lvl="1" indent="-279134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10F7B810-8012-4CA5-99A1-C3042C799D1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750697" y="503499"/>
            <a:ext cx="9775304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3" name="Group 4">
            <a:extLst>
              <a:ext uri="{FF2B5EF4-FFF2-40B4-BE49-F238E27FC236}">
                <a16:creationId xmlns:a16="http://schemas.microsoft.com/office/drawing/2014/main" id="{84BA6807-31C9-4247-9B12-CB5F519EC38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8B4C0518-625B-42F2-BEDE-0C58423386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69AA57C2-14B4-42D0-91A7-F6EA7A7FC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DEE89711-B35D-41D6-A2F8-807BC8D4B1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79E06C2C-CC13-4E4C-931C-196AE954EE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AB92D789-8599-4DA5-B5BA-009338ED76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1A43017E-0E42-4519-86EA-DD50D9E907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3F1B6608-C3FA-4FCE-82C6-A4A20E3207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B8155AF9-E9FE-4DE8-8885-7D6516D437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0CB7D4A7-8C7A-458F-8757-268B2EE92E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8085A556-F390-4A03-9284-2B7E36705F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03AEA664-FB0D-483F-B954-3313CD734A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78B7AA19-933D-45D8-BD96-0E43DE9D1C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Rectangle 16">
              <a:extLst>
                <a:ext uri="{FF2B5EF4-FFF2-40B4-BE49-F238E27FC236}">
                  <a16:creationId xmlns:a16="http://schemas.microsoft.com/office/drawing/2014/main" id="{AFE92A2F-95CA-4546-BAE7-6CE7DB8974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C724E5BA-9B86-42CC-83F4-1B51E5B7F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8">
              <a:extLst>
                <a:ext uri="{FF2B5EF4-FFF2-40B4-BE49-F238E27FC236}">
                  <a16:creationId xmlns:a16="http://schemas.microsoft.com/office/drawing/2014/main" id="{E8DB0963-6F9C-4165-9CAF-DF36C527FB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7DBEF8FE-1393-452C-81E0-F62B847FEC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947EED03-F2FA-4D64-B593-AB1D7A593D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1461DA2-1CC5-4C47-9EB2-C55702EA8B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31667" y="2108981"/>
            <a:ext cx="4658319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395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3537630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Custom Layout">
    <p:bg>
      <p:bgPr>
        <a:blipFill dpi="0" rotWithShape="1">
          <a:blip r:embed="rId2">
            <a:lum/>
          </a:blip>
          <a:srcRect/>
          <a:stretch>
            <a:fillRect l="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714BA7-7651-4720-A536-D1CCF8F0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91175" cy="102981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F838CE0-8BDA-4A24-8358-91C738550C8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89496" y="1924049"/>
            <a:ext cx="10562704" cy="7181851"/>
          </a:xfrm>
          <a:noFill/>
        </p:spPr>
        <p:txBody>
          <a:bodyPr>
            <a:normAutofit/>
          </a:bodyPr>
          <a:lstStyle>
            <a:lvl1pPr marL="447963" indent="-447963">
              <a:spcBef>
                <a:spcPts val="1199"/>
              </a:spcBef>
              <a:buFont typeface="Wingdings" panose="05000000000000000000" pitchFamily="2" charset="2"/>
              <a:buChar char="§"/>
              <a:defRPr lang="en-US" sz="31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078474" indent="-456765">
              <a:spcBef>
                <a:spcPts val="1199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2597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marL="900843" lvl="1" indent="-279134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10F7B810-8012-4CA5-99A1-C3042C799D1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89497" y="503499"/>
            <a:ext cx="10562704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3" name="Group 4">
            <a:extLst>
              <a:ext uri="{FF2B5EF4-FFF2-40B4-BE49-F238E27FC236}">
                <a16:creationId xmlns:a16="http://schemas.microsoft.com/office/drawing/2014/main" id="{57828E57-05B8-4554-955E-102F53D073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02195" y="9428889"/>
            <a:ext cx="2860675" cy="384175"/>
            <a:chOff x="436" y="5587"/>
            <a:chExt cx="1802" cy="242"/>
          </a:xfrm>
        </p:grpSpPr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74B8D578-370C-4908-9747-38537DF7797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58C54ADC-8C1A-40DE-AB5F-8CDEBE016F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10862AD4-465F-442A-8274-9C5D4A9704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915FE130-6912-4178-8334-47BCB763B5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FDCC1838-7C6D-46A3-9C85-75B465280F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4D2D567A-CCD7-42F0-AC9B-632737D152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F747D2ED-5426-4BBE-95F1-9B7B56E34A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99F513CC-2337-4FD0-BBAF-308C976481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9ED64B0D-7C33-4DFB-9444-C157F26157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CA5568B6-B3A3-450B-B26B-F3AEA95401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E5463A28-3081-4B6E-BCA8-D14298399A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27799FE4-B1AE-4A53-8339-59311B8B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Rectangle 16">
              <a:extLst>
                <a:ext uri="{FF2B5EF4-FFF2-40B4-BE49-F238E27FC236}">
                  <a16:creationId xmlns:a16="http://schemas.microsoft.com/office/drawing/2014/main" id="{4B6D38D5-A178-4FE3-9C3B-58546425CA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C42B2A13-FF49-480C-8913-44D7715549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Rectangle 18">
              <a:extLst>
                <a:ext uri="{FF2B5EF4-FFF2-40B4-BE49-F238E27FC236}">
                  <a16:creationId xmlns:a16="http://schemas.microsoft.com/office/drawing/2014/main" id="{BB18433C-2C3B-427F-BCFD-63AE17A91B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C2953640-EC30-4964-A9F2-B6377D12DA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DD46B659-8F11-41ED-BB13-1E8AF52581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415E42B-A345-482A-9C6B-92AE17984A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053130" y="2108981"/>
            <a:ext cx="4658319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5395" b="0" cap="none" spc="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37517081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9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phic 6">
            <a:extLst>
              <a:ext uri="{FF2B5EF4-FFF2-40B4-BE49-F238E27FC236}">
                <a16:creationId xmlns:a16="http://schemas.microsoft.com/office/drawing/2014/main" id="{76E00564-7B75-4D0D-BC64-F1CC14C6CAAC}"/>
              </a:ext>
            </a:extLst>
          </p:cNvPr>
          <p:cNvSpPr/>
          <p:nvPr/>
        </p:nvSpPr>
        <p:spPr>
          <a:xfrm>
            <a:off x="5764441" y="-128359"/>
            <a:ext cx="12640689" cy="10540639"/>
          </a:xfrm>
          <a:custGeom>
            <a:avLst/>
            <a:gdLst>
              <a:gd name="connsiteX0" fmla="*/ 10822462 w 12640688"/>
              <a:gd name="connsiteY0" fmla="*/ 128359 h 10540638"/>
              <a:gd name="connsiteX1" fmla="*/ 10822462 w 12640688"/>
              <a:gd name="connsiteY1" fmla="*/ 2151677 h 10540638"/>
              <a:gd name="connsiteX2" fmla="*/ 9352427 w 12640688"/>
              <a:gd name="connsiteY2" fmla="*/ 128359 h 10540638"/>
              <a:gd name="connsiteX3" fmla="*/ 3367283 w 12640688"/>
              <a:gd name="connsiteY3" fmla="*/ 128359 h 10540638"/>
              <a:gd name="connsiteX4" fmla="*/ 128359 w 12640688"/>
              <a:gd name="connsiteY4" fmla="*/ 128359 h 10540638"/>
              <a:gd name="connsiteX5" fmla="*/ 3367283 w 12640688"/>
              <a:gd name="connsiteY5" fmla="*/ 4570774 h 10540638"/>
              <a:gd name="connsiteX6" fmla="*/ 4538465 w 12640688"/>
              <a:gd name="connsiteY6" fmla="*/ 6174082 h 10540638"/>
              <a:gd name="connsiteX7" fmla="*/ 4538465 w 12640688"/>
              <a:gd name="connsiteY7" fmla="*/ 6174082 h 10540638"/>
              <a:gd name="connsiteX8" fmla="*/ 7640078 w 12640688"/>
              <a:gd name="connsiteY8" fmla="*/ 10430723 h 10540638"/>
              <a:gd name="connsiteX9" fmla="*/ 12522695 w 12640688"/>
              <a:gd name="connsiteY9" fmla="*/ 10430723 h 10540638"/>
              <a:gd name="connsiteX10" fmla="*/ 12522695 w 12640688"/>
              <a:gd name="connsiteY10" fmla="*/ 128359 h 10540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640688" h="10540638">
                <a:moveTo>
                  <a:pt x="10822462" y="128359"/>
                </a:moveTo>
                <a:lnTo>
                  <a:pt x="10822462" y="2151677"/>
                </a:lnTo>
                <a:lnTo>
                  <a:pt x="9352427" y="128359"/>
                </a:lnTo>
                <a:lnTo>
                  <a:pt x="3367283" y="128359"/>
                </a:lnTo>
                <a:lnTo>
                  <a:pt x="128359" y="128359"/>
                </a:lnTo>
                <a:lnTo>
                  <a:pt x="3367283" y="4570774"/>
                </a:lnTo>
                <a:lnTo>
                  <a:pt x="4538465" y="6174082"/>
                </a:lnTo>
                <a:lnTo>
                  <a:pt x="4538465" y="6174082"/>
                </a:lnTo>
                <a:lnTo>
                  <a:pt x="7640078" y="10430723"/>
                </a:lnTo>
                <a:lnTo>
                  <a:pt x="12522695" y="10430723"/>
                </a:lnTo>
                <a:lnTo>
                  <a:pt x="12522695" y="128359"/>
                </a:lnTo>
                <a:close/>
              </a:path>
            </a:pathLst>
          </a:custGeom>
          <a:solidFill>
            <a:schemeClr val="bg1"/>
          </a:solidFill>
          <a:ln w="4036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8BC9CA-8426-478B-BF96-830AE68F81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666875" cy="102981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2197100" y="503499"/>
            <a:ext cx="15437134" cy="874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DBCFB97-7017-4ADF-80FA-1AD2FCF84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64686" y="2327634"/>
            <a:ext cx="3378200" cy="3378200"/>
          </a:xfrm>
          <a:prstGeom prst="ellipse">
            <a:avLst/>
          </a:prstGeom>
        </p:spPr>
        <p:txBody>
          <a:bodyPr/>
          <a:lstStyle>
            <a:lvl1pPr marL="0" indent="0" algn="ctr">
              <a:buFontTx/>
              <a:buNone/>
              <a:defRPr sz="2000"/>
            </a:lvl1pPr>
          </a:lstStyle>
          <a:p>
            <a:endParaRPr lang="ru-RU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42F71E-0376-4E29-8848-07CA56E7ED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64686" y="5740400"/>
            <a:ext cx="3378200" cy="1054100"/>
          </a:xfr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</a:t>
            </a:r>
          </a:p>
          <a:p>
            <a:pPr lvl="0"/>
            <a:r>
              <a:rPr lang="en-US"/>
              <a:t>text styles</a:t>
            </a:r>
            <a:endParaRPr lang="ru-RU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6A041199-C36C-4745-B0EC-F54ADCE9D5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64686" y="6972300"/>
            <a:ext cx="3378200" cy="15875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Edit Master</a:t>
            </a:r>
          </a:p>
          <a:p>
            <a:pPr lvl="0"/>
            <a:r>
              <a:rPr lang="en-US"/>
              <a:t>text styles</a:t>
            </a:r>
            <a:endParaRPr lang="ru-RU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ED56C4CD-8EB8-4D18-B63C-B24B76E795A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22" name="AutoShape 3">
              <a:extLst>
                <a:ext uri="{FF2B5EF4-FFF2-40B4-BE49-F238E27FC236}">
                  <a16:creationId xmlns:a16="http://schemas.microsoft.com/office/drawing/2014/main" id="{AD2D453F-63CE-42AA-98DD-2E6463F5A5C5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1E812677-B9F8-4D71-9D23-3316444941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E3E2C2EE-B582-41D7-9FEB-4323BBA2E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Rectangle 7">
              <a:extLst>
                <a:ext uri="{FF2B5EF4-FFF2-40B4-BE49-F238E27FC236}">
                  <a16:creationId xmlns:a16="http://schemas.microsoft.com/office/drawing/2014/main" id="{B6ADFB1A-128B-4CD0-AFDE-15B7C86F2F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EDC6DDAF-690C-498B-8574-2007FB1F7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Rectangle 9">
              <a:extLst>
                <a:ext uri="{FF2B5EF4-FFF2-40B4-BE49-F238E27FC236}">
                  <a16:creationId xmlns:a16="http://schemas.microsoft.com/office/drawing/2014/main" id="{F0DCAD5B-D1F3-407A-A953-2086F14FA3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Rectangle 10">
              <a:extLst>
                <a:ext uri="{FF2B5EF4-FFF2-40B4-BE49-F238E27FC236}">
                  <a16:creationId xmlns:a16="http://schemas.microsoft.com/office/drawing/2014/main" id="{618E1FF8-EEE1-495F-9488-41E65E9A63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Rectangle 11">
              <a:extLst>
                <a:ext uri="{FF2B5EF4-FFF2-40B4-BE49-F238E27FC236}">
                  <a16:creationId xmlns:a16="http://schemas.microsoft.com/office/drawing/2014/main" id="{9BBA4C98-1882-4726-B782-41A70497E0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Rectangle 12">
              <a:extLst>
                <a:ext uri="{FF2B5EF4-FFF2-40B4-BE49-F238E27FC236}">
                  <a16:creationId xmlns:a16="http://schemas.microsoft.com/office/drawing/2014/main" id="{77383124-BD4D-4663-B05C-A8DC1372FC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524E5943-7878-4D77-A73C-B0D5440384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9822EF61-6682-4FDB-99AA-5833E30D26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70C0085E-0D46-4507-ABA7-2B8621F726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Rectangle 16">
              <a:extLst>
                <a:ext uri="{FF2B5EF4-FFF2-40B4-BE49-F238E27FC236}">
                  <a16:creationId xmlns:a16="http://schemas.microsoft.com/office/drawing/2014/main" id="{FD99DAD2-3328-43EB-B74F-5E91EE15BE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7D5B40F2-1AC7-41BF-AB4F-5F152DB4C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Rectangle 18">
              <a:extLst>
                <a:ext uri="{FF2B5EF4-FFF2-40B4-BE49-F238E27FC236}">
                  <a16:creationId xmlns:a16="http://schemas.microsoft.com/office/drawing/2014/main" id="{915D2FAF-8680-4AD6-A45A-BF978074BE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7091ED0C-AD7D-477F-9B02-996E2D43BC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14FD31CF-9988-4DA3-BFEF-7CBDD3454B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id="{88D8C56F-8CE7-4623-8D09-3BBE1826E79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03568" y="2327634"/>
            <a:ext cx="3378200" cy="3378200"/>
          </a:xfrm>
          <a:prstGeom prst="ellipse">
            <a:avLst/>
          </a:prstGeom>
        </p:spPr>
        <p:txBody>
          <a:bodyPr/>
          <a:lstStyle>
            <a:lvl1pPr marL="0" indent="0" algn="ctr">
              <a:buFontTx/>
              <a:buNone/>
              <a:defRPr sz="2000"/>
            </a:lvl1pPr>
          </a:lstStyle>
          <a:p>
            <a:endParaRPr lang="ru-RU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2B2D0744-E4A0-452D-A945-1BCB0E6B23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03568" y="5740400"/>
            <a:ext cx="3378200" cy="1054100"/>
          </a:xfr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</a:t>
            </a:r>
          </a:p>
          <a:p>
            <a:pPr lvl="0"/>
            <a:r>
              <a:rPr lang="en-US"/>
              <a:t>text styles</a:t>
            </a:r>
            <a:endParaRPr lang="ru-RU"/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4CBB28A1-3F02-423E-A35D-BB87E225B1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03568" y="6972300"/>
            <a:ext cx="3378200" cy="15875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Edit Master</a:t>
            </a:r>
          </a:p>
          <a:p>
            <a:pPr lvl="0"/>
            <a:r>
              <a:rPr lang="en-US"/>
              <a:t>text styles</a:t>
            </a:r>
            <a:endParaRPr lang="ru-RU"/>
          </a:p>
        </p:txBody>
      </p:sp>
      <p:sp>
        <p:nvSpPr>
          <p:cNvPr id="42" name="Picture Placeholder 13">
            <a:extLst>
              <a:ext uri="{FF2B5EF4-FFF2-40B4-BE49-F238E27FC236}">
                <a16:creationId xmlns:a16="http://schemas.microsoft.com/office/drawing/2014/main" id="{019027F7-6342-4F29-8C99-E9D8F1078B0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242450" y="2327634"/>
            <a:ext cx="3378200" cy="3378200"/>
          </a:xfrm>
          <a:prstGeom prst="ellipse">
            <a:avLst/>
          </a:prstGeom>
        </p:spPr>
        <p:txBody>
          <a:bodyPr/>
          <a:lstStyle>
            <a:lvl1pPr marL="0" indent="0" algn="ctr">
              <a:buFontTx/>
              <a:buNone/>
              <a:defRPr sz="2000"/>
            </a:lvl1pPr>
          </a:lstStyle>
          <a:p>
            <a:endParaRPr lang="ru-RU"/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64150D35-D515-437E-95EC-AC4598181F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242450" y="5740400"/>
            <a:ext cx="3378200" cy="1054100"/>
          </a:xfr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</a:t>
            </a:r>
          </a:p>
          <a:p>
            <a:pPr lvl="0"/>
            <a:r>
              <a:rPr lang="en-US"/>
              <a:t>text styles</a:t>
            </a:r>
            <a:endParaRPr lang="ru-RU"/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6E9324C5-2CC1-4C8D-9C36-F242A4EFEAB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242450" y="6972300"/>
            <a:ext cx="3378200" cy="15875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Edit Master</a:t>
            </a:r>
          </a:p>
          <a:p>
            <a:pPr lvl="0"/>
            <a:r>
              <a:rPr lang="en-US"/>
              <a:t>text styles</a:t>
            </a:r>
            <a:endParaRPr lang="ru-RU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85FC9818-6066-452C-AB79-0B1709A369B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4181333" y="2327634"/>
            <a:ext cx="3378200" cy="3378200"/>
          </a:xfrm>
          <a:prstGeom prst="ellipse">
            <a:avLst/>
          </a:prstGeom>
        </p:spPr>
        <p:txBody>
          <a:bodyPr/>
          <a:lstStyle>
            <a:lvl1pPr marL="0" indent="0" algn="ctr">
              <a:buFontTx/>
              <a:buNone/>
              <a:defRPr sz="2000"/>
            </a:lvl1pPr>
          </a:lstStyle>
          <a:p>
            <a:endParaRPr lang="ru-RU"/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D28C3C5A-F8D4-4CFF-81E1-3D4F1D201F7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181333" y="5740400"/>
            <a:ext cx="3378200" cy="1054100"/>
          </a:xfr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</a:t>
            </a:r>
          </a:p>
          <a:p>
            <a:pPr lvl="0"/>
            <a:r>
              <a:rPr lang="en-US"/>
              <a:t>text styles</a:t>
            </a:r>
            <a:endParaRPr lang="ru-RU"/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41B3743E-FFEB-4630-AF6A-DCFE14BE060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181333" y="6972300"/>
            <a:ext cx="3378200" cy="15875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Edit Master</a:t>
            </a:r>
          </a:p>
          <a:p>
            <a:pPr lvl="0"/>
            <a:r>
              <a:rPr lang="en-US"/>
              <a:t>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86161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3595C38-D1B6-4F5E-BA39-F1B723FDF8DD}"/>
              </a:ext>
            </a:extLst>
          </p:cNvPr>
          <p:cNvSpPr/>
          <p:nvPr/>
        </p:nvSpPr>
        <p:spPr>
          <a:xfrm>
            <a:off x="1" y="2933145"/>
            <a:ext cx="1609085" cy="2218333"/>
          </a:xfrm>
          <a:custGeom>
            <a:avLst/>
            <a:gdLst>
              <a:gd name="connsiteX0" fmla="*/ 0 w 1072537"/>
              <a:gd name="connsiteY0" fmla="*/ 1477294 h 1477293"/>
              <a:gd name="connsiteX1" fmla="*/ 1072538 w 1072537"/>
              <a:gd name="connsiteY1" fmla="*/ 1477294 h 1477293"/>
              <a:gd name="connsiteX2" fmla="*/ 0 w 1072537"/>
              <a:gd name="connsiteY2" fmla="*/ 0 h 1477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2537" h="1477293">
                <a:moveTo>
                  <a:pt x="0" y="1477294"/>
                </a:moveTo>
                <a:lnTo>
                  <a:pt x="1072538" y="1477294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6000">
                <a:schemeClr val="accent1"/>
              </a:gs>
            </a:gsLst>
            <a:lin ang="13500000" scaled="1"/>
            <a:tileRect/>
          </a:gradFill>
          <a:ln w="1344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137184" tIns="68592" rIns="137184" bIns="685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BE8B936-C2DB-4A42-A635-53CC0E486AD5}"/>
              </a:ext>
            </a:extLst>
          </p:cNvPr>
          <p:cNvSpPr/>
          <p:nvPr/>
        </p:nvSpPr>
        <p:spPr>
          <a:xfrm>
            <a:off x="0" y="7316102"/>
            <a:ext cx="2175573" cy="2986855"/>
          </a:xfrm>
          <a:custGeom>
            <a:avLst/>
            <a:gdLst>
              <a:gd name="connsiteX0" fmla="*/ 0 w 1450130"/>
              <a:gd name="connsiteY0" fmla="*/ 0 h 1989088"/>
              <a:gd name="connsiteX1" fmla="*/ 0 w 1450130"/>
              <a:gd name="connsiteY1" fmla="*/ 1989089 h 1989088"/>
              <a:gd name="connsiteX2" fmla="*/ 1450131 w 1450130"/>
              <a:gd name="connsiteY2" fmla="*/ 1989089 h 1989088"/>
              <a:gd name="connsiteX3" fmla="*/ 199554 w 1450130"/>
              <a:gd name="connsiteY3" fmla="*/ 273782 h 1989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0130" h="1989088">
                <a:moveTo>
                  <a:pt x="0" y="0"/>
                </a:moveTo>
                <a:lnTo>
                  <a:pt x="0" y="1989089"/>
                </a:lnTo>
                <a:lnTo>
                  <a:pt x="1450131" y="1989089"/>
                </a:lnTo>
                <a:lnTo>
                  <a:pt x="199554" y="273782"/>
                </a:lnTo>
                <a:close/>
              </a:path>
            </a:pathLst>
          </a:custGeom>
          <a:solidFill>
            <a:srgbClr val="D0D2D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4B229CE-B796-4735-ABE7-E8B42FDE7465}"/>
              </a:ext>
            </a:extLst>
          </p:cNvPr>
          <p:cNvSpPr/>
          <p:nvPr/>
        </p:nvSpPr>
        <p:spPr>
          <a:xfrm>
            <a:off x="0" y="1"/>
            <a:ext cx="2573406" cy="5151479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953320 h 3430613"/>
              <a:gd name="connsiteX2" fmla="*/ 1072538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953320"/>
                </a:lnTo>
                <a:lnTo>
                  <a:pt x="1072538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solidFill>
            <a:srgbClr val="E6E6E6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FE9B3E9-A4F3-4578-8364-FD985216AE7A}"/>
              </a:ext>
            </a:extLst>
          </p:cNvPr>
          <p:cNvSpPr/>
          <p:nvPr/>
        </p:nvSpPr>
        <p:spPr>
          <a:xfrm>
            <a:off x="2573406" y="1"/>
            <a:ext cx="2573406" cy="5151479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35000">
                <a:schemeClr val="accent1"/>
              </a:gs>
            </a:gsLst>
            <a:lin ang="13500000" scaled="1"/>
            <a:tileRect/>
          </a:gra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8872A2-7FD7-42D4-AE5F-D49F168A28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1867755" y="2192629"/>
            <a:ext cx="3742346" cy="1152463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75665CE-44ED-4C71-BA57-B5E6210FBF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64123" y="897686"/>
            <a:ext cx="12209560" cy="8443280"/>
          </a:xfrm>
        </p:spPr>
        <p:txBody>
          <a:bodyPr lIns="0" tIns="0" rIns="0" bIns="0"/>
          <a:lstStyle>
            <a:lvl1pPr marL="0" marR="0" indent="0" algn="l" defTabSz="1413133" rtl="0" eaLnBrk="0" fontAlgn="base" latinLnBrk="0" hangingPunct="0">
              <a:lnSpc>
                <a:spcPct val="100000"/>
              </a:lnSpc>
              <a:spcBef>
                <a:spcPts val="4997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None/>
              <a:tabLst/>
              <a:defRPr sz="3796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620123" marR="0" lvl="0" indent="-620123" algn="l" defTabSz="1413133" rtl="0" eaLnBrk="0" fontAlgn="base" latinLnBrk="0" hangingPunct="0">
              <a:lnSpc>
                <a:spcPct val="100000"/>
              </a:lnSpc>
              <a:spcBef>
                <a:spcPts val="4997"/>
              </a:spcBef>
              <a:spcAft>
                <a:spcPts val="0"/>
              </a:spcAft>
              <a:buClr>
                <a:srgbClr val="009ED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D8EBD89-C99B-420D-A9FA-7B586723B412}"/>
              </a:ext>
            </a:extLst>
          </p:cNvPr>
          <p:cNvSpPr/>
          <p:nvPr/>
        </p:nvSpPr>
        <p:spPr>
          <a:xfrm>
            <a:off x="1" y="5151479"/>
            <a:ext cx="5146813" cy="5151479"/>
          </a:xfrm>
          <a:custGeom>
            <a:avLst/>
            <a:gdLst>
              <a:gd name="connsiteX0" fmla="*/ 1715307 w 3430613"/>
              <a:gd name="connsiteY0" fmla="*/ 0 h 3430613"/>
              <a:gd name="connsiteX1" fmla="*/ 1715307 w 3430613"/>
              <a:gd name="connsiteY1" fmla="*/ 885354 h 3430613"/>
              <a:gd name="connsiteX2" fmla="*/ 1072538 w 3430613"/>
              <a:gd name="connsiteY2" fmla="*/ 0 h 3430613"/>
              <a:gd name="connsiteX3" fmla="*/ 0 w 3430613"/>
              <a:gd name="connsiteY3" fmla="*/ 0 h 3430613"/>
              <a:gd name="connsiteX4" fmla="*/ 0 w 3430613"/>
              <a:gd name="connsiteY4" fmla="*/ 1441525 h 3430613"/>
              <a:gd name="connsiteX5" fmla="*/ 199554 w 3430613"/>
              <a:gd name="connsiteY5" fmla="*/ 1715307 h 3430613"/>
              <a:gd name="connsiteX6" fmla="*/ 1450131 w 3430613"/>
              <a:gd name="connsiteY6" fmla="*/ 3430614 h 3430613"/>
              <a:gd name="connsiteX7" fmla="*/ 3430614 w 3430613"/>
              <a:gd name="connsiteY7" fmla="*/ 3430614 h 3430613"/>
              <a:gd name="connsiteX8" fmla="*/ 3430614 w 3430613"/>
              <a:gd name="connsiteY8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30613" h="3430613">
                <a:moveTo>
                  <a:pt x="1715307" y="0"/>
                </a:moveTo>
                <a:lnTo>
                  <a:pt x="1715307" y="885354"/>
                </a:lnTo>
                <a:lnTo>
                  <a:pt x="1072538" y="0"/>
                </a:lnTo>
                <a:lnTo>
                  <a:pt x="0" y="0"/>
                </a:lnTo>
                <a:lnTo>
                  <a:pt x="0" y="1441525"/>
                </a:lnTo>
                <a:lnTo>
                  <a:pt x="199554" y="1715307"/>
                </a:lnTo>
                <a:lnTo>
                  <a:pt x="1450131" y="3430614"/>
                </a:lnTo>
                <a:lnTo>
                  <a:pt x="3430614" y="3430614"/>
                </a:lnTo>
                <a:lnTo>
                  <a:pt x="3430614" y="0"/>
                </a:lnTo>
                <a:close/>
              </a:path>
            </a:pathLst>
          </a:custGeom>
          <a:solidFill>
            <a:schemeClr val="accent1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57A12A6-D555-46FA-91D2-C391A611D885}"/>
              </a:ext>
            </a:extLst>
          </p:cNvPr>
          <p:cNvSpPr/>
          <p:nvPr/>
        </p:nvSpPr>
        <p:spPr>
          <a:xfrm>
            <a:off x="2573406" y="5151480"/>
            <a:ext cx="2573406" cy="20192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6FB9E0F-B22A-4C5E-911C-8D22D93DB88C}"/>
              </a:ext>
            </a:extLst>
          </p:cNvPr>
          <p:cNvSpPr/>
          <p:nvPr/>
        </p:nvSpPr>
        <p:spPr>
          <a:xfrm>
            <a:off x="1" y="5151480"/>
            <a:ext cx="1609085" cy="20192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54C822E-5AFB-444B-899A-496B0C426D66}"/>
              </a:ext>
            </a:extLst>
          </p:cNvPr>
          <p:cNvSpPr/>
          <p:nvPr/>
        </p:nvSpPr>
        <p:spPr>
          <a:xfrm>
            <a:off x="1609086" y="5151478"/>
            <a:ext cx="964321" cy="1329466"/>
          </a:xfrm>
          <a:custGeom>
            <a:avLst/>
            <a:gdLst>
              <a:gd name="connsiteX0" fmla="*/ 642769 w 642769"/>
              <a:gd name="connsiteY0" fmla="*/ 0 h 885354"/>
              <a:gd name="connsiteX1" fmla="*/ 0 w 642769"/>
              <a:gd name="connsiteY1" fmla="*/ 0 h 885354"/>
              <a:gd name="connsiteX2" fmla="*/ 642769 w 642769"/>
              <a:gd name="connsiteY2" fmla="*/ 885354 h 885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2769" h="885354">
                <a:moveTo>
                  <a:pt x="642769" y="0"/>
                </a:moveTo>
                <a:lnTo>
                  <a:pt x="0" y="0"/>
                </a:lnTo>
                <a:lnTo>
                  <a:pt x="642769" y="885354"/>
                </a:lnTo>
                <a:close/>
              </a:path>
            </a:pathLst>
          </a:custGeom>
          <a:solidFill>
            <a:srgbClr val="D0D2D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015000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AA37E4A-3656-4072-8EB5-71AE7644EAF0}"/>
              </a:ext>
            </a:extLst>
          </p:cNvPr>
          <p:cNvSpPr/>
          <p:nvPr/>
        </p:nvSpPr>
        <p:spPr>
          <a:xfrm>
            <a:off x="0" y="0"/>
            <a:ext cx="18291175" cy="102977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C798D1-668F-4600-873C-F4F6B93492D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7330472" cy="10297715"/>
          </a:xfrm>
          <a:prstGeom prst="rect">
            <a:avLst/>
          </a:prstGeom>
        </p:spPr>
      </p:pic>
      <p:sp>
        <p:nvSpPr>
          <p:cNvPr id="99" name="Rectangle 25">
            <a:extLst>
              <a:ext uri="{FF2B5EF4-FFF2-40B4-BE49-F238E27FC236}">
                <a16:creationId xmlns:a16="http://schemas.microsoft.com/office/drawing/2014/main" id="{5A4A298F-6A87-40F4-A45A-C9336F0907ED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50006" y="850899"/>
            <a:ext cx="5509493" cy="821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defRPr sz="47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hort Title Here</a:t>
            </a:r>
          </a:p>
        </p:txBody>
      </p:sp>
      <p:grpSp>
        <p:nvGrpSpPr>
          <p:cNvPr id="124" name="Group 4">
            <a:extLst>
              <a:ext uri="{FF2B5EF4-FFF2-40B4-BE49-F238E27FC236}">
                <a16:creationId xmlns:a16="http://schemas.microsoft.com/office/drawing/2014/main" id="{AD4CD4E8-4657-4235-B170-CE989EA18A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6" cy="384175"/>
            <a:chOff x="436" y="5587"/>
            <a:chExt cx="1802" cy="242"/>
          </a:xfrm>
        </p:grpSpPr>
        <p:sp>
          <p:nvSpPr>
            <p:cNvPr id="125" name="AutoShape 3">
              <a:extLst>
                <a:ext uri="{FF2B5EF4-FFF2-40B4-BE49-F238E27FC236}">
                  <a16:creationId xmlns:a16="http://schemas.microsoft.com/office/drawing/2014/main" id="{207D1791-1E48-418A-9876-4CA2A5B4982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26" name="Freeform 5">
              <a:extLst>
                <a:ext uri="{FF2B5EF4-FFF2-40B4-BE49-F238E27FC236}">
                  <a16:creationId xmlns:a16="http://schemas.microsoft.com/office/drawing/2014/main" id="{32849074-9FF3-4996-84E0-A16B0A6AA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27" name="Freeform 6">
              <a:extLst>
                <a:ext uri="{FF2B5EF4-FFF2-40B4-BE49-F238E27FC236}">
                  <a16:creationId xmlns:a16="http://schemas.microsoft.com/office/drawing/2014/main" id="{C8A48C5C-8E7E-4EF7-A9D3-0B9DBC912A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28" name="Rectangle 7">
              <a:extLst>
                <a:ext uri="{FF2B5EF4-FFF2-40B4-BE49-F238E27FC236}">
                  <a16:creationId xmlns:a16="http://schemas.microsoft.com/office/drawing/2014/main" id="{0830871B-9C20-42FF-AA90-202E5A6365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29" name="Freeform 8">
              <a:extLst>
                <a:ext uri="{FF2B5EF4-FFF2-40B4-BE49-F238E27FC236}">
                  <a16:creationId xmlns:a16="http://schemas.microsoft.com/office/drawing/2014/main" id="{0F68A9B1-A96B-4240-8B3F-0A9A3B9B3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0" name="Rectangle 9">
              <a:extLst>
                <a:ext uri="{FF2B5EF4-FFF2-40B4-BE49-F238E27FC236}">
                  <a16:creationId xmlns:a16="http://schemas.microsoft.com/office/drawing/2014/main" id="{C5088E27-CD27-4BE9-920A-A6733E095A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1" name="Rectangle 10">
              <a:extLst>
                <a:ext uri="{FF2B5EF4-FFF2-40B4-BE49-F238E27FC236}">
                  <a16:creationId xmlns:a16="http://schemas.microsoft.com/office/drawing/2014/main" id="{A4AAC14D-5549-4E3A-858D-4BF1184B09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2" name="Rectangle 11">
              <a:extLst>
                <a:ext uri="{FF2B5EF4-FFF2-40B4-BE49-F238E27FC236}">
                  <a16:creationId xmlns:a16="http://schemas.microsoft.com/office/drawing/2014/main" id="{2DDFD098-6FC4-4911-8CCF-800B7F0978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3" name="Rectangle 12">
              <a:extLst>
                <a:ext uri="{FF2B5EF4-FFF2-40B4-BE49-F238E27FC236}">
                  <a16:creationId xmlns:a16="http://schemas.microsoft.com/office/drawing/2014/main" id="{EB1ADB29-0841-4FC8-B05A-D0F1BD5559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4" name="Freeform 13">
              <a:extLst>
                <a:ext uri="{FF2B5EF4-FFF2-40B4-BE49-F238E27FC236}">
                  <a16:creationId xmlns:a16="http://schemas.microsoft.com/office/drawing/2014/main" id="{07757050-F354-4506-88E1-A432B85BB0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5" name="Freeform 14">
              <a:extLst>
                <a:ext uri="{FF2B5EF4-FFF2-40B4-BE49-F238E27FC236}">
                  <a16:creationId xmlns:a16="http://schemas.microsoft.com/office/drawing/2014/main" id="{A5F3C1E6-E5AB-4390-A16A-5634885E0D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6" name="Freeform 15">
              <a:extLst>
                <a:ext uri="{FF2B5EF4-FFF2-40B4-BE49-F238E27FC236}">
                  <a16:creationId xmlns:a16="http://schemas.microsoft.com/office/drawing/2014/main" id="{1096F423-F5D3-4885-AD25-B456DF8475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7" name="Rectangle 16">
              <a:extLst>
                <a:ext uri="{FF2B5EF4-FFF2-40B4-BE49-F238E27FC236}">
                  <a16:creationId xmlns:a16="http://schemas.microsoft.com/office/drawing/2014/main" id="{C7FB5850-6F74-4BEF-9419-6BA93DC034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8" name="Freeform 17">
              <a:extLst>
                <a:ext uri="{FF2B5EF4-FFF2-40B4-BE49-F238E27FC236}">
                  <a16:creationId xmlns:a16="http://schemas.microsoft.com/office/drawing/2014/main" id="{A4E65BA1-BD37-4CDC-A7CC-E0F0E881B5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39" name="Rectangle 18">
              <a:extLst>
                <a:ext uri="{FF2B5EF4-FFF2-40B4-BE49-F238E27FC236}">
                  <a16:creationId xmlns:a16="http://schemas.microsoft.com/office/drawing/2014/main" id="{3A465C3D-E9D4-4F70-A5B5-FE90DFCF72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40" name="Freeform 19">
              <a:extLst>
                <a:ext uri="{FF2B5EF4-FFF2-40B4-BE49-F238E27FC236}">
                  <a16:creationId xmlns:a16="http://schemas.microsoft.com/office/drawing/2014/main" id="{A8797094-1551-46F6-9147-BB6C2051ED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  <p:sp>
          <p:nvSpPr>
            <p:cNvPr id="141" name="Freeform 20">
              <a:extLst>
                <a:ext uri="{FF2B5EF4-FFF2-40B4-BE49-F238E27FC236}">
                  <a16:creationId xmlns:a16="http://schemas.microsoft.com/office/drawing/2014/main" id="{9BC13E62-90BE-4FDB-8764-2BE34FC18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9"/>
            </a:p>
          </p:txBody>
        </p:sp>
      </p:grp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E11EFBF9-4806-4CF5-A280-E8B9957752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19183" y="9602349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Chart Placeholder 10">
            <a:extLst>
              <a:ext uri="{FF2B5EF4-FFF2-40B4-BE49-F238E27FC236}">
                <a16:creationId xmlns:a16="http://schemas.microsoft.com/office/drawing/2014/main" id="{28461E0F-6494-4194-9717-9C43A2B49633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087711" y="850900"/>
            <a:ext cx="9550362" cy="8216900"/>
          </a:xfrm>
        </p:spPr>
        <p:txBody>
          <a:bodyPr/>
          <a:lstStyle>
            <a:lvl1pPr marL="447963" indent="-447963"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8978096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ighlight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C798D1-668F-4600-873C-F4F6B93492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5557"/>
            <a:ext cx="18288000" cy="10287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9" name="Rectangle 25">
            <a:extLst>
              <a:ext uri="{FF2B5EF4-FFF2-40B4-BE49-F238E27FC236}">
                <a16:creationId xmlns:a16="http://schemas.microsoft.com/office/drawing/2014/main" id="{5A4A298F-6A87-40F4-A45A-C9336F0907ED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50006" y="850900"/>
            <a:ext cx="5509493" cy="821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hort Title Here</a:t>
            </a:r>
          </a:p>
        </p:txBody>
      </p:sp>
      <p:sp>
        <p:nvSpPr>
          <p:cNvPr id="100" name="Chart Placeholder 10">
            <a:extLst>
              <a:ext uri="{FF2B5EF4-FFF2-40B4-BE49-F238E27FC236}">
                <a16:creationId xmlns:a16="http://schemas.microsoft.com/office/drawing/2014/main" id="{B904B7A6-8520-4E44-A82E-37C85E12C1F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087711" y="850900"/>
            <a:ext cx="9550362" cy="8216900"/>
          </a:xfrm>
        </p:spPr>
        <p:txBody>
          <a:bodyPr/>
          <a:lstStyle>
            <a:lvl1pPr marL="447963" indent="-447963"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/>
              <a:t>Click icon to add chart</a:t>
            </a:r>
          </a:p>
        </p:txBody>
      </p:sp>
      <p:grpSp>
        <p:nvGrpSpPr>
          <p:cNvPr id="124" name="Group 4">
            <a:extLst>
              <a:ext uri="{FF2B5EF4-FFF2-40B4-BE49-F238E27FC236}">
                <a16:creationId xmlns:a16="http://schemas.microsoft.com/office/drawing/2014/main" id="{AD4CD4E8-4657-4235-B170-CE989EA18A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125" name="AutoShape 3">
              <a:extLst>
                <a:ext uri="{FF2B5EF4-FFF2-40B4-BE49-F238E27FC236}">
                  <a16:creationId xmlns:a16="http://schemas.microsoft.com/office/drawing/2014/main" id="{207D1791-1E48-418A-9876-4CA2A5B4982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" name="Freeform 5">
              <a:extLst>
                <a:ext uri="{FF2B5EF4-FFF2-40B4-BE49-F238E27FC236}">
                  <a16:creationId xmlns:a16="http://schemas.microsoft.com/office/drawing/2014/main" id="{32849074-9FF3-4996-84E0-A16B0A6AA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" name="Freeform 6">
              <a:extLst>
                <a:ext uri="{FF2B5EF4-FFF2-40B4-BE49-F238E27FC236}">
                  <a16:creationId xmlns:a16="http://schemas.microsoft.com/office/drawing/2014/main" id="{C8A48C5C-8E7E-4EF7-A9D3-0B9DBC912A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" name="Rectangle 7">
              <a:extLst>
                <a:ext uri="{FF2B5EF4-FFF2-40B4-BE49-F238E27FC236}">
                  <a16:creationId xmlns:a16="http://schemas.microsoft.com/office/drawing/2014/main" id="{0830871B-9C20-42FF-AA90-202E5A6365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" name="Freeform 8">
              <a:extLst>
                <a:ext uri="{FF2B5EF4-FFF2-40B4-BE49-F238E27FC236}">
                  <a16:creationId xmlns:a16="http://schemas.microsoft.com/office/drawing/2014/main" id="{0F68A9B1-A96B-4240-8B3F-0A9A3B9B3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" name="Rectangle 9">
              <a:extLst>
                <a:ext uri="{FF2B5EF4-FFF2-40B4-BE49-F238E27FC236}">
                  <a16:creationId xmlns:a16="http://schemas.microsoft.com/office/drawing/2014/main" id="{C5088E27-CD27-4BE9-920A-A6733E095A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" name="Rectangle 10">
              <a:extLst>
                <a:ext uri="{FF2B5EF4-FFF2-40B4-BE49-F238E27FC236}">
                  <a16:creationId xmlns:a16="http://schemas.microsoft.com/office/drawing/2014/main" id="{A4AAC14D-5549-4E3A-858D-4BF1184B09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" name="Rectangle 11">
              <a:extLst>
                <a:ext uri="{FF2B5EF4-FFF2-40B4-BE49-F238E27FC236}">
                  <a16:creationId xmlns:a16="http://schemas.microsoft.com/office/drawing/2014/main" id="{2DDFD098-6FC4-4911-8CCF-800B7F0978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" name="Rectangle 12">
              <a:extLst>
                <a:ext uri="{FF2B5EF4-FFF2-40B4-BE49-F238E27FC236}">
                  <a16:creationId xmlns:a16="http://schemas.microsoft.com/office/drawing/2014/main" id="{EB1ADB29-0841-4FC8-B05A-D0F1BD5559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" name="Freeform 13">
              <a:extLst>
                <a:ext uri="{FF2B5EF4-FFF2-40B4-BE49-F238E27FC236}">
                  <a16:creationId xmlns:a16="http://schemas.microsoft.com/office/drawing/2014/main" id="{07757050-F354-4506-88E1-A432B85BB0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" name="Freeform 14">
              <a:extLst>
                <a:ext uri="{FF2B5EF4-FFF2-40B4-BE49-F238E27FC236}">
                  <a16:creationId xmlns:a16="http://schemas.microsoft.com/office/drawing/2014/main" id="{A5F3C1E6-E5AB-4390-A16A-5634885E0D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" name="Freeform 15">
              <a:extLst>
                <a:ext uri="{FF2B5EF4-FFF2-40B4-BE49-F238E27FC236}">
                  <a16:creationId xmlns:a16="http://schemas.microsoft.com/office/drawing/2014/main" id="{1096F423-F5D3-4885-AD25-B456DF8475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" name="Rectangle 16">
              <a:extLst>
                <a:ext uri="{FF2B5EF4-FFF2-40B4-BE49-F238E27FC236}">
                  <a16:creationId xmlns:a16="http://schemas.microsoft.com/office/drawing/2014/main" id="{C7FB5850-6F74-4BEF-9419-6BA93DC034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" name="Freeform 17">
              <a:extLst>
                <a:ext uri="{FF2B5EF4-FFF2-40B4-BE49-F238E27FC236}">
                  <a16:creationId xmlns:a16="http://schemas.microsoft.com/office/drawing/2014/main" id="{A4E65BA1-BD37-4CDC-A7CC-E0F0E881B5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" name="Rectangle 18">
              <a:extLst>
                <a:ext uri="{FF2B5EF4-FFF2-40B4-BE49-F238E27FC236}">
                  <a16:creationId xmlns:a16="http://schemas.microsoft.com/office/drawing/2014/main" id="{3A465C3D-E9D4-4F70-A5B5-FE90DFCF72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0" name="Freeform 19">
              <a:extLst>
                <a:ext uri="{FF2B5EF4-FFF2-40B4-BE49-F238E27FC236}">
                  <a16:creationId xmlns:a16="http://schemas.microsoft.com/office/drawing/2014/main" id="{A8797094-1551-46F6-9147-BB6C2051ED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1" name="Freeform 20">
              <a:extLst>
                <a:ext uri="{FF2B5EF4-FFF2-40B4-BE49-F238E27FC236}">
                  <a16:creationId xmlns:a16="http://schemas.microsoft.com/office/drawing/2014/main" id="{9BC13E62-90BE-4FDB-8764-2BE34FC18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19847138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Highlight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C798D1-668F-4600-873C-F4F6B93492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64"/>
            <a:ext cx="18291175" cy="1028878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65" name="Group 4">
            <a:extLst>
              <a:ext uri="{FF2B5EF4-FFF2-40B4-BE49-F238E27FC236}">
                <a16:creationId xmlns:a16="http://schemas.microsoft.com/office/drawing/2014/main" id="{2561A8D0-0F6D-4105-82DB-132B3C41BB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1673" y="9428889"/>
            <a:ext cx="2860675" cy="384175"/>
            <a:chOff x="436" y="5587"/>
            <a:chExt cx="1802" cy="242"/>
          </a:xfrm>
        </p:grpSpPr>
        <p:sp>
          <p:nvSpPr>
            <p:cNvPr id="66" name="AutoShape 3">
              <a:extLst>
                <a:ext uri="{FF2B5EF4-FFF2-40B4-BE49-F238E27FC236}">
                  <a16:creationId xmlns:a16="http://schemas.microsoft.com/office/drawing/2014/main" id="{9715932D-C23D-4D8F-8E8B-62242BA35BC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" name="Freeform 5">
              <a:extLst>
                <a:ext uri="{FF2B5EF4-FFF2-40B4-BE49-F238E27FC236}">
                  <a16:creationId xmlns:a16="http://schemas.microsoft.com/office/drawing/2014/main" id="{E6385836-5BE8-46C6-AD5C-3B7AB2C460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809D4C3D-3385-4988-8966-D35416AEA0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" name="Rectangle 7">
              <a:extLst>
                <a:ext uri="{FF2B5EF4-FFF2-40B4-BE49-F238E27FC236}">
                  <a16:creationId xmlns:a16="http://schemas.microsoft.com/office/drawing/2014/main" id="{A7F66AD0-AE85-4676-9506-9578EE3C25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A73CE4BA-53E7-48C3-A041-48936A5078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" name="Rectangle 9">
              <a:extLst>
                <a:ext uri="{FF2B5EF4-FFF2-40B4-BE49-F238E27FC236}">
                  <a16:creationId xmlns:a16="http://schemas.microsoft.com/office/drawing/2014/main" id="{A83A5351-979C-439C-9293-E0893D3FCA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" name="Rectangle 10">
              <a:extLst>
                <a:ext uri="{FF2B5EF4-FFF2-40B4-BE49-F238E27FC236}">
                  <a16:creationId xmlns:a16="http://schemas.microsoft.com/office/drawing/2014/main" id="{F57E20DA-E5F5-483B-B5D8-369B3D4629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Rectangle 11">
              <a:extLst>
                <a:ext uri="{FF2B5EF4-FFF2-40B4-BE49-F238E27FC236}">
                  <a16:creationId xmlns:a16="http://schemas.microsoft.com/office/drawing/2014/main" id="{F981BDEB-559E-43EB-84BD-340C8915A9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Rectangle 12">
              <a:extLst>
                <a:ext uri="{FF2B5EF4-FFF2-40B4-BE49-F238E27FC236}">
                  <a16:creationId xmlns:a16="http://schemas.microsoft.com/office/drawing/2014/main" id="{64E564C4-D915-48B2-A76E-CBE97CEDDC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id="{2D9BDDD9-534C-4AB4-81E9-EB75D48B23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id="{DC11195B-E18B-4A95-967B-558FA0A8C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id="{93857615-AE68-4A9E-A31B-3D7FC157C5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Rectangle 16">
              <a:extLst>
                <a:ext uri="{FF2B5EF4-FFF2-40B4-BE49-F238E27FC236}">
                  <a16:creationId xmlns:a16="http://schemas.microsoft.com/office/drawing/2014/main" id="{74618ADE-3D16-4571-A5B3-BFDAB93938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E323FA8D-2A63-45E9-B3B7-99D91C27B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Rectangle 18">
              <a:extLst>
                <a:ext uri="{FF2B5EF4-FFF2-40B4-BE49-F238E27FC236}">
                  <a16:creationId xmlns:a16="http://schemas.microsoft.com/office/drawing/2014/main" id="{2B0FF016-4D0D-4939-92C6-780213C03B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id="{721B0454-C7CF-4BAA-BAEF-48A656D2A9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20">
              <a:extLst>
                <a:ext uri="{FF2B5EF4-FFF2-40B4-BE49-F238E27FC236}">
                  <a16:creationId xmlns:a16="http://schemas.microsoft.com/office/drawing/2014/main" id="{9B279460-5364-473E-A940-E670FB2EDA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49" name="Text Placeholder 11">
            <a:extLst>
              <a:ext uri="{FF2B5EF4-FFF2-40B4-BE49-F238E27FC236}">
                <a16:creationId xmlns:a16="http://schemas.microsoft.com/office/drawing/2014/main" id="{07EEB6DD-34EA-4451-AC7C-23E88CB676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031" y="2032001"/>
            <a:ext cx="7528269" cy="6890736"/>
          </a:xfrm>
        </p:spPr>
        <p:txBody>
          <a:bodyPr/>
          <a:lstStyle>
            <a:lvl1pPr marL="447963" indent="-447963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47915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6B9708D-6EDD-4CC6-B299-7DEF3F3F11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32930" y="2164397"/>
            <a:ext cx="6939760" cy="5636862"/>
          </a:xfrm>
          <a:noFill/>
          <a:ln>
            <a:noFill/>
          </a:ln>
        </p:spPr>
        <p:txBody>
          <a:bodyPr vert="horz" wrap="square" lIns="482205" tIns="450062" rIns="450062" bIns="514357" numCol="1" anchor="ctr" anchorCtr="0" compatLnSpc="1">
            <a:prstTxWarp prst="textNoShape">
              <a:avLst/>
            </a:prstTxWarp>
          </a:bodyPr>
          <a:lstStyle>
            <a:lvl1pPr marL="0" marR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7890" b="1" cap="none" spc="0" baseline="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1631527" rtl="0" eaLnBrk="0" fontAlgn="base" latinLnBrk="0" hangingPunct="0">
              <a:lnSpc>
                <a:spcPct val="7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EXT OF MESSAGING SLIDES</a:t>
            </a:r>
          </a:p>
        </p:txBody>
      </p:sp>
    </p:spTree>
    <p:extLst>
      <p:ext uri="{BB962C8B-B14F-4D97-AF65-F5344CB8AC3E}">
        <p14:creationId xmlns:p14="http://schemas.microsoft.com/office/powerpoint/2010/main" val="389847260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2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8291175" cy="102981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2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14500" y="1629841"/>
            <a:ext cx="16932039" cy="7467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Bulle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12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702195" y="503499"/>
            <a:ext cx="16932039" cy="874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hort Title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819183" y="9602349"/>
            <a:ext cx="722671" cy="548279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algn="r">
              <a:defRPr sz="2000" smtClean="0">
                <a:solidFill>
                  <a:schemeClr val="tx2"/>
                </a:solidFill>
                <a:latin typeface="Arial MT Std Light" panose="020B0302030403020204" pitchFamily="34" charset="0"/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61CDF559-A01D-4A7D-B6CF-71EA88929A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0573" y="9428889"/>
            <a:ext cx="2860675" cy="384175"/>
            <a:chOff x="436" y="5587"/>
            <a:chExt cx="1802" cy="242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0477ABA1-28D4-4536-BBDE-5847177A9871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36" y="5587"/>
              <a:ext cx="1802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E6A7753-0FD8-4112-8559-2EE33E94BE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" y="5591"/>
              <a:ext cx="139" cy="236"/>
            </a:xfrm>
            <a:custGeom>
              <a:avLst/>
              <a:gdLst>
                <a:gd name="T0" fmla="*/ 0 w 139"/>
                <a:gd name="T1" fmla="*/ 0 h 236"/>
                <a:gd name="T2" fmla="*/ 139 w 139"/>
                <a:gd name="T3" fmla="*/ 0 h 236"/>
                <a:gd name="T4" fmla="*/ 139 w 139"/>
                <a:gd name="T5" fmla="*/ 55 h 236"/>
                <a:gd name="T6" fmla="*/ 56 w 139"/>
                <a:gd name="T7" fmla="*/ 55 h 236"/>
                <a:gd name="T8" fmla="*/ 56 w 139"/>
                <a:gd name="T9" fmla="*/ 90 h 236"/>
                <a:gd name="T10" fmla="*/ 124 w 139"/>
                <a:gd name="T11" fmla="*/ 90 h 236"/>
                <a:gd name="T12" fmla="*/ 124 w 139"/>
                <a:gd name="T13" fmla="*/ 144 h 236"/>
                <a:gd name="T14" fmla="*/ 56 w 139"/>
                <a:gd name="T15" fmla="*/ 144 h 236"/>
                <a:gd name="T16" fmla="*/ 56 w 139"/>
                <a:gd name="T17" fmla="*/ 181 h 236"/>
                <a:gd name="T18" fmla="*/ 139 w 139"/>
                <a:gd name="T19" fmla="*/ 181 h 236"/>
                <a:gd name="T20" fmla="*/ 139 w 139"/>
                <a:gd name="T21" fmla="*/ 236 h 236"/>
                <a:gd name="T22" fmla="*/ 0 w 139"/>
                <a:gd name="T23" fmla="*/ 236 h 236"/>
                <a:gd name="T24" fmla="*/ 0 w 139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36">
                  <a:moveTo>
                    <a:pt x="0" y="0"/>
                  </a:moveTo>
                  <a:lnTo>
                    <a:pt x="139" y="0"/>
                  </a:lnTo>
                  <a:lnTo>
                    <a:pt x="139" y="55"/>
                  </a:lnTo>
                  <a:lnTo>
                    <a:pt x="56" y="55"/>
                  </a:lnTo>
                  <a:lnTo>
                    <a:pt x="56" y="90"/>
                  </a:lnTo>
                  <a:lnTo>
                    <a:pt x="124" y="90"/>
                  </a:lnTo>
                  <a:lnTo>
                    <a:pt x="124" y="144"/>
                  </a:lnTo>
                  <a:lnTo>
                    <a:pt x="56" y="144"/>
                  </a:lnTo>
                  <a:lnTo>
                    <a:pt x="56" y="181"/>
                  </a:lnTo>
                  <a:lnTo>
                    <a:pt x="139" y="181"/>
                  </a:lnTo>
                  <a:lnTo>
                    <a:pt x="139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847F9C5-B7CB-45EA-A2E4-F19D56F4EB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" y="5587"/>
              <a:ext cx="173" cy="244"/>
            </a:xfrm>
            <a:custGeom>
              <a:avLst/>
              <a:gdLst>
                <a:gd name="T0" fmla="*/ 56 w 81"/>
                <a:gd name="T1" fmla="*/ 44 h 112"/>
                <a:gd name="T2" fmla="*/ 50 w 81"/>
                <a:gd name="T3" fmla="*/ 30 h 112"/>
                <a:gd name="T4" fmla="*/ 41 w 81"/>
                <a:gd name="T5" fmla="*/ 26 h 112"/>
                <a:gd name="T6" fmla="*/ 30 w 81"/>
                <a:gd name="T7" fmla="*/ 35 h 112"/>
                <a:gd name="T8" fmla="*/ 27 w 81"/>
                <a:gd name="T9" fmla="*/ 57 h 112"/>
                <a:gd name="T10" fmla="*/ 42 w 81"/>
                <a:gd name="T11" fmla="*/ 86 h 112"/>
                <a:gd name="T12" fmla="*/ 56 w 81"/>
                <a:gd name="T13" fmla="*/ 68 h 112"/>
                <a:gd name="T14" fmla="*/ 81 w 81"/>
                <a:gd name="T15" fmla="*/ 68 h 112"/>
                <a:gd name="T16" fmla="*/ 70 w 81"/>
                <a:gd name="T17" fmla="*/ 100 h 112"/>
                <a:gd name="T18" fmla="*/ 43 w 81"/>
                <a:gd name="T19" fmla="*/ 112 h 112"/>
                <a:gd name="T20" fmla="*/ 20 w 81"/>
                <a:gd name="T21" fmla="*/ 106 h 112"/>
                <a:gd name="T22" fmla="*/ 6 w 81"/>
                <a:gd name="T23" fmla="*/ 87 h 112"/>
                <a:gd name="T24" fmla="*/ 0 w 81"/>
                <a:gd name="T25" fmla="*/ 57 h 112"/>
                <a:gd name="T26" fmla="*/ 6 w 81"/>
                <a:gd name="T27" fmla="*/ 25 h 112"/>
                <a:gd name="T28" fmla="*/ 21 w 81"/>
                <a:gd name="T29" fmla="*/ 6 h 112"/>
                <a:gd name="T30" fmla="*/ 40 w 81"/>
                <a:gd name="T31" fmla="*/ 0 h 112"/>
                <a:gd name="T32" fmla="*/ 70 w 81"/>
                <a:gd name="T33" fmla="*/ 13 h 112"/>
                <a:gd name="T34" fmla="*/ 80 w 81"/>
                <a:gd name="T35" fmla="*/ 44 h 112"/>
                <a:gd name="T36" fmla="*/ 56 w 81"/>
                <a:gd name="T37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112">
                  <a:moveTo>
                    <a:pt x="56" y="44"/>
                  </a:moveTo>
                  <a:cubicBezTo>
                    <a:pt x="55" y="37"/>
                    <a:pt x="53" y="32"/>
                    <a:pt x="50" y="30"/>
                  </a:cubicBezTo>
                  <a:cubicBezTo>
                    <a:pt x="47" y="28"/>
                    <a:pt x="44" y="26"/>
                    <a:pt x="41" y="26"/>
                  </a:cubicBezTo>
                  <a:cubicBezTo>
                    <a:pt x="36" y="26"/>
                    <a:pt x="32" y="29"/>
                    <a:pt x="30" y="35"/>
                  </a:cubicBezTo>
                  <a:cubicBezTo>
                    <a:pt x="28" y="41"/>
                    <a:pt x="27" y="48"/>
                    <a:pt x="27" y="57"/>
                  </a:cubicBezTo>
                  <a:cubicBezTo>
                    <a:pt x="27" y="77"/>
                    <a:pt x="32" y="86"/>
                    <a:pt x="42" y="86"/>
                  </a:cubicBezTo>
                  <a:cubicBezTo>
                    <a:pt x="49" y="86"/>
                    <a:pt x="54" y="80"/>
                    <a:pt x="5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0" y="81"/>
                    <a:pt x="76" y="92"/>
                    <a:pt x="70" y="100"/>
                  </a:cubicBezTo>
                  <a:cubicBezTo>
                    <a:pt x="63" y="108"/>
                    <a:pt x="54" y="112"/>
                    <a:pt x="43" y="112"/>
                  </a:cubicBezTo>
                  <a:cubicBezTo>
                    <a:pt x="34" y="112"/>
                    <a:pt x="27" y="110"/>
                    <a:pt x="20" y="106"/>
                  </a:cubicBezTo>
                  <a:cubicBezTo>
                    <a:pt x="14" y="101"/>
                    <a:pt x="9" y="95"/>
                    <a:pt x="6" y="87"/>
                  </a:cubicBezTo>
                  <a:cubicBezTo>
                    <a:pt x="2" y="79"/>
                    <a:pt x="0" y="68"/>
                    <a:pt x="0" y="57"/>
                  </a:cubicBezTo>
                  <a:cubicBezTo>
                    <a:pt x="0" y="45"/>
                    <a:pt x="2" y="34"/>
                    <a:pt x="6" y="25"/>
                  </a:cubicBezTo>
                  <a:cubicBezTo>
                    <a:pt x="10" y="16"/>
                    <a:pt x="15" y="10"/>
                    <a:pt x="21" y="6"/>
                  </a:cubicBezTo>
                  <a:cubicBezTo>
                    <a:pt x="27" y="2"/>
                    <a:pt x="34" y="0"/>
                    <a:pt x="40" y="0"/>
                  </a:cubicBezTo>
                  <a:cubicBezTo>
                    <a:pt x="54" y="0"/>
                    <a:pt x="64" y="5"/>
                    <a:pt x="70" y="13"/>
                  </a:cubicBezTo>
                  <a:cubicBezTo>
                    <a:pt x="76" y="21"/>
                    <a:pt x="80" y="32"/>
                    <a:pt x="80" y="44"/>
                  </a:cubicBezTo>
                  <a:lnTo>
                    <a:pt x="56" y="4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06252E8A-B11D-4C7A-B85C-E16A863E10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6" y="5591"/>
              <a:ext cx="55" cy="23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399EFC26-84E1-4B87-8BED-447773C0A7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" y="5591"/>
              <a:ext cx="160" cy="236"/>
            </a:xfrm>
            <a:custGeom>
              <a:avLst/>
              <a:gdLst>
                <a:gd name="T0" fmla="*/ 0 w 160"/>
                <a:gd name="T1" fmla="*/ 0 h 236"/>
                <a:gd name="T2" fmla="*/ 49 w 160"/>
                <a:gd name="T3" fmla="*/ 0 h 236"/>
                <a:gd name="T4" fmla="*/ 106 w 160"/>
                <a:gd name="T5" fmla="*/ 129 h 236"/>
                <a:gd name="T6" fmla="*/ 106 w 160"/>
                <a:gd name="T7" fmla="*/ 79 h 236"/>
                <a:gd name="T8" fmla="*/ 106 w 160"/>
                <a:gd name="T9" fmla="*/ 0 h 236"/>
                <a:gd name="T10" fmla="*/ 160 w 160"/>
                <a:gd name="T11" fmla="*/ 0 h 236"/>
                <a:gd name="T12" fmla="*/ 160 w 160"/>
                <a:gd name="T13" fmla="*/ 236 h 236"/>
                <a:gd name="T14" fmla="*/ 109 w 160"/>
                <a:gd name="T15" fmla="*/ 236 h 236"/>
                <a:gd name="T16" fmla="*/ 51 w 160"/>
                <a:gd name="T17" fmla="*/ 107 h 236"/>
                <a:gd name="T18" fmla="*/ 51 w 160"/>
                <a:gd name="T19" fmla="*/ 164 h 236"/>
                <a:gd name="T20" fmla="*/ 51 w 160"/>
                <a:gd name="T21" fmla="*/ 236 h 236"/>
                <a:gd name="T22" fmla="*/ 0 w 160"/>
                <a:gd name="T23" fmla="*/ 236 h 236"/>
                <a:gd name="T24" fmla="*/ 0 w 160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236">
                  <a:moveTo>
                    <a:pt x="0" y="0"/>
                  </a:moveTo>
                  <a:lnTo>
                    <a:pt x="49" y="0"/>
                  </a:lnTo>
                  <a:lnTo>
                    <a:pt x="106" y="129"/>
                  </a:lnTo>
                  <a:lnTo>
                    <a:pt x="106" y="79"/>
                  </a:lnTo>
                  <a:lnTo>
                    <a:pt x="106" y="0"/>
                  </a:lnTo>
                  <a:lnTo>
                    <a:pt x="160" y="0"/>
                  </a:lnTo>
                  <a:lnTo>
                    <a:pt x="160" y="236"/>
                  </a:lnTo>
                  <a:lnTo>
                    <a:pt x="109" y="236"/>
                  </a:lnTo>
                  <a:lnTo>
                    <a:pt x="51" y="107"/>
                  </a:lnTo>
                  <a:lnTo>
                    <a:pt x="51" y="164"/>
                  </a:lnTo>
                  <a:lnTo>
                    <a:pt x="51" y="236"/>
                  </a:lnTo>
                  <a:lnTo>
                    <a:pt x="0" y="2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Rectangle 9">
              <a:extLst>
                <a:ext uri="{FF2B5EF4-FFF2-40B4-BE49-F238E27FC236}">
                  <a16:creationId xmlns:a16="http://schemas.microsoft.com/office/drawing/2014/main" id="{C5498D25-CFAA-4370-A07F-62CF458B599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5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E4BF1258-121E-4226-80AC-77BFC84C9A9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1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Rectangle 11">
              <a:extLst>
                <a:ext uri="{FF2B5EF4-FFF2-40B4-BE49-F238E27FC236}">
                  <a16:creationId xmlns:a16="http://schemas.microsoft.com/office/drawing/2014/main" id="{B8F176CD-A02D-4D14-BD84-A6B08CB30E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" y="5683"/>
              <a:ext cx="49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Rectangle 12">
              <a:extLst>
                <a:ext uri="{FF2B5EF4-FFF2-40B4-BE49-F238E27FC236}">
                  <a16:creationId xmlns:a16="http://schemas.microsoft.com/office/drawing/2014/main" id="{3586F95C-DAC5-452D-9278-523E113A7B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6" y="5683"/>
              <a:ext cx="51" cy="52"/>
            </a:xfrm>
            <a:prstGeom prst="rect">
              <a:avLst/>
            </a:prstGeom>
            <a:solidFill>
              <a:srgbClr val="099D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6822A97D-9C3B-44BD-8879-B5B6C6DF38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86" y="5611"/>
              <a:ext cx="164" cy="192"/>
            </a:xfrm>
            <a:custGeom>
              <a:avLst/>
              <a:gdLst>
                <a:gd name="T0" fmla="*/ 119 w 164"/>
                <a:gd name="T1" fmla="*/ 140 h 192"/>
                <a:gd name="T2" fmla="*/ 42 w 164"/>
                <a:gd name="T3" fmla="*/ 140 h 192"/>
                <a:gd name="T4" fmla="*/ 21 w 164"/>
                <a:gd name="T5" fmla="*/ 192 h 192"/>
                <a:gd name="T6" fmla="*/ 0 w 164"/>
                <a:gd name="T7" fmla="*/ 192 h 192"/>
                <a:gd name="T8" fmla="*/ 83 w 164"/>
                <a:gd name="T9" fmla="*/ 0 h 192"/>
                <a:gd name="T10" fmla="*/ 164 w 164"/>
                <a:gd name="T11" fmla="*/ 192 h 192"/>
                <a:gd name="T12" fmla="*/ 140 w 164"/>
                <a:gd name="T13" fmla="*/ 192 h 192"/>
                <a:gd name="T14" fmla="*/ 119 w 164"/>
                <a:gd name="T15" fmla="*/ 140 h 192"/>
                <a:gd name="T16" fmla="*/ 113 w 164"/>
                <a:gd name="T17" fmla="*/ 120 h 192"/>
                <a:gd name="T18" fmla="*/ 83 w 164"/>
                <a:gd name="T19" fmla="*/ 48 h 192"/>
                <a:gd name="T20" fmla="*/ 51 w 164"/>
                <a:gd name="T21" fmla="*/ 120 h 192"/>
                <a:gd name="T22" fmla="*/ 113 w 164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92">
                  <a:moveTo>
                    <a:pt x="119" y="140"/>
                  </a:moveTo>
                  <a:lnTo>
                    <a:pt x="42" y="140"/>
                  </a:lnTo>
                  <a:lnTo>
                    <a:pt x="21" y="192"/>
                  </a:lnTo>
                  <a:lnTo>
                    <a:pt x="0" y="192"/>
                  </a:lnTo>
                  <a:lnTo>
                    <a:pt x="83" y="0"/>
                  </a:lnTo>
                  <a:lnTo>
                    <a:pt x="164" y="192"/>
                  </a:lnTo>
                  <a:lnTo>
                    <a:pt x="140" y="192"/>
                  </a:lnTo>
                  <a:lnTo>
                    <a:pt x="119" y="140"/>
                  </a:lnTo>
                  <a:close/>
                  <a:moveTo>
                    <a:pt x="113" y="120"/>
                  </a:moveTo>
                  <a:lnTo>
                    <a:pt x="83" y="48"/>
                  </a:lnTo>
                  <a:lnTo>
                    <a:pt x="51" y="120"/>
                  </a:lnTo>
                  <a:lnTo>
                    <a:pt x="113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DAEDB572-06DA-4253-88E7-F7BDAE8128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6" y="5615"/>
              <a:ext cx="147" cy="192"/>
            </a:xfrm>
            <a:custGeom>
              <a:avLst/>
              <a:gdLst>
                <a:gd name="T0" fmla="*/ 69 w 69"/>
                <a:gd name="T1" fmla="*/ 9 h 88"/>
                <a:gd name="T2" fmla="*/ 69 w 69"/>
                <a:gd name="T3" fmla="*/ 20 h 88"/>
                <a:gd name="T4" fmla="*/ 44 w 69"/>
                <a:gd name="T5" fmla="*/ 9 h 88"/>
                <a:gd name="T6" fmla="*/ 20 w 69"/>
                <a:gd name="T7" fmla="*/ 20 h 88"/>
                <a:gd name="T8" fmla="*/ 10 w 69"/>
                <a:gd name="T9" fmla="*/ 44 h 88"/>
                <a:gd name="T10" fmla="*/ 21 w 69"/>
                <a:gd name="T11" fmla="*/ 70 h 88"/>
                <a:gd name="T12" fmla="*/ 44 w 69"/>
                <a:gd name="T13" fmla="*/ 79 h 88"/>
                <a:gd name="T14" fmla="*/ 69 w 69"/>
                <a:gd name="T15" fmla="*/ 68 h 88"/>
                <a:gd name="T16" fmla="*/ 69 w 69"/>
                <a:gd name="T17" fmla="*/ 79 h 88"/>
                <a:gd name="T18" fmla="*/ 44 w 69"/>
                <a:gd name="T19" fmla="*/ 88 h 88"/>
                <a:gd name="T20" fmla="*/ 13 w 69"/>
                <a:gd name="T21" fmla="*/ 75 h 88"/>
                <a:gd name="T22" fmla="*/ 0 w 69"/>
                <a:gd name="T23" fmla="*/ 44 h 88"/>
                <a:gd name="T24" fmla="*/ 13 w 69"/>
                <a:gd name="T25" fmla="*/ 13 h 88"/>
                <a:gd name="T26" fmla="*/ 44 w 69"/>
                <a:gd name="T27" fmla="*/ 0 h 88"/>
                <a:gd name="T28" fmla="*/ 69 w 69"/>
                <a:gd name="T2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9" h="88">
                  <a:moveTo>
                    <a:pt x="69" y="9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1" y="13"/>
                    <a:pt x="53" y="9"/>
                    <a:pt x="44" y="9"/>
                  </a:cubicBezTo>
                  <a:cubicBezTo>
                    <a:pt x="34" y="9"/>
                    <a:pt x="26" y="13"/>
                    <a:pt x="20" y="20"/>
                  </a:cubicBezTo>
                  <a:cubicBezTo>
                    <a:pt x="13" y="26"/>
                    <a:pt x="10" y="35"/>
                    <a:pt x="10" y="44"/>
                  </a:cubicBezTo>
                  <a:cubicBezTo>
                    <a:pt x="10" y="55"/>
                    <a:pt x="14" y="63"/>
                    <a:pt x="21" y="70"/>
                  </a:cubicBezTo>
                  <a:cubicBezTo>
                    <a:pt x="28" y="76"/>
                    <a:pt x="36" y="79"/>
                    <a:pt x="44" y="79"/>
                  </a:cubicBezTo>
                  <a:cubicBezTo>
                    <a:pt x="53" y="79"/>
                    <a:pt x="61" y="75"/>
                    <a:pt x="69" y="68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1" y="85"/>
                    <a:pt x="53" y="88"/>
                    <a:pt x="44" y="88"/>
                  </a:cubicBezTo>
                  <a:cubicBezTo>
                    <a:pt x="32" y="88"/>
                    <a:pt x="22" y="83"/>
                    <a:pt x="13" y="75"/>
                  </a:cubicBezTo>
                  <a:cubicBezTo>
                    <a:pt x="5" y="66"/>
                    <a:pt x="0" y="56"/>
                    <a:pt x="0" y="44"/>
                  </a:cubicBezTo>
                  <a:cubicBezTo>
                    <a:pt x="0" y="32"/>
                    <a:pt x="5" y="22"/>
                    <a:pt x="13" y="13"/>
                  </a:cubicBezTo>
                  <a:cubicBezTo>
                    <a:pt x="22" y="5"/>
                    <a:pt x="32" y="0"/>
                    <a:pt x="44" y="0"/>
                  </a:cubicBezTo>
                  <a:cubicBezTo>
                    <a:pt x="53" y="0"/>
                    <a:pt x="61" y="3"/>
                    <a:pt x="69" y="9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E07B56A5-A32B-42B7-9430-CAD1E1D58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4" y="5620"/>
              <a:ext cx="108" cy="183"/>
            </a:xfrm>
            <a:custGeom>
              <a:avLst/>
              <a:gdLst>
                <a:gd name="T0" fmla="*/ 64 w 108"/>
                <a:gd name="T1" fmla="*/ 19 h 183"/>
                <a:gd name="T2" fmla="*/ 64 w 108"/>
                <a:gd name="T3" fmla="*/ 183 h 183"/>
                <a:gd name="T4" fmla="*/ 45 w 108"/>
                <a:gd name="T5" fmla="*/ 183 h 183"/>
                <a:gd name="T6" fmla="*/ 45 w 108"/>
                <a:gd name="T7" fmla="*/ 19 h 183"/>
                <a:gd name="T8" fmla="*/ 0 w 108"/>
                <a:gd name="T9" fmla="*/ 19 h 183"/>
                <a:gd name="T10" fmla="*/ 0 w 108"/>
                <a:gd name="T11" fmla="*/ 0 h 183"/>
                <a:gd name="T12" fmla="*/ 108 w 108"/>
                <a:gd name="T13" fmla="*/ 0 h 183"/>
                <a:gd name="T14" fmla="*/ 108 w 108"/>
                <a:gd name="T15" fmla="*/ 19 h 183"/>
                <a:gd name="T16" fmla="*/ 64 w 108"/>
                <a:gd name="T17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83">
                  <a:moveTo>
                    <a:pt x="64" y="19"/>
                  </a:moveTo>
                  <a:lnTo>
                    <a:pt x="64" y="183"/>
                  </a:lnTo>
                  <a:lnTo>
                    <a:pt x="45" y="183"/>
                  </a:lnTo>
                  <a:lnTo>
                    <a:pt x="4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9"/>
                  </a:lnTo>
                  <a:lnTo>
                    <a:pt x="6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Rectangle 16">
              <a:extLst>
                <a:ext uri="{FF2B5EF4-FFF2-40B4-BE49-F238E27FC236}">
                  <a16:creationId xmlns:a16="http://schemas.microsoft.com/office/drawing/2014/main" id="{2FC9FB6B-A1B4-407D-BA5B-56B47E0D56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48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C887E1EB-E5D3-4C15-BF50-2BDE38DDB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" y="5609"/>
              <a:ext cx="198" cy="200"/>
            </a:xfrm>
            <a:custGeom>
              <a:avLst/>
              <a:gdLst>
                <a:gd name="T0" fmla="*/ 0 w 198"/>
                <a:gd name="T1" fmla="*/ 194 h 200"/>
                <a:gd name="T2" fmla="*/ 30 w 198"/>
                <a:gd name="T3" fmla="*/ 0 h 200"/>
                <a:gd name="T4" fmla="*/ 100 w 198"/>
                <a:gd name="T5" fmla="*/ 155 h 200"/>
                <a:gd name="T6" fmla="*/ 171 w 198"/>
                <a:gd name="T7" fmla="*/ 0 h 200"/>
                <a:gd name="T8" fmla="*/ 198 w 198"/>
                <a:gd name="T9" fmla="*/ 194 h 200"/>
                <a:gd name="T10" fmla="*/ 177 w 198"/>
                <a:gd name="T11" fmla="*/ 194 h 200"/>
                <a:gd name="T12" fmla="*/ 160 w 198"/>
                <a:gd name="T13" fmla="*/ 65 h 200"/>
                <a:gd name="T14" fmla="*/ 100 w 198"/>
                <a:gd name="T15" fmla="*/ 200 h 200"/>
                <a:gd name="T16" fmla="*/ 39 w 198"/>
                <a:gd name="T17" fmla="*/ 65 h 200"/>
                <a:gd name="T18" fmla="*/ 22 w 198"/>
                <a:gd name="T19" fmla="*/ 194 h 200"/>
                <a:gd name="T20" fmla="*/ 0 w 198"/>
                <a:gd name="T21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200">
                  <a:moveTo>
                    <a:pt x="0" y="194"/>
                  </a:moveTo>
                  <a:lnTo>
                    <a:pt x="30" y="0"/>
                  </a:lnTo>
                  <a:lnTo>
                    <a:pt x="100" y="155"/>
                  </a:lnTo>
                  <a:lnTo>
                    <a:pt x="171" y="0"/>
                  </a:lnTo>
                  <a:lnTo>
                    <a:pt x="198" y="194"/>
                  </a:lnTo>
                  <a:lnTo>
                    <a:pt x="177" y="194"/>
                  </a:lnTo>
                  <a:lnTo>
                    <a:pt x="160" y="65"/>
                  </a:lnTo>
                  <a:lnTo>
                    <a:pt x="100" y="200"/>
                  </a:lnTo>
                  <a:lnTo>
                    <a:pt x="39" y="65"/>
                  </a:lnTo>
                  <a:lnTo>
                    <a:pt x="22" y="19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Rectangle 18">
              <a:extLst>
                <a:ext uri="{FF2B5EF4-FFF2-40B4-BE49-F238E27FC236}">
                  <a16:creationId xmlns:a16="http://schemas.microsoft.com/office/drawing/2014/main" id="{1F9764FB-5144-4D4D-87B7-4AE8350ECB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6" y="5620"/>
              <a:ext cx="21" cy="1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9A69F1D2-A726-4597-B3D2-CD6A08B05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5" y="5620"/>
              <a:ext cx="132" cy="183"/>
            </a:xfrm>
            <a:custGeom>
              <a:avLst/>
              <a:gdLst>
                <a:gd name="T0" fmla="*/ 34 w 132"/>
                <a:gd name="T1" fmla="*/ 163 h 183"/>
                <a:gd name="T2" fmla="*/ 129 w 132"/>
                <a:gd name="T3" fmla="*/ 163 h 183"/>
                <a:gd name="T4" fmla="*/ 129 w 132"/>
                <a:gd name="T5" fmla="*/ 183 h 183"/>
                <a:gd name="T6" fmla="*/ 0 w 132"/>
                <a:gd name="T7" fmla="*/ 183 h 183"/>
                <a:gd name="T8" fmla="*/ 98 w 132"/>
                <a:gd name="T9" fmla="*/ 19 h 183"/>
                <a:gd name="T10" fmla="*/ 12 w 132"/>
                <a:gd name="T11" fmla="*/ 19 h 183"/>
                <a:gd name="T12" fmla="*/ 12 w 132"/>
                <a:gd name="T13" fmla="*/ 0 h 183"/>
                <a:gd name="T14" fmla="*/ 132 w 132"/>
                <a:gd name="T15" fmla="*/ 0 h 183"/>
                <a:gd name="T16" fmla="*/ 34 w 132"/>
                <a:gd name="T17" fmla="*/ 16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83">
                  <a:moveTo>
                    <a:pt x="34" y="163"/>
                  </a:moveTo>
                  <a:lnTo>
                    <a:pt x="129" y="163"/>
                  </a:lnTo>
                  <a:lnTo>
                    <a:pt x="129" y="183"/>
                  </a:lnTo>
                  <a:lnTo>
                    <a:pt x="0" y="183"/>
                  </a:lnTo>
                  <a:lnTo>
                    <a:pt x="98" y="19"/>
                  </a:lnTo>
                  <a:lnTo>
                    <a:pt x="12" y="19"/>
                  </a:lnTo>
                  <a:lnTo>
                    <a:pt x="12" y="0"/>
                  </a:lnTo>
                  <a:lnTo>
                    <a:pt x="132" y="0"/>
                  </a:lnTo>
                  <a:lnTo>
                    <a:pt x="34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24EB3692-BE8F-43BA-A17C-2DA73DF15F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2" y="5620"/>
              <a:ext cx="94" cy="183"/>
            </a:xfrm>
            <a:custGeom>
              <a:avLst/>
              <a:gdLst>
                <a:gd name="T0" fmla="*/ 94 w 94"/>
                <a:gd name="T1" fmla="*/ 19 h 183"/>
                <a:gd name="T2" fmla="*/ 21 w 94"/>
                <a:gd name="T3" fmla="*/ 19 h 183"/>
                <a:gd name="T4" fmla="*/ 21 w 94"/>
                <a:gd name="T5" fmla="*/ 74 h 183"/>
                <a:gd name="T6" fmla="*/ 92 w 94"/>
                <a:gd name="T7" fmla="*/ 74 h 183"/>
                <a:gd name="T8" fmla="*/ 92 w 94"/>
                <a:gd name="T9" fmla="*/ 91 h 183"/>
                <a:gd name="T10" fmla="*/ 21 w 94"/>
                <a:gd name="T11" fmla="*/ 91 h 183"/>
                <a:gd name="T12" fmla="*/ 21 w 94"/>
                <a:gd name="T13" fmla="*/ 163 h 183"/>
                <a:gd name="T14" fmla="*/ 94 w 94"/>
                <a:gd name="T15" fmla="*/ 163 h 183"/>
                <a:gd name="T16" fmla="*/ 94 w 94"/>
                <a:gd name="T17" fmla="*/ 183 h 183"/>
                <a:gd name="T18" fmla="*/ 0 w 94"/>
                <a:gd name="T19" fmla="*/ 183 h 183"/>
                <a:gd name="T20" fmla="*/ 0 w 94"/>
                <a:gd name="T21" fmla="*/ 0 h 183"/>
                <a:gd name="T22" fmla="*/ 94 w 94"/>
                <a:gd name="T23" fmla="*/ 0 h 183"/>
                <a:gd name="T24" fmla="*/ 94 w 94"/>
                <a:gd name="T25" fmla="*/ 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83">
                  <a:moveTo>
                    <a:pt x="94" y="19"/>
                  </a:moveTo>
                  <a:lnTo>
                    <a:pt x="21" y="19"/>
                  </a:lnTo>
                  <a:lnTo>
                    <a:pt x="21" y="74"/>
                  </a:lnTo>
                  <a:lnTo>
                    <a:pt x="92" y="74"/>
                  </a:lnTo>
                  <a:lnTo>
                    <a:pt x="92" y="91"/>
                  </a:lnTo>
                  <a:lnTo>
                    <a:pt x="21" y="91"/>
                  </a:lnTo>
                  <a:lnTo>
                    <a:pt x="21" y="163"/>
                  </a:lnTo>
                  <a:lnTo>
                    <a:pt x="94" y="163"/>
                  </a:lnTo>
                  <a:lnTo>
                    <a:pt x="94" y="183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8269187A-6814-44D0-B563-4B85B7E1F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1302958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59" imgW="216" imgH="216" progId="TCLayout.ActiveDocument.1">
                  <p:embed/>
                </p:oleObj>
              </mc:Choice>
              <mc:Fallback>
                <p:oleObj name="think-cell Slide" r:id="rId59" imgW="216" imgH="21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8269187A-6814-44D0-B563-4B85B7E1F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CC42A89A-6B7B-4EF0-8EA0-860173A68348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8" name="Picture 27" descr="xsight_marketplace.png">
            <a:extLst>
              <a:ext uri="{FF2B5EF4-FFF2-40B4-BE49-F238E27FC236}">
                <a16:creationId xmlns:a16="http://schemas.microsoft.com/office/drawing/2014/main" id="{374D2E92-FD82-4923-BA73-7B28BBA97471}"/>
              </a:ext>
            </a:extLst>
          </p:cNvPr>
          <p:cNvPicPr>
            <a:picLocks noChangeAspect="1"/>
          </p:cNvPicPr>
          <p:nvPr userDrawn="1"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75" y="9401493"/>
            <a:ext cx="1554042" cy="87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02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671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3" r:id="rId9"/>
    <p:sldLayoutId id="2147484495" r:id="rId10"/>
    <p:sldLayoutId id="2147484496" r:id="rId11"/>
    <p:sldLayoutId id="2147484497" r:id="rId12"/>
    <p:sldLayoutId id="2147484498" r:id="rId13"/>
    <p:sldLayoutId id="2147484503" r:id="rId14"/>
    <p:sldLayoutId id="2147484506" r:id="rId15"/>
    <p:sldLayoutId id="2147484508" r:id="rId16"/>
    <p:sldLayoutId id="2147484509" r:id="rId17"/>
    <p:sldLayoutId id="2147484510" r:id="rId18"/>
    <p:sldLayoutId id="2147484512" r:id="rId19"/>
    <p:sldLayoutId id="2147484514" r:id="rId20"/>
    <p:sldLayoutId id="2147484523" r:id="rId21"/>
    <p:sldLayoutId id="2147484524" r:id="rId22"/>
    <p:sldLayoutId id="2147484525" r:id="rId23"/>
    <p:sldLayoutId id="2147484533" r:id="rId24"/>
    <p:sldLayoutId id="2147484534" r:id="rId25"/>
    <p:sldLayoutId id="2147484536" r:id="rId26"/>
    <p:sldLayoutId id="2147484537" r:id="rId27"/>
    <p:sldLayoutId id="2147484541" r:id="rId28"/>
    <p:sldLayoutId id="2147484544" r:id="rId29"/>
    <p:sldLayoutId id="2147484547" r:id="rId30"/>
    <p:sldLayoutId id="2147484548" r:id="rId31"/>
    <p:sldLayoutId id="2147484550" r:id="rId32"/>
    <p:sldLayoutId id="2147484552" r:id="rId33"/>
    <p:sldLayoutId id="2147484553" r:id="rId34"/>
    <p:sldLayoutId id="2147484554" r:id="rId35"/>
    <p:sldLayoutId id="2147484555" r:id="rId36"/>
    <p:sldLayoutId id="2147484556" r:id="rId37"/>
    <p:sldLayoutId id="2147484557" r:id="rId38"/>
    <p:sldLayoutId id="2147484558" r:id="rId39"/>
    <p:sldLayoutId id="2147484563" r:id="rId40"/>
    <p:sldLayoutId id="2147484668" r:id="rId41"/>
    <p:sldLayoutId id="2147484274" r:id="rId42"/>
    <p:sldLayoutId id="2147484415" r:id="rId43"/>
    <p:sldLayoutId id="2147484392" r:id="rId44"/>
    <p:sldLayoutId id="2147484425" r:id="rId45"/>
    <p:sldLayoutId id="2147484234" r:id="rId46"/>
    <p:sldLayoutId id="2147484424" r:id="rId47"/>
    <p:sldLayoutId id="2147484419" r:id="rId48"/>
    <p:sldLayoutId id="2147484061" r:id="rId49"/>
    <p:sldLayoutId id="2147484594" r:id="rId50"/>
    <p:sldLayoutId id="2147484595" r:id="rId51"/>
    <p:sldLayoutId id="2147484596" r:id="rId52"/>
    <p:sldLayoutId id="2147484607" r:id="rId53"/>
    <p:sldLayoutId id="2147484672" r:id="rId54"/>
  </p:sldLayoutIdLst>
  <p:hf hdr="0" ftr="0" dt="0"/>
  <p:txStyles>
    <p:titleStyle>
      <a:lvl1pPr marL="0" indent="158768" algn="l" rtl="0" eaLnBrk="1" fontAlgn="base" hangingPunct="1">
        <a:lnSpc>
          <a:spcPts val="4300"/>
        </a:lnSpc>
        <a:spcBef>
          <a:spcPct val="0"/>
        </a:spcBef>
        <a:spcAft>
          <a:spcPct val="0"/>
        </a:spcAft>
        <a:defRPr sz="4000" b="0" kern="1200" cap="none" baseline="0">
          <a:solidFill>
            <a:schemeClr val="tx1">
              <a:lumMod val="95000"/>
              <a:lumOff val="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marL="150269" indent="167274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bg1"/>
          </a:solidFill>
          <a:latin typeface="Arial" pitchFamily="34" charset="0"/>
        </a:defRPr>
      </a:lvl2pPr>
      <a:lvl3pPr marL="150269" indent="167274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bg1"/>
          </a:solidFill>
          <a:latin typeface="Arial" pitchFamily="34" charset="0"/>
        </a:defRPr>
      </a:lvl3pPr>
      <a:lvl4pPr marL="150269" indent="167274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bg1"/>
          </a:solidFill>
          <a:latin typeface="Arial" pitchFamily="34" charset="0"/>
        </a:defRPr>
      </a:lvl4pPr>
      <a:lvl5pPr marL="150269" indent="167274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bg1"/>
          </a:solidFill>
          <a:latin typeface="Arial" pitchFamily="34" charset="0"/>
        </a:defRPr>
      </a:lvl5pPr>
      <a:lvl6pPr marL="816156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</a:defRPr>
      </a:lvl6pPr>
      <a:lvl7pPr marL="1632302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</a:defRPr>
      </a:lvl7pPr>
      <a:lvl8pPr marL="2448448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</a:defRPr>
      </a:lvl8pPr>
      <a:lvl9pPr marL="3264604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</a:defRPr>
      </a:lvl9pPr>
    </p:titleStyle>
    <p:bodyStyle>
      <a:lvl1pPr marL="447963" indent="-447963" algn="l" defTabSz="1414476" rtl="0" eaLnBrk="1" fontAlgn="base" hangingPunct="1">
        <a:spcBef>
          <a:spcPts val="3216"/>
        </a:spcBef>
        <a:spcAft>
          <a:spcPct val="0"/>
        </a:spcAft>
        <a:buClr>
          <a:srgbClr val="009EDB"/>
        </a:buClr>
        <a:buSzPct val="100000"/>
        <a:buFont typeface="Arial" panose="020B0604020202020204" pitchFamily="34" charset="0"/>
        <a:buChar char="•"/>
        <a:defRPr sz="3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61135" indent="-481982" algn="l" rtl="0" eaLnBrk="1" fontAlgn="base" hangingPunct="1">
        <a:spcBef>
          <a:spcPts val="1072"/>
        </a:spcBef>
        <a:spcAft>
          <a:spcPct val="0"/>
        </a:spcAft>
        <a:buClr>
          <a:schemeClr val="bg2"/>
        </a:buClr>
        <a:buSzPct val="80000"/>
        <a:buFont typeface="Arial" panose="020B0604020202020204" pitchFamily="34" charset="0"/>
        <a:buChar char="•"/>
        <a:defRPr sz="2800" kern="1200" baseline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9909" indent="-32038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443124" indent="-320382" algn="l" rtl="0" eaLnBrk="1" fontAlgn="base" hangingPunct="1">
        <a:spcBef>
          <a:spcPct val="20000"/>
        </a:spcBef>
        <a:spcAft>
          <a:spcPct val="0"/>
        </a:spcAft>
        <a:buClr>
          <a:srgbClr val="7685C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766335" indent="-320382" algn="l" rtl="0" eaLnBrk="1" fontAlgn="base" hangingPunct="1">
        <a:spcBef>
          <a:spcPct val="20000"/>
        </a:spcBef>
        <a:spcAft>
          <a:spcPct val="0"/>
        </a:spcAft>
        <a:buClr>
          <a:srgbClr val="AFB7DB"/>
        </a:buClr>
        <a:buSzPct val="80000"/>
        <a:buFont typeface="Wingdings" pitchFamily="2" charset="2"/>
        <a:buChar char="§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4488831" indent="-408079" algn="l" defTabSz="1632302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304975" indent="-408079" algn="l" defTabSz="1632302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121133" indent="-408079" algn="l" defTabSz="1632302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6937282" indent="-408079" algn="l" defTabSz="1632302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32302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6156" algn="l" defTabSz="1632302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32302" algn="l" defTabSz="1632302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48448" algn="l" defTabSz="1632302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64604" algn="l" defTabSz="1632302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80753" algn="l" defTabSz="1632302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96904" algn="l" defTabSz="1632302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713054" algn="l" defTabSz="1632302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29212" algn="l" defTabSz="1632302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8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40.JPG"/><Relationship Id="rId4" Type="http://schemas.openxmlformats.org/officeDocument/2006/relationships/diagramData" Target="../diagrams/data1.xml"/><Relationship Id="rId9" Type="http://schemas.openxmlformats.org/officeDocument/2006/relationships/image" Target="../media/image39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A28EA5F-A0D2-4107-BE85-49E15DF1BE36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9422113" y="1938289"/>
            <a:ext cx="7987679" cy="1472294"/>
          </a:xfrm>
        </p:spPr>
        <p:txBody>
          <a:bodyPr/>
          <a:lstStyle/>
          <a:p>
            <a:r>
              <a:rPr lang="en-US" sz="4400" dirty="0">
                <a:solidFill>
                  <a:schemeClr val="accent4">
                    <a:lumMod val="75000"/>
                  </a:schemeClr>
                </a:solidFill>
              </a:rPr>
              <a:t>D</a:t>
            </a:r>
            <a:r>
              <a:rPr lang="en-US" sz="4400" dirty="0"/>
              <a:t>ata In, </a:t>
            </a:r>
            <a:r>
              <a:rPr lang="en-US" sz="4400" b="1" dirty="0" err="1">
                <a:solidFill>
                  <a:schemeClr val="accent4">
                    <a:lumMod val="75000"/>
                  </a:schemeClr>
                </a:solidFill>
              </a:rPr>
              <a:t>V</a:t>
            </a:r>
            <a:r>
              <a:rPr lang="en-US" sz="4400" dirty="0" err="1"/>
              <a:t>Visdom</a:t>
            </a:r>
            <a:r>
              <a:rPr lang="en-US" sz="4400" dirty="0"/>
              <a:t> Ou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AC98CC-3F36-482F-BB80-0EB0A3A20F8A}"/>
              </a:ext>
            </a:extLst>
          </p:cNvPr>
          <p:cNvSpPr txBox="1"/>
          <p:nvPr/>
        </p:nvSpPr>
        <p:spPr>
          <a:xfrm>
            <a:off x="10139900" y="4380907"/>
            <a:ext cx="595953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ontributor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b="1" dirty="0"/>
              <a:t>Shashank  Udgirkar 31384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b="1" dirty="0"/>
              <a:t>Shubham Chemate 31118</a:t>
            </a:r>
          </a:p>
          <a:p>
            <a:endParaRPr lang="en-US" sz="2400" b="1" dirty="0"/>
          </a:p>
          <a:p>
            <a:r>
              <a:rPr lang="en-US" sz="2400" b="1" dirty="0"/>
              <a:t>Guide</a:t>
            </a:r>
          </a:p>
          <a:p>
            <a:r>
              <a:rPr lang="en-US" sz="2400" b="1" dirty="0"/>
              <a:t>Prof. M. S. </a:t>
            </a:r>
            <a:r>
              <a:rPr lang="en-US" sz="2400" b="1" dirty="0" err="1"/>
              <a:t>Wakode</a:t>
            </a:r>
            <a:endParaRPr lang="en-US" sz="2400" b="1" dirty="0"/>
          </a:p>
          <a:p>
            <a:endParaRPr lang="en-US" sz="24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D6C47C-D788-4172-99A0-E68D39A88AC8}"/>
              </a:ext>
            </a:extLst>
          </p:cNvPr>
          <p:cNvSpPr txBox="1"/>
          <p:nvPr/>
        </p:nvSpPr>
        <p:spPr>
          <a:xfrm>
            <a:off x="10124420" y="7771767"/>
            <a:ext cx="340984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Mentors</a:t>
            </a:r>
          </a:p>
          <a:p>
            <a:pPr marL="457200" indent="-457200">
              <a:buAutoNum type="arabicPeriod"/>
            </a:pPr>
            <a:r>
              <a:rPr lang="en-US" sz="2400" b="1" dirty="0">
                <a:solidFill>
                  <a:schemeClr val="tx1">
                    <a:lumMod val="75000"/>
                  </a:schemeClr>
                </a:solidFill>
              </a:rPr>
              <a:t>Akhilesh </a:t>
            </a:r>
            <a:r>
              <a:rPr lang="en-US" sz="2400" b="1" dirty="0" err="1">
                <a:solidFill>
                  <a:schemeClr val="tx1">
                    <a:lumMod val="75000"/>
                  </a:schemeClr>
                </a:solidFill>
              </a:rPr>
              <a:t>Moghe</a:t>
            </a:r>
            <a:endParaRPr lang="en-US" sz="2400" b="1" dirty="0">
              <a:solidFill>
                <a:schemeClr val="tx1">
                  <a:lumMod val="75000"/>
                </a:schemeClr>
              </a:solidFill>
            </a:endParaRPr>
          </a:p>
          <a:p>
            <a:pPr marL="457200" indent="-457200">
              <a:buAutoNum type="arabicPeriod"/>
            </a:pPr>
            <a:r>
              <a:rPr lang="en-US" sz="2400" b="1" dirty="0">
                <a:solidFill>
                  <a:schemeClr val="tx1">
                    <a:lumMod val="75000"/>
                  </a:schemeClr>
                </a:solidFill>
              </a:rPr>
              <a:t>Hemant Acharya</a:t>
            </a:r>
          </a:p>
          <a:p>
            <a:pPr marL="457200" indent="-457200">
              <a:buAutoNum type="arabicPeriod"/>
            </a:pPr>
            <a:r>
              <a:rPr lang="en-US" sz="2400" b="1" dirty="0">
                <a:solidFill>
                  <a:schemeClr val="tx1">
                    <a:lumMod val="75000"/>
                  </a:schemeClr>
                </a:solidFill>
              </a:rPr>
              <a:t>Dinesh Vyas</a:t>
            </a:r>
          </a:p>
          <a:p>
            <a:endParaRPr lang="en-US" sz="2400" dirty="0"/>
          </a:p>
        </p:txBody>
      </p:sp>
      <p:pic>
        <p:nvPicPr>
          <p:cNvPr id="3074" name="Picture 2" descr="Nice Actimize ENGAGE Live | NICE Actimize | Celent">
            <a:extLst>
              <a:ext uri="{FF2B5EF4-FFF2-40B4-BE49-F238E27FC236}">
                <a16:creationId xmlns:a16="http://schemas.microsoft.com/office/drawing/2014/main" id="{7F3AD581-3714-4E25-AAD0-D1FCB79027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6079" y="-347711"/>
            <a:ext cx="381000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4365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778557-C8F0-4F2D-881A-A6B8FB34E2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37919" y="9770785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28489-5D60-4528-B5F8-BFFADA9FB9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45768" y="4451685"/>
            <a:ext cx="9288379" cy="2107866"/>
          </a:xfrm>
        </p:spPr>
        <p:txBody>
          <a:bodyPr/>
          <a:lstStyle/>
          <a:p>
            <a:pPr marL="0" indent="0">
              <a:buNone/>
            </a:pPr>
            <a:r>
              <a:rPr lang="en-US" sz="8000" dirty="0"/>
              <a:t>Views/Questions?</a:t>
            </a:r>
          </a:p>
        </p:txBody>
      </p:sp>
    </p:spTree>
    <p:extLst>
      <p:ext uri="{BB962C8B-B14F-4D97-AF65-F5344CB8AC3E}">
        <p14:creationId xmlns:p14="http://schemas.microsoft.com/office/powerpoint/2010/main" val="12756793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C750E2-64DE-415B-9C32-B3F02CF018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2F0AC0-E50D-497D-A073-E214FB828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D856AB-9A62-4C57-8D1D-4022A95EE4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Problem Statemen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Introduc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lgorithmic Detail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Outcomes of Internship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chievemen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Future Scop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96808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3389823F-F1F5-4283-B7F1-304C7636B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053" y="2785765"/>
            <a:ext cx="3589419" cy="358941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73EA28-A1E2-4E69-923E-3FEFD3180C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17604" y="9770788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B472F1-DA66-4ADF-951B-FACE349E5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 as we understand</a:t>
            </a:r>
          </a:p>
        </p:txBody>
      </p:sp>
      <p:sp>
        <p:nvSpPr>
          <p:cNvPr id="36" name="Rectangle 245">
            <a:extLst>
              <a:ext uri="{FF2B5EF4-FFF2-40B4-BE49-F238E27FC236}">
                <a16:creationId xmlns:a16="http://schemas.microsoft.com/office/drawing/2014/main" id="{93AA62AC-EC1D-48E3-A518-61D35C262E44}"/>
              </a:ext>
            </a:extLst>
          </p:cNvPr>
          <p:cNvSpPr/>
          <p:nvPr/>
        </p:nvSpPr>
        <p:spPr>
          <a:xfrm flipH="1">
            <a:off x="2581286" y="5478195"/>
            <a:ext cx="4089308" cy="3998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069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246">
            <a:extLst>
              <a:ext uri="{FF2B5EF4-FFF2-40B4-BE49-F238E27FC236}">
                <a16:creationId xmlns:a16="http://schemas.microsoft.com/office/drawing/2014/main" id="{973E4FAD-4205-4519-AC50-00F635EF1026}"/>
              </a:ext>
            </a:extLst>
          </p:cNvPr>
          <p:cNvSpPr/>
          <p:nvPr/>
        </p:nvSpPr>
        <p:spPr>
          <a:xfrm flipH="1">
            <a:off x="2542533" y="3274314"/>
            <a:ext cx="3992202" cy="113185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Outburst &amp; Digital Revolution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98" dirty="0">
                <a:solidFill>
                  <a:srgbClr val="404041"/>
                </a:solidFill>
                <a:latin typeface="Arial"/>
                <a:cs typeface="+mn-cs"/>
              </a:rPr>
              <a:t>New Ways to commit Fraud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phisticated avenues</a:t>
            </a:r>
            <a:r>
              <a:rPr kumimoji="0" lang="en-US" sz="1498" b="0" i="0" u="none" strike="noStrike" kern="1200" cap="none" spc="0" normalizeH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launder Money</a:t>
            </a: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2531C35-AC30-4305-BFBD-44E2DB8372B7}"/>
              </a:ext>
            </a:extLst>
          </p:cNvPr>
          <p:cNvGrpSpPr/>
          <p:nvPr/>
        </p:nvGrpSpPr>
        <p:grpSpPr>
          <a:xfrm>
            <a:off x="2553621" y="5186151"/>
            <a:ext cx="4267659" cy="642609"/>
            <a:chOff x="599440" y="4241743"/>
            <a:chExt cx="4271527" cy="643192"/>
          </a:xfrm>
        </p:grpSpPr>
        <p:sp>
          <p:nvSpPr>
            <p:cNvPr id="39" name="Oval 247">
              <a:extLst>
                <a:ext uri="{FF2B5EF4-FFF2-40B4-BE49-F238E27FC236}">
                  <a16:creationId xmlns:a16="http://schemas.microsoft.com/office/drawing/2014/main" id="{4F9721B0-C0F2-4F3F-BA22-4D97F8B5506A}"/>
                </a:ext>
              </a:extLst>
            </p:cNvPr>
            <p:cNvSpPr/>
            <p:nvPr/>
          </p:nvSpPr>
          <p:spPr>
            <a:xfrm flipH="1" flipV="1">
              <a:off x="4720643" y="4241743"/>
              <a:ext cx="150324" cy="155077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0" name="Straight Connector 249">
              <a:extLst>
                <a:ext uri="{FF2B5EF4-FFF2-40B4-BE49-F238E27FC236}">
                  <a16:creationId xmlns:a16="http://schemas.microsoft.com/office/drawing/2014/main" id="{B9BE9FC4-39FC-4432-81BA-216B95B4C74A}"/>
                </a:ext>
              </a:extLst>
            </p:cNvPr>
            <p:cNvCxnSpPr>
              <a:cxnSpLocks/>
              <a:endCxn id="39" idx="7"/>
            </p:cNvCxnSpPr>
            <p:nvPr/>
          </p:nvCxnSpPr>
          <p:spPr>
            <a:xfrm flipV="1">
              <a:off x="4386304" y="4374109"/>
              <a:ext cx="356353" cy="510826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250">
              <a:extLst>
                <a:ext uri="{FF2B5EF4-FFF2-40B4-BE49-F238E27FC236}">
                  <a16:creationId xmlns:a16="http://schemas.microsoft.com/office/drawing/2014/main" id="{C817553E-502A-48C8-B44F-F28F7665D9CF}"/>
                </a:ext>
              </a:extLst>
            </p:cNvPr>
            <p:cNvCxnSpPr>
              <a:cxnSpLocks/>
            </p:cNvCxnSpPr>
            <p:nvPr/>
          </p:nvCxnSpPr>
          <p:spPr>
            <a:xfrm>
              <a:off x="599440" y="4877619"/>
              <a:ext cx="3799277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ectangle 245">
            <a:extLst>
              <a:ext uri="{FF2B5EF4-FFF2-40B4-BE49-F238E27FC236}">
                <a16:creationId xmlns:a16="http://schemas.microsoft.com/office/drawing/2014/main" id="{3C646B6A-B1CD-40B0-A35E-1CD3B9BD65D5}"/>
              </a:ext>
            </a:extLst>
          </p:cNvPr>
          <p:cNvSpPr/>
          <p:nvPr/>
        </p:nvSpPr>
        <p:spPr>
          <a:xfrm>
            <a:off x="11507539" y="2956096"/>
            <a:ext cx="5627521" cy="49211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8" b="0" i="0" u="none" strike="noStrike" kern="1200" cap="all" spc="0" normalizeH="0" baseline="0" noProof="0" dirty="0">
                <a:ln>
                  <a:noFill/>
                </a:ln>
                <a:solidFill>
                  <a:srgbClr val="E726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mited IT</a:t>
            </a:r>
            <a:r>
              <a:rPr kumimoji="0" lang="en-US" sz="2398" b="0" i="0" u="none" strike="noStrike" kern="1200" cap="all" spc="0" normalizeH="0" noProof="0" dirty="0">
                <a:ln>
                  <a:noFill/>
                </a:ln>
                <a:solidFill>
                  <a:srgbClr val="E726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pend</a:t>
            </a:r>
            <a:r>
              <a:rPr lang="en-US" sz="2398" cap="all" dirty="0">
                <a:solidFill>
                  <a:srgbClr val="E7268D"/>
                </a:solidFill>
                <a:latin typeface="Arial"/>
                <a:cs typeface="+mn-cs"/>
              </a:rPr>
              <a:t> For Compliance</a:t>
            </a: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E726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212">
            <a:extLst>
              <a:ext uri="{FF2B5EF4-FFF2-40B4-BE49-F238E27FC236}">
                <a16:creationId xmlns:a16="http://schemas.microsoft.com/office/drawing/2014/main" id="{4D7DD9A6-4BFD-483D-B924-C89DA59857AC}"/>
              </a:ext>
            </a:extLst>
          </p:cNvPr>
          <p:cNvSpPr/>
          <p:nvPr/>
        </p:nvSpPr>
        <p:spPr>
          <a:xfrm flipH="1">
            <a:off x="2566497" y="5833623"/>
            <a:ext cx="3795837" cy="69022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nalties from Regulator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bility</a:t>
            </a:r>
            <a:r>
              <a:rPr kumimoji="0" lang="en-US" sz="1498" b="0" i="0" u="none" strike="noStrike" kern="1200" cap="none" spc="0" normalizeH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isk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erse Impact customer-base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 245">
            <a:extLst>
              <a:ext uri="{FF2B5EF4-FFF2-40B4-BE49-F238E27FC236}">
                <a16:creationId xmlns:a16="http://schemas.microsoft.com/office/drawing/2014/main" id="{266D78F1-8AD3-4191-B573-57332C9A4CAA}"/>
              </a:ext>
            </a:extLst>
          </p:cNvPr>
          <p:cNvSpPr/>
          <p:nvPr/>
        </p:nvSpPr>
        <p:spPr>
          <a:xfrm>
            <a:off x="2156005" y="2948978"/>
            <a:ext cx="5197067" cy="50647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8" b="0" i="0" u="none" strike="noStrike" kern="1200" cap="all" spc="0" normalizeH="0" baseline="0" noProof="0" dirty="0">
                <a:ln>
                  <a:noFill/>
                </a:ln>
                <a:solidFill>
                  <a:srgbClr val="069E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erging Financial Crimes</a:t>
            </a: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069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8756383-596F-4A0E-90C7-9F3ABF43C95B}"/>
              </a:ext>
            </a:extLst>
          </p:cNvPr>
          <p:cNvGrpSpPr/>
          <p:nvPr/>
        </p:nvGrpSpPr>
        <p:grpSpPr>
          <a:xfrm>
            <a:off x="6733836" y="2533297"/>
            <a:ext cx="4187852" cy="4063077"/>
            <a:chOff x="4935666" y="2087473"/>
            <a:chExt cx="2305201" cy="2304288"/>
          </a:xfrm>
        </p:grpSpPr>
        <p:sp>
          <p:nvSpPr>
            <p:cNvPr id="46" name="Google Shape;1587;p41">
              <a:extLst>
                <a:ext uri="{FF2B5EF4-FFF2-40B4-BE49-F238E27FC236}">
                  <a16:creationId xmlns:a16="http://schemas.microsoft.com/office/drawing/2014/main" id="{0AA4397C-3ACD-41DD-AD2E-CC950FFDA0D0}"/>
                </a:ext>
              </a:extLst>
            </p:cNvPr>
            <p:cNvSpPr/>
            <p:nvPr/>
          </p:nvSpPr>
          <p:spPr>
            <a:xfrm>
              <a:off x="4935666" y="2087473"/>
              <a:ext cx="2305201" cy="2304288"/>
            </a:xfrm>
            <a:custGeom>
              <a:avLst/>
              <a:gdLst/>
              <a:ahLst/>
              <a:cxnLst/>
              <a:rect l="l" t="t" r="r" b="b"/>
              <a:pathLst>
                <a:path w="109848" h="109860" extrusionOk="0">
                  <a:moveTo>
                    <a:pt x="54924" y="667"/>
                  </a:moveTo>
                  <a:cubicBezTo>
                    <a:pt x="84844" y="667"/>
                    <a:pt x="109181" y="25004"/>
                    <a:pt x="109181" y="54924"/>
                  </a:cubicBezTo>
                  <a:cubicBezTo>
                    <a:pt x="109181" y="84844"/>
                    <a:pt x="84844" y="109193"/>
                    <a:pt x="54924" y="109193"/>
                  </a:cubicBezTo>
                  <a:cubicBezTo>
                    <a:pt x="25003" y="109193"/>
                    <a:pt x="655" y="84844"/>
                    <a:pt x="655" y="54924"/>
                  </a:cubicBezTo>
                  <a:cubicBezTo>
                    <a:pt x="655" y="25004"/>
                    <a:pt x="25003" y="667"/>
                    <a:pt x="54924" y="667"/>
                  </a:cubicBezTo>
                  <a:close/>
                  <a:moveTo>
                    <a:pt x="54924" y="1"/>
                  </a:moveTo>
                  <a:cubicBezTo>
                    <a:pt x="24634" y="1"/>
                    <a:pt x="0" y="24647"/>
                    <a:pt x="0" y="54924"/>
                  </a:cubicBezTo>
                  <a:cubicBezTo>
                    <a:pt x="0" y="85214"/>
                    <a:pt x="24634" y="109859"/>
                    <a:pt x="54924" y="109859"/>
                  </a:cubicBezTo>
                  <a:cubicBezTo>
                    <a:pt x="85213" y="109859"/>
                    <a:pt x="109847" y="85214"/>
                    <a:pt x="109847" y="54924"/>
                  </a:cubicBezTo>
                  <a:cubicBezTo>
                    <a:pt x="109847" y="24647"/>
                    <a:pt x="85213" y="1"/>
                    <a:pt x="54924" y="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spcFirstLastPara="1" wrap="square" lIns="91342" tIns="91342" rIns="91342" bIns="91342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199" b="0" i="0" u="none" strike="noStrike" kern="1200" cap="none" spc="0" normalizeH="0" baseline="0" noProof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806360F-D511-46FF-B93B-D8B7D9C934E5}"/>
                </a:ext>
              </a:extLst>
            </p:cNvPr>
            <p:cNvSpPr/>
            <p:nvPr/>
          </p:nvSpPr>
          <p:spPr>
            <a:xfrm>
              <a:off x="5110175" y="2261625"/>
              <a:ext cx="1956183" cy="1955984"/>
            </a:xfrm>
            <a:prstGeom prst="ellipse">
              <a:avLst/>
            </a:prstGeom>
            <a:noFill/>
            <a:ln w="158750">
              <a:gradFill flip="none" rotWithShape="1">
                <a:gsLst>
                  <a:gs pos="26000">
                    <a:schemeClr val="accent3"/>
                  </a:gs>
                  <a:gs pos="100000">
                    <a:schemeClr val="accent6"/>
                  </a:gs>
                  <a:gs pos="0">
                    <a:schemeClr val="accent1"/>
                  </a:gs>
                  <a:gs pos="80000">
                    <a:schemeClr val="accent5"/>
                  </a:gs>
                  <a:gs pos="53000">
                    <a:schemeClr val="accent4"/>
                  </a:gs>
                </a:gsLst>
                <a:path path="circle">
                  <a:fillToRect l="100000" t="100000"/>
                </a:path>
                <a:tileRect r="-100000" b="-10000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8" name="Rectangle 212">
            <a:extLst>
              <a:ext uri="{FF2B5EF4-FFF2-40B4-BE49-F238E27FC236}">
                <a16:creationId xmlns:a16="http://schemas.microsoft.com/office/drawing/2014/main" id="{B2B19543-3CB3-4B73-B684-972B72AD69B7}"/>
              </a:ext>
            </a:extLst>
          </p:cNvPr>
          <p:cNvSpPr/>
          <p:nvPr/>
        </p:nvSpPr>
        <p:spPr>
          <a:xfrm flipH="1">
            <a:off x="11748167" y="3306676"/>
            <a:ext cx="5038631" cy="12791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xed Budget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98" dirty="0">
                <a:solidFill>
                  <a:srgbClr val="404041"/>
                </a:solidFill>
                <a:latin typeface="Arial"/>
                <a:cs typeface="+mn-cs"/>
              </a:rPr>
              <a:t>Limited Workforce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98" dirty="0">
                <a:solidFill>
                  <a:srgbClr val="404041"/>
                </a:solidFill>
                <a:latin typeface="Arial"/>
                <a:cs typeface="+mn-cs"/>
              </a:rPr>
              <a:t>Time taking investigations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245">
            <a:extLst>
              <a:ext uri="{FF2B5EF4-FFF2-40B4-BE49-F238E27FC236}">
                <a16:creationId xmlns:a16="http://schemas.microsoft.com/office/drawing/2014/main" id="{81FFD875-DF1C-4E30-9A15-EC0B88EB5B86}"/>
              </a:ext>
            </a:extLst>
          </p:cNvPr>
          <p:cNvSpPr/>
          <p:nvPr/>
        </p:nvSpPr>
        <p:spPr>
          <a:xfrm flipH="1">
            <a:off x="11507539" y="5485313"/>
            <a:ext cx="5038631" cy="37749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98" cap="all" dirty="0">
                <a:solidFill>
                  <a:srgbClr val="AFC836"/>
                </a:solidFill>
                <a:latin typeface="Arial"/>
                <a:cs typeface="+mn-cs"/>
              </a:rPr>
              <a:t>Repetitive Activities </a:t>
            </a: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AFC83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B2591F0-2446-48A0-8964-678193E1FDD6}"/>
              </a:ext>
            </a:extLst>
          </p:cNvPr>
          <p:cNvGrpSpPr/>
          <p:nvPr/>
        </p:nvGrpSpPr>
        <p:grpSpPr>
          <a:xfrm flipV="1">
            <a:off x="2635129" y="3253564"/>
            <a:ext cx="4267659" cy="642609"/>
            <a:chOff x="599440" y="4241743"/>
            <a:chExt cx="4271527" cy="643192"/>
          </a:xfrm>
        </p:grpSpPr>
        <p:sp>
          <p:nvSpPr>
            <p:cNvPr id="51" name="Oval 247">
              <a:extLst>
                <a:ext uri="{FF2B5EF4-FFF2-40B4-BE49-F238E27FC236}">
                  <a16:creationId xmlns:a16="http://schemas.microsoft.com/office/drawing/2014/main" id="{B7C398D2-19DC-4C28-A292-E160251C3F20}"/>
                </a:ext>
              </a:extLst>
            </p:cNvPr>
            <p:cNvSpPr/>
            <p:nvPr/>
          </p:nvSpPr>
          <p:spPr>
            <a:xfrm flipH="1" flipV="1">
              <a:off x="4720643" y="4241743"/>
              <a:ext cx="150324" cy="155077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3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5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2" name="Straight Connector 249">
              <a:extLst>
                <a:ext uri="{FF2B5EF4-FFF2-40B4-BE49-F238E27FC236}">
                  <a16:creationId xmlns:a16="http://schemas.microsoft.com/office/drawing/2014/main" id="{8A7D9E52-6AF1-4656-B3B6-797C6323BD0B}"/>
                </a:ext>
              </a:extLst>
            </p:cNvPr>
            <p:cNvCxnSpPr>
              <a:cxnSpLocks/>
              <a:endCxn id="51" idx="7"/>
            </p:cNvCxnSpPr>
            <p:nvPr/>
          </p:nvCxnSpPr>
          <p:spPr>
            <a:xfrm flipV="1">
              <a:off x="4386304" y="4374109"/>
              <a:ext cx="356353" cy="510826"/>
            </a:xfrm>
            <a:prstGeom prst="line">
              <a:avLst/>
            </a:prstGeom>
            <a:ln w="3175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250">
              <a:extLst>
                <a:ext uri="{FF2B5EF4-FFF2-40B4-BE49-F238E27FC236}">
                  <a16:creationId xmlns:a16="http://schemas.microsoft.com/office/drawing/2014/main" id="{2CB552E0-F554-4987-82F9-C3E7185E4E72}"/>
                </a:ext>
              </a:extLst>
            </p:cNvPr>
            <p:cNvCxnSpPr>
              <a:cxnSpLocks/>
            </p:cNvCxnSpPr>
            <p:nvPr/>
          </p:nvCxnSpPr>
          <p:spPr>
            <a:xfrm>
              <a:off x="599440" y="4877619"/>
              <a:ext cx="3799277" cy="0"/>
            </a:xfrm>
            <a:prstGeom prst="line">
              <a:avLst/>
            </a:prstGeom>
            <a:ln w="3175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46DD400-51D4-41C4-A65A-AD59BD7BCDB4}"/>
              </a:ext>
            </a:extLst>
          </p:cNvPr>
          <p:cNvGrpSpPr/>
          <p:nvPr/>
        </p:nvGrpSpPr>
        <p:grpSpPr>
          <a:xfrm flipV="1">
            <a:off x="10759247" y="3260874"/>
            <a:ext cx="4281735" cy="642609"/>
            <a:chOff x="7306943" y="4241743"/>
            <a:chExt cx="4285616" cy="643192"/>
          </a:xfrm>
        </p:grpSpPr>
        <p:sp>
          <p:nvSpPr>
            <p:cNvPr id="55" name="Oval 247">
              <a:extLst>
                <a:ext uri="{FF2B5EF4-FFF2-40B4-BE49-F238E27FC236}">
                  <a16:creationId xmlns:a16="http://schemas.microsoft.com/office/drawing/2014/main" id="{34EC65C0-107D-49D1-9E96-A4847E44B2B1}"/>
                </a:ext>
              </a:extLst>
            </p:cNvPr>
            <p:cNvSpPr/>
            <p:nvPr/>
          </p:nvSpPr>
          <p:spPr>
            <a:xfrm flipV="1">
              <a:off x="7306943" y="4241743"/>
              <a:ext cx="150324" cy="155077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35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Straight Connector 249">
              <a:extLst>
                <a:ext uri="{FF2B5EF4-FFF2-40B4-BE49-F238E27FC236}">
                  <a16:creationId xmlns:a16="http://schemas.microsoft.com/office/drawing/2014/main" id="{24AD9071-4E84-4BBE-A98C-34031AE4171B}"/>
                </a:ext>
              </a:extLst>
            </p:cNvPr>
            <p:cNvCxnSpPr>
              <a:cxnSpLocks/>
              <a:endCxn id="55" idx="7"/>
            </p:cNvCxnSpPr>
            <p:nvPr/>
          </p:nvCxnSpPr>
          <p:spPr>
            <a:xfrm flipH="1" flipV="1">
              <a:off x="7435253" y="4374109"/>
              <a:ext cx="404823" cy="510826"/>
            </a:xfrm>
            <a:prstGeom prst="line">
              <a:avLst/>
            </a:prstGeom>
            <a:ln w="3175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250">
              <a:extLst>
                <a:ext uri="{FF2B5EF4-FFF2-40B4-BE49-F238E27FC236}">
                  <a16:creationId xmlns:a16="http://schemas.microsoft.com/office/drawing/2014/main" id="{8DECBC27-9EEE-4019-B119-64D8CE631E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40076" y="4877619"/>
              <a:ext cx="3752483" cy="0"/>
            </a:xfrm>
            <a:prstGeom prst="line">
              <a:avLst/>
            </a:prstGeom>
            <a:ln w="3175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Rectangle 212">
            <a:extLst>
              <a:ext uri="{FF2B5EF4-FFF2-40B4-BE49-F238E27FC236}">
                <a16:creationId xmlns:a16="http://schemas.microsoft.com/office/drawing/2014/main" id="{DA8CCE08-B96D-41B5-969E-FE41AEC96C5A}"/>
              </a:ext>
            </a:extLst>
          </p:cNvPr>
          <p:cNvSpPr/>
          <p:nvPr/>
        </p:nvSpPr>
        <p:spPr>
          <a:xfrm flipH="1">
            <a:off x="11670532" y="5833623"/>
            <a:ext cx="4700158" cy="69022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98" noProof="0" dirty="0">
                <a:solidFill>
                  <a:srgbClr val="404041"/>
                </a:solidFill>
                <a:latin typeface="Arial"/>
                <a:cs typeface="+mn-cs"/>
              </a:rPr>
              <a:t>Mundane investigation for similar Alerts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chanic</a:t>
            </a:r>
            <a:r>
              <a:rPr kumimoji="0" lang="en-US" sz="1498" b="0" i="0" u="none" strike="noStrike" kern="1200" cap="none" spc="0" normalizeH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vents during investigation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98" dirty="0">
                <a:solidFill>
                  <a:srgbClr val="404041"/>
                </a:solidFill>
                <a:latin typeface="Arial"/>
                <a:cs typeface="+mn-cs"/>
              </a:rPr>
              <a:t>Inconsistent human behavior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r>
              <a:rPr kumimoji="0" lang="en-US" sz="1498" b="0" i="0" u="none" strike="noStrike" kern="1200" cap="none" spc="0" normalizeH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pen Rates, due to lack of right experience</a:t>
            </a: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3C93CC0-FDAA-4F95-85E4-9CA467FFFB05}"/>
              </a:ext>
            </a:extLst>
          </p:cNvPr>
          <p:cNvGrpSpPr/>
          <p:nvPr/>
        </p:nvGrpSpPr>
        <p:grpSpPr>
          <a:xfrm>
            <a:off x="10755687" y="5186151"/>
            <a:ext cx="4281736" cy="642609"/>
            <a:chOff x="7306943" y="4241743"/>
            <a:chExt cx="4285617" cy="643192"/>
          </a:xfrm>
        </p:grpSpPr>
        <p:sp>
          <p:nvSpPr>
            <p:cNvPr id="60" name="Oval 247">
              <a:extLst>
                <a:ext uri="{FF2B5EF4-FFF2-40B4-BE49-F238E27FC236}">
                  <a16:creationId xmlns:a16="http://schemas.microsoft.com/office/drawing/2014/main" id="{37DA8541-4D22-4012-8837-BC3DB50AF9E2}"/>
                </a:ext>
              </a:extLst>
            </p:cNvPr>
            <p:cNvSpPr/>
            <p:nvPr/>
          </p:nvSpPr>
          <p:spPr>
            <a:xfrm flipV="1">
              <a:off x="7306943" y="4241743"/>
              <a:ext cx="150324" cy="155077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35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249">
              <a:extLst>
                <a:ext uri="{FF2B5EF4-FFF2-40B4-BE49-F238E27FC236}">
                  <a16:creationId xmlns:a16="http://schemas.microsoft.com/office/drawing/2014/main" id="{D46CD7F3-F746-4804-B303-F7029B29C76E}"/>
                </a:ext>
              </a:extLst>
            </p:cNvPr>
            <p:cNvCxnSpPr>
              <a:cxnSpLocks/>
              <a:endCxn id="60" idx="7"/>
            </p:cNvCxnSpPr>
            <p:nvPr/>
          </p:nvCxnSpPr>
          <p:spPr>
            <a:xfrm flipH="1" flipV="1">
              <a:off x="7435253" y="4374109"/>
              <a:ext cx="404823" cy="510826"/>
            </a:xfrm>
            <a:prstGeom prst="line">
              <a:avLst/>
            </a:prstGeom>
            <a:ln w="31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250">
              <a:extLst>
                <a:ext uri="{FF2B5EF4-FFF2-40B4-BE49-F238E27FC236}">
                  <a16:creationId xmlns:a16="http://schemas.microsoft.com/office/drawing/2014/main" id="{48C5B718-331A-4FD5-B6CF-A8ACBF1DC4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40077" y="4877619"/>
              <a:ext cx="3752483" cy="0"/>
            </a:xfrm>
            <a:prstGeom prst="line">
              <a:avLst/>
            </a:prstGeom>
            <a:ln w="31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Rectangle 245">
            <a:extLst>
              <a:ext uri="{FF2B5EF4-FFF2-40B4-BE49-F238E27FC236}">
                <a16:creationId xmlns:a16="http://schemas.microsoft.com/office/drawing/2014/main" id="{7EA973DA-AE13-4BFF-8898-6987FDC8BB9A}"/>
              </a:ext>
            </a:extLst>
          </p:cNvPr>
          <p:cNvSpPr/>
          <p:nvPr/>
        </p:nvSpPr>
        <p:spPr>
          <a:xfrm>
            <a:off x="1982137" y="5480660"/>
            <a:ext cx="5750410" cy="50647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98" cap="all" dirty="0">
                <a:solidFill>
                  <a:srgbClr val="7D3CC8"/>
                </a:solidFill>
                <a:latin typeface="Arial"/>
                <a:cs typeface="+mn-cs"/>
              </a:rPr>
              <a:t>cost of Non- Compliance</a:t>
            </a: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7D3C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6332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2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/>
      <p:bldP spid="42" grpId="0"/>
      <p:bldP spid="43" grpId="0"/>
      <p:bldP spid="44" grpId="0"/>
      <p:bldP spid="48" grpId="0"/>
      <p:bldP spid="49" grpId="0"/>
      <p:bldP spid="58" grpId="0"/>
      <p:bldP spid="6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73EA28-A1E2-4E69-923E-3FEFD3180C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27593" y="9695784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B472F1-DA66-4ADF-951B-FACE349E5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158750"/>
            <a:r>
              <a:rPr lang="en-US" dirty="0">
                <a:latin typeface="Arial"/>
                <a:cs typeface="Arial"/>
              </a:rPr>
              <a:t>Mining Patterns, To Build Wisdom</a:t>
            </a:r>
          </a:p>
        </p:txBody>
      </p:sp>
      <p:pic>
        <p:nvPicPr>
          <p:cNvPr id="3074" name="Picture 2" descr="Aamir khan (Ghajini) - ZBrushCentral">
            <a:extLst>
              <a:ext uri="{FF2B5EF4-FFF2-40B4-BE49-F238E27FC236}">
                <a16:creationId xmlns:a16="http://schemas.microsoft.com/office/drawing/2014/main" id="{86F1DE0F-8881-4885-843D-88597B1D5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8213" y="2671011"/>
            <a:ext cx="7194733" cy="5630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052E75E-7ABD-4F0A-B35D-D263904AEC98}"/>
              </a:ext>
            </a:extLst>
          </p:cNvPr>
          <p:cNvSpPr txBox="1"/>
          <p:nvPr/>
        </p:nvSpPr>
        <p:spPr>
          <a:xfrm rot="20801942">
            <a:off x="10515526" y="5136899"/>
            <a:ext cx="2767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tx2">
                    <a:lumMod val="75000"/>
                  </a:schemeClr>
                </a:solidFill>
                <a:latin typeface="Amasis MT Pro Medium" panose="020B0604020202020204" pitchFamily="18" charset="0"/>
              </a:rPr>
              <a:t>Alert Type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9C4CA08-A108-4CF1-9205-B4ECCAD4E1F7}"/>
              </a:ext>
            </a:extLst>
          </p:cNvPr>
          <p:cNvSpPr txBox="1"/>
          <p:nvPr/>
        </p:nvSpPr>
        <p:spPr>
          <a:xfrm>
            <a:off x="11261560" y="5751519"/>
            <a:ext cx="27672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Amasis MT Pro Medium" panose="020B0604020202020204" pitchFamily="18" charset="0"/>
              </a:rPr>
              <a:t>Satisfied Rul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0A9990D-DED0-40C0-90CC-662F7AAB5D15}"/>
              </a:ext>
            </a:extLst>
          </p:cNvPr>
          <p:cNvSpPr txBox="1"/>
          <p:nvPr/>
        </p:nvSpPr>
        <p:spPr>
          <a:xfrm rot="1566568">
            <a:off x="12605477" y="5224308"/>
            <a:ext cx="1900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Workflow </a:t>
            </a:r>
          </a:p>
          <a:p>
            <a:pPr algn="ctr"/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Step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C3E481B-57CF-4219-9919-ACF8286EA6CC}"/>
              </a:ext>
            </a:extLst>
          </p:cNvPr>
          <p:cNvSpPr txBox="1"/>
          <p:nvPr/>
        </p:nvSpPr>
        <p:spPr>
          <a:xfrm rot="3086156">
            <a:off x="14076951" y="6479840"/>
            <a:ext cx="13234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2">
                    <a:lumMod val="75000"/>
                  </a:schemeClr>
                </a:solidFill>
              </a:rPr>
              <a:t>Pattern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8D4637F-0F49-4EA9-968A-71AC55E6F30E}"/>
              </a:ext>
            </a:extLst>
          </p:cNvPr>
          <p:cNvSpPr txBox="1"/>
          <p:nvPr/>
        </p:nvSpPr>
        <p:spPr>
          <a:xfrm>
            <a:off x="11478128" y="6539224"/>
            <a:ext cx="27672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Amasis MT Pro Medium" panose="020B0604020202020204" pitchFamily="18" charset="0"/>
              </a:rPr>
              <a:t>Alert Closed as Suspiciou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D7B396D-7BFB-4A3D-BB88-FE997BFE8183}"/>
              </a:ext>
            </a:extLst>
          </p:cNvPr>
          <p:cNvSpPr txBox="1"/>
          <p:nvPr/>
        </p:nvSpPr>
        <p:spPr>
          <a:xfrm rot="17806712">
            <a:off x="9757604" y="6592491"/>
            <a:ext cx="13234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2">
                    <a:lumMod val="75000"/>
                  </a:schemeClr>
                </a:solidFill>
              </a:rPr>
              <a:t>Similarit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D0C1DD-3DCC-4AD4-9418-80B58B44D1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4030" y="2671011"/>
            <a:ext cx="4249861" cy="69219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3437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64" grpId="0"/>
      <p:bldP spid="18" grpId="0"/>
      <p:bldP spid="19" grpId="0"/>
      <p:bldP spid="66" grpId="0"/>
      <p:bldP spid="6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AACD981-53F7-40D9-90E9-6C9B52A1A496}"/>
              </a:ext>
            </a:extLst>
          </p:cNvPr>
          <p:cNvSpPr/>
          <p:nvPr/>
        </p:nvSpPr>
        <p:spPr>
          <a:xfrm>
            <a:off x="1721024" y="1780674"/>
            <a:ext cx="14849127" cy="2015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7416B12-967E-4BBE-BE16-5CC430FF6D8C}"/>
              </a:ext>
            </a:extLst>
          </p:cNvPr>
          <p:cNvSpPr/>
          <p:nvPr/>
        </p:nvSpPr>
        <p:spPr>
          <a:xfrm>
            <a:off x="1743650" y="3928421"/>
            <a:ext cx="14849127" cy="1806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8D87CA9-F32D-4092-BDDC-EE9F7C3B2B5C}"/>
              </a:ext>
            </a:extLst>
          </p:cNvPr>
          <p:cNvSpPr/>
          <p:nvPr/>
        </p:nvSpPr>
        <p:spPr>
          <a:xfrm>
            <a:off x="1777329" y="6109790"/>
            <a:ext cx="14849127" cy="2015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26ED9F6-1AD8-4D4A-822E-57B62C4E6094}"/>
              </a:ext>
            </a:extLst>
          </p:cNvPr>
          <p:cNvSpPr/>
          <p:nvPr/>
        </p:nvSpPr>
        <p:spPr>
          <a:xfrm>
            <a:off x="1816348" y="8178163"/>
            <a:ext cx="14849127" cy="2015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73EA28-A1E2-4E69-923E-3FEFD3180C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27593" y="9695784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B472F1-DA66-4ADF-951B-FACE349E5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158750"/>
            <a:r>
              <a:rPr lang="en-US" dirty="0">
                <a:latin typeface="Arial"/>
                <a:cs typeface="Arial"/>
              </a:rPr>
              <a:t>INTRODUCTION</a:t>
            </a:r>
          </a:p>
        </p:txBody>
      </p:sp>
      <p:pic>
        <p:nvPicPr>
          <p:cNvPr id="1026" name="Picture 2" descr="asian, avatar, investigator, trenchcoat ">
            <a:extLst>
              <a:ext uri="{FF2B5EF4-FFF2-40B4-BE49-F238E27FC236}">
                <a16:creationId xmlns:a16="http://schemas.microsoft.com/office/drawing/2014/main" id="{7804C8F6-C690-4097-B805-EA9656E37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54" y="2006490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sian, avatar, investigator, trenchcoat ">
            <a:extLst>
              <a:ext uri="{FF2B5EF4-FFF2-40B4-BE49-F238E27FC236}">
                <a16:creationId xmlns:a16="http://schemas.microsoft.com/office/drawing/2014/main" id="{7D70CB3C-2A6F-4F49-A1AE-07D44E9C6C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54" y="3818994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asian, avatar, investigator, trenchcoat ">
            <a:extLst>
              <a:ext uri="{FF2B5EF4-FFF2-40B4-BE49-F238E27FC236}">
                <a16:creationId xmlns:a16="http://schemas.microsoft.com/office/drawing/2014/main" id="{EAE3C5A5-C5FA-48D7-956F-FB720A939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54" y="6069058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" descr="asian, avatar, investigator, trenchcoat ">
            <a:extLst>
              <a:ext uri="{FF2B5EF4-FFF2-40B4-BE49-F238E27FC236}">
                <a16:creationId xmlns:a16="http://schemas.microsoft.com/office/drawing/2014/main" id="{D7A44BB8-E211-43F6-94DF-2AE9981687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54" y="8050003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F462903-ABFC-4BC2-A6B7-943827D02E2B}"/>
              </a:ext>
            </a:extLst>
          </p:cNvPr>
          <p:cNvSpPr txBox="1"/>
          <p:nvPr/>
        </p:nvSpPr>
        <p:spPr>
          <a:xfrm>
            <a:off x="1721024" y="3068789"/>
            <a:ext cx="2570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ober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E5AFA95-D3B3-4A73-92E5-218B4971AF5D}"/>
              </a:ext>
            </a:extLst>
          </p:cNvPr>
          <p:cNvSpPr txBox="1"/>
          <p:nvPr/>
        </p:nvSpPr>
        <p:spPr>
          <a:xfrm>
            <a:off x="1721024" y="4941118"/>
            <a:ext cx="2570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isa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39F30E2-741D-45E2-99DB-5692E63EB84F}"/>
              </a:ext>
            </a:extLst>
          </p:cNvPr>
          <p:cNvSpPr txBox="1"/>
          <p:nvPr/>
        </p:nvSpPr>
        <p:spPr>
          <a:xfrm>
            <a:off x="1616593" y="7174413"/>
            <a:ext cx="2570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Arturito</a:t>
            </a:r>
            <a:endParaRPr lang="en-US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913A3DC-8856-4699-945C-8EB7160A9CF8}"/>
              </a:ext>
            </a:extLst>
          </p:cNvPr>
          <p:cNvSpPr txBox="1"/>
          <p:nvPr/>
        </p:nvSpPr>
        <p:spPr>
          <a:xfrm>
            <a:off x="1721024" y="9253748"/>
            <a:ext cx="2570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oky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CAB7D3D-6C07-4667-B932-DB2FC3E90CC4}"/>
              </a:ext>
            </a:extLst>
          </p:cNvPr>
          <p:cNvSpPr/>
          <p:nvPr/>
        </p:nvSpPr>
        <p:spPr>
          <a:xfrm>
            <a:off x="4083084" y="2172755"/>
            <a:ext cx="3419061" cy="1219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dirty="0">
                <a:solidFill>
                  <a:schemeClr val="tx1"/>
                </a:solidFill>
              </a:rPr>
              <a:t>Money Laundering Ale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853E86-238D-4682-9BB0-3C386260941D}"/>
              </a:ext>
            </a:extLst>
          </p:cNvPr>
          <p:cNvSpPr/>
          <p:nvPr/>
        </p:nvSpPr>
        <p:spPr>
          <a:xfrm>
            <a:off x="4334875" y="2523480"/>
            <a:ext cx="2279372" cy="2224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40893E2B-0F0D-4911-913F-C23B529739DA}"/>
              </a:ext>
            </a:extLst>
          </p:cNvPr>
          <p:cNvSpPr/>
          <p:nvPr/>
        </p:nvSpPr>
        <p:spPr>
          <a:xfrm>
            <a:off x="4639675" y="2801015"/>
            <a:ext cx="1974572" cy="156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6D288F6-BAFE-4B28-956E-745447B80900}"/>
              </a:ext>
            </a:extLst>
          </p:cNvPr>
          <p:cNvSpPr/>
          <p:nvPr/>
        </p:nvSpPr>
        <p:spPr>
          <a:xfrm>
            <a:off x="4639675" y="3063407"/>
            <a:ext cx="1974572" cy="156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711215E-7E7E-465F-B329-6EEB663B90EE}"/>
              </a:ext>
            </a:extLst>
          </p:cNvPr>
          <p:cNvSpPr/>
          <p:nvPr/>
        </p:nvSpPr>
        <p:spPr>
          <a:xfrm>
            <a:off x="4083084" y="6490810"/>
            <a:ext cx="3419061" cy="1219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dirty="0">
                <a:solidFill>
                  <a:schemeClr val="tx1"/>
                </a:solidFill>
              </a:rPr>
              <a:t>Money Laundering Alert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E1434FA-BFC5-4E1A-A2AD-C88383D44CEC}"/>
              </a:ext>
            </a:extLst>
          </p:cNvPr>
          <p:cNvSpPr/>
          <p:nvPr/>
        </p:nvSpPr>
        <p:spPr>
          <a:xfrm>
            <a:off x="4334875" y="6841535"/>
            <a:ext cx="2279372" cy="2224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669D173-5162-4875-AFF5-6DA426C0B6EB}"/>
              </a:ext>
            </a:extLst>
          </p:cNvPr>
          <p:cNvSpPr/>
          <p:nvPr/>
        </p:nvSpPr>
        <p:spPr>
          <a:xfrm>
            <a:off x="4639675" y="7119070"/>
            <a:ext cx="1974572" cy="156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12B8D29A-CACA-41C9-965A-AD930C64E137}"/>
              </a:ext>
            </a:extLst>
          </p:cNvPr>
          <p:cNvSpPr/>
          <p:nvPr/>
        </p:nvSpPr>
        <p:spPr>
          <a:xfrm>
            <a:off x="4639675" y="7381462"/>
            <a:ext cx="1974572" cy="156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8CD0B2B-3F45-4677-8F14-FF6476D593AA}"/>
              </a:ext>
            </a:extLst>
          </p:cNvPr>
          <p:cNvSpPr/>
          <p:nvPr/>
        </p:nvSpPr>
        <p:spPr>
          <a:xfrm>
            <a:off x="4083084" y="8401576"/>
            <a:ext cx="3419061" cy="1219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dirty="0">
                <a:solidFill>
                  <a:schemeClr val="tx1"/>
                </a:solidFill>
              </a:rPr>
              <a:t>Money Laundering Alert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28B99EA-3B93-43E2-B0BE-E4466C84AD4A}"/>
              </a:ext>
            </a:extLst>
          </p:cNvPr>
          <p:cNvSpPr/>
          <p:nvPr/>
        </p:nvSpPr>
        <p:spPr>
          <a:xfrm>
            <a:off x="4334875" y="8752301"/>
            <a:ext cx="2279372" cy="2224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7363AC5-094A-4F71-8990-69CEF8C0E8D9}"/>
              </a:ext>
            </a:extLst>
          </p:cNvPr>
          <p:cNvSpPr/>
          <p:nvPr/>
        </p:nvSpPr>
        <p:spPr>
          <a:xfrm>
            <a:off x="4639675" y="9029836"/>
            <a:ext cx="1974572" cy="156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CA1F11F-59CB-4ADC-BFB0-2CC161B3ED0B}"/>
              </a:ext>
            </a:extLst>
          </p:cNvPr>
          <p:cNvSpPr/>
          <p:nvPr/>
        </p:nvSpPr>
        <p:spPr>
          <a:xfrm>
            <a:off x="4639675" y="9292228"/>
            <a:ext cx="1974572" cy="156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3194F715-EF8B-4FD1-9DD3-8BD22604FB01}"/>
              </a:ext>
            </a:extLst>
          </p:cNvPr>
          <p:cNvSpPr/>
          <p:nvPr/>
        </p:nvSpPr>
        <p:spPr>
          <a:xfrm>
            <a:off x="4083084" y="4056944"/>
            <a:ext cx="3419061" cy="1219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dirty="0">
                <a:solidFill>
                  <a:schemeClr val="tx1"/>
                </a:solidFill>
              </a:rPr>
              <a:t>Fraud Alert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528769B5-1B1D-4FA1-996D-BEBD8A572B42}"/>
              </a:ext>
            </a:extLst>
          </p:cNvPr>
          <p:cNvSpPr/>
          <p:nvPr/>
        </p:nvSpPr>
        <p:spPr>
          <a:xfrm>
            <a:off x="4334875" y="4407669"/>
            <a:ext cx="2279372" cy="2224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467C60D8-89D0-4726-B6BD-1C3FAA0CC54D}"/>
              </a:ext>
            </a:extLst>
          </p:cNvPr>
          <p:cNvSpPr/>
          <p:nvPr/>
        </p:nvSpPr>
        <p:spPr>
          <a:xfrm>
            <a:off x="4639675" y="4685204"/>
            <a:ext cx="1974572" cy="1562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A8D730F1-9E95-4FB8-BE03-D46FF35B1C7D}"/>
              </a:ext>
            </a:extLst>
          </p:cNvPr>
          <p:cNvSpPr/>
          <p:nvPr/>
        </p:nvSpPr>
        <p:spPr>
          <a:xfrm>
            <a:off x="4639675" y="4947596"/>
            <a:ext cx="1974572" cy="1562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FAA39F-71B3-43C9-8579-BD0AAFD36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1585" y="2092237"/>
            <a:ext cx="3546656" cy="157382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232EC054-8B2B-4B87-9800-21906174F93C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21585" y="3962826"/>
            <a:ext cx="3546656" cy="1573825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20B68D69-855C-4FFF-8C10-3B9F6D0546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95664" y="6362801"/>
            <a:ext cx="3546656" cy="157382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D22338DC-FC65-45FA-837D-8A5A8B4E8A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1585" y="8242923"/>
            <a:ext cx="3546656" cy="15738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F8A474F-BD0A-48AA-921E-E3B39B0D0C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63179" y="2092238"/>
            <a:ext cx="2711187" cy="143296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C8D1B46-8571-46EC-89BB-80CF0E9FBF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19238" y="6277049"/>
            <a:ext cx="2711190" cy="143296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CF02DF3D-61A7-4EE6-A770-C2F6310A2B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19238" y="8374318"/>
            <a:ext cx="2711192" cy="143296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909E0C0-895B-4919-9A05-F85069143CB1}"/>
              </a:ext>
            </a:extLst>
          </p:cNvPr>
          <p:cNvSpPr/>
          <p:nvPr/>
        </p:nvSpPr>
        <p:spPr>
          <a:xfrm>
            <a:off x="8295664" y="1979019"/>
            <a:ext cx="3791619" cy="1757679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33F4C7E-F526-4793-8006-B98E2E7BE30E}"/>
              </a:ext>
            </a:extLst>
          </p:cNvPr>
          <p:cNvSpPr/>
          <p:nvPr/>
        </p:nvSpPr>
        <p:spPr>
          <a:xfrm>
            <a:off x="8295664" y="3891602"/>
            <a:ext cx="3791619" cy="1757679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3A32FF0-B699-4231-9AF0-6E5B0FA19618}"/>
              </a:ext>
            </a:extLst>
          </p:cNvPr>
          <p:cNvSpPr/>
          <p:nvPr/>
        </p:nvSpPr>
        <p:spPr>
          <a:xfrm>
            <a:off x="8295664" y="6183305"/>
            <a:ext cx="3791619" cy="1757679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28252F9-4AC6-4A41-815F-54074CFBE28F}"/>
              </a:ext>
            </a:extLst>
          </p:cNvPr>
          <p:cNvSpPr/>
          <p:nvPr/>
        </p:nvSpPr>
        <p:spPr>
          <a:xfrm>
            <a:off x="8295664" y="8095888"/>
            <a:ext cx="3791619" cy="1757679"/>
          </a:xfrm>
          <a:prstGeom prst="rect">
            <a:avLst/>
          </a:prstGeom>
          <a:solidFill>
            <a:schemeClr val="bg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381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0" grpId="0"/>
      <p:bldP spid="61" grpId="0"/>
      <p:bldP spid="62" grpId="0"/>
      <p:bldP spid="5" grpId="0" animBg="1"/>
      <p:bldP spid="8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122" grpId="0" animBg="1"/>
      <p:bldP spid="125" grpId="0" animBg="1"/>
      <p:bldP spid="127" grpId="0" animBg="1"/>
      <p:bldP spid="128" grpId="0" animBg="1"/>
      <p:bldP spid="6" grpId="0" animBg="1"/>
      <p:bldP spid="40" grpId="0" animBg="1"/>
      <p:bldP spid="41" grpId="0" animBg="1"/>
      <p:bldP spid="4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3BDCDA91-7905-4D43-8F04-D9CF23673D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762" y="6230850"/>
            <a:ext cx="5280028" cy="242542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73EA28-A1E2-4E69-923E-3FEFD3180C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27593" y="9695784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B472F1-DA66-4ADF-951B-FACE349E5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158750"/>
            <a:r>
              <a:rPr lang="en-US" dirty="0">
                <a:latin typeface="Arial"/>
                <a:cs typeface="Arial"/>
              </a:rPr>
              <a:t>Solving it in a Scaled Manner — Algorithmic Detail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6DFDDF-65A4-4727-8BB3-637E82BE37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10423" y="24064"/>
            <a:ext cx="2880752" cy="2255777"/>
          </a:xfrm>
          <a:prstGeom prst="rect">
            <a:avLst/>
          </a:prstGeom>
        </p:spPr>
      </p:pic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E2D76675-4D92-49BD-84D5-B7DB79A30D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7130523"/>
              </p:ext>
            </p:extLst>
          </p:nvPr>
        </p:nvGraphicFramePr>
        <p:xfrm>
          <a:off x="1986404" y="1377520"/>
          <a:ext cx="12682377" cy="48533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F0822A1D-41BE-48CE-8B2D-8322E3E1B3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741" y="6005236"/>
            <a:ext cx="4974021" cy="265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645F98C-E951-44F9-8EAE-01761153F7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3762" y="6132886"/>
            <a:ext cx="6530038" cy="131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237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82E810-F41C-4A34-A270-8A54A1A194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54084" y="9750684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79ECB04-E9AE-4580-8F1F-033B802A6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ctivities planned to be completed during coming weeks (Outcom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CAAB63-F379-4817-AE7D-B391E8830B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2674961"/>
            <a:ext cx="16716750" cy="6388652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IN" sz="2000" dirty="0">
                <a:latin typeface="Segoe UI" panose="020B0502040204020203" pitchFamily="34" charset="0"/>
                <a:cs typeface="Segoe UI" panose="020B0502040204020203" pitchFamily="34" charset="0"/>
              </a:rPr>
              <a:t>Tuning the Model further to capture dynamic/configurable featur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sz="2000" dirty="0">
                <a:latin typeface="Segoe UI" panose="020B0502040204020203" pitchFamily="34" charset="0"/>
                <a:cs typeface="Segoe UI" panose="020B0502040204020203" pitchFamily="34" charset="0"/>
              </a:rPr>
              <a:t>Verifying the Model on larger data-se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sz="2000" dirty="0">
                <a:latin typeface="Segoe UI" panose="020B0502040204020203" pitchFamily="34" charset="0"/>
                <a:cs typeface="Segoe UI" panose="020B0502040204020203" pitchFamily="34" charset="0"/>
              </a:rPr>
              <a:t>Developing Plugins for the Upstream to leverage the Wisdom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sz="2000" dirty="0">
                <a:latin typeface="Segoe UI" panose="020B0502040204020203" pitchFamily="34" charset="0"/>
                <a:cs typeface="Segoe UI" panose="020B0502040204020203" pitchFamily="34" charset="0"/>
              </a:rPr>
              <a:t>Integrating the Model with Actimize Case Manager</a:t>
            </a:r>
          </a:p>
        </p:txBody>
      </p:sp>
    </p:spTree>
    <p:extLst>
      <p:ext uri="{BB962C8B-B14F-4D97-AF65-F5344CB8AC3E}">
        <p14:creationId xmlns:p14="http://schemas.microsoft.com/office/powerpoint/2010/main" val="5243278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8B1EA7D-449C-489A-9FF5-E7109ADCAC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41667" y="9770791"/>
            <a:ext cx="722671" cy="548279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666911-43F2-4D0B-BE00-3A516EA7E6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seen Benefits (Achievements)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06CFB12-9913-4C32-AD8F-9759F74D85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053" y="2785765"/>
            <a:ext cx="3589419" cy="358941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45">
            <a:extLst>
              <a:ext uri="{FF2B5EF4-FFF2-40B4-BE49-F238E27FC236}">
                <a16:creationId xmlns:a16="http://schemas.microsoft.com/office/drawing/2014/main" id="{9C73DE7D-BB91-4EF1-A752-3536EB28B9B5}"/>
              </a:ext>
            </a:extLst>
          </p:cNvPr>
          <p:cNvSpPr/>
          <p:nvPr/>
        </p:nvSpPr>
        <p:spPr>
          <a:xfrm flipH="1">
            <a:off x="2581286" y="5478195"/>
            <a:ext cx="4089308" cy="3998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069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246">
            <a:extLst>
              <a:ext uri="{FF2B5EF4-FFF2-40B4-BE49-F238E27FC236}">
                <a16:creationId xmlns:a16="http://schemas.microsoft.com/office/drawing/2014/main" id="{A09BC0E5-85B5-4628-81F1-5AD52624F305}"/>
              </a:ext>
            </a:extLst>
          </p:cNvPr>
          <p:cNvSpPr/>
          <p:nvPr/>
        </p:nvSpPr>
        <p:spPr>
          <a:xfrm flipH="1">
            <a:off x="1982137" y="3274314"/>
            <a:ext cx="4552598" cy="113185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L Recommendations to take the next-best Step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stent approach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F21601B-6CA1-4DEE-8E95-8BA89551CD82}"/>
              </a:ext>
            </a:extLst>
          </p:cNvPr>
          <p:cNvGrpSpPr/>
          <p:nvPr/>
        </p:nvGrpSpPr>
        <p:grpSpPr>
          <a:xfrm>
            <a:off x="2553621" y="5186151"/>
            <a:ext cx="4267659" cy="642609"/>
            <a:chOff x="599440" y="4241743"/>
            <a:chExt cx="4271527" cy="643192"/>
          </a:xfrm>
        </p:grpSpPr>
        <p:sp>
          <p:nvSpPr>
            <p:cNvPr id="9" name="Oval 247">
              <a:extLst>
                <a:ext uri="{FF2B5EF4-FFF2-40B4-BE49-F238E27FC236}">
                  <a16:creationId xmlns:a16="http://schemas.microsoft.com/office/drawing/2014/main" id="{1DEE6F0B-3B16-42B1-9881-BCA1B88465D5}"/>
                </a:ext>
              </a:extLst>
            </p:cNvPr>
            <p:cNvSpPr/>
            <p:nvPr/>
          </p:nvSpPr>
          <p:spPr>
            <a:xfrm flipH="1" flipV="1">
              <a:off x="4720643" y="4241743"/>
              <a:ext cx="150324" cy="155077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Straight Connector 249">
              <a:extLst>
                <a:ext uri="{FF2B5EF4-FFF2-40B4-BE49-F238E27FC236}">
                  <a16:creationId xmlns:a16="http://schemas.microsoft.com/office/drawing/2014/main" id="{7EFA2C55-48F0-4374-AF97-2ED9181A3705}"/>
                </a:ext>
              </a:extLst>
            </p:cNvPr>
            <p:cNvCxnSpPr>
              <a:cxnSpLocks/>
              <a:endCxn id="9" idx="7"/>
            </p:cNvCxnSpPr>
            <p:nvPr/>
          </p:nvCxnSpPr>
          <p:spPr>
            <a:xfrm flipV="1">
              <a:off x="4386304" y="4374109"/>
              <a:ext cx="356353" cy="510826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250">
              <a:extLst>
                <a:ext uri="{FF2B5EF4-FFF2-40B4-BE49-F238E27FC236}">
                  <a16:creationId xmlns:a16="http://schemas.microsoft.com/office/drawing/2014/main" id="{67CB8B70-2850-46B5-AED4-16611EFF515C}"/>
                </a:ext>
              </a:extLst>
            </p:cNvPr>
            <p:cNvCxnSpPr>
              <a:cxnSpLocks/>
            </p:cNvCxnSpPr>
            <p:nvPr/>
          </p:nvCxnSpPr>
          <p:spPr>
            <a:xfrm>
              <a:off x="599440" y="4877619"/>
              <a:ext cx="3799277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245">
            <a:extLst>
              <a:ext uri="{FF2B5EF4-FFF2-40B4-BE49-F238E27FC236}">
                <a16:creationId xmlns:a16="http://schemas.microsoft.com/office/drawing/2014/main" id="{FFA4951F-2894-492A-B00B-53ACB5F3A7CF}"/>
              </a:ext>
            </a:extLst>
          </p:cNvPr>
          <p:cNvSpPr/>
          <p:nvPr/>
        </p:nvSpPr>
        <p:spPr>
          <a:xfrm>
            <a:off x="11507539" y="2956096"/>
            <a:ext cx="5627521" cy="49211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8" b="0" i="0" u="none" strike="noStrike" kern="1200" cap="all" spc="0" normalizeH="0" baseline="0" noProof="0" dirty="0">
                <a:ln>
                  <a:noFill/>
                </a:ln>
                <a:solidFill>
                  <a:srgbClr val="E726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Saving</a:t>
            </a: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E726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212">
            <a:extLst>
              <a:ext uri="{FF2B5EF4-FFF2-40B4-BE49-F238E27FC236}">
                <a16:creationId xmlns:a16="http://schemas.microsoft.com/office/drawing/2014/main" id="{CA043CAD-15A4-4BDD-BCB5-F2269FBC7FDA}"/>
              </a:ext>
            </a:extLst>
          </p:cNvPr>
          <p:cNvSpPr/>
          <p:nvPr/>
        </p:nvSpPr>
        <p:spPr>
          <a:xfrm flipH="1">
            <a:off x="2566497" y="5833623"/>
            <a:ext cx="3795837" cy="69022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d</a:t>
            </a:r>
            <a:r>
              <a:rPr kumimoji="0" lang="en-US" sz="1498" b="0" i="0" u="none" strike="noStrike" kern="1200" cap="none" spc="0" normalizeH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nalties from Regulator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d Credibility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98" dirty="0">
                <a:solidFill>
                  <a:srgbClr val="404041"/>
                </a:solidFill>
                <a:latin typeface="Arial"/>
                <a:cs typeface="+mn-cs"/>
              </a:rPr>
              <a:t>And, enhance customer Experience</a:t>
            </a: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245">
            <a:extLst>
              <a:ext uri="{FF2B5EF4-FFF2-40B4-BE49-F238E27FC236}">
                <a16:creationId xmlns:a16="http://schemas.microsoft.com/office/drawing/2014/main" id="{DBC2E48F-B7BF-4A72-B226-1E8C943F1D10}"/>
              </a:ext>
            </a:extLst>
          </p:cNvPr>
          <p:cNvSpPr/>
          <p:nvPr/>
        </p:nvSpPr>
        <p:spPr>
          <a:xfrm>
            <a:off x="2156005" y="2948978"/>
            <a:ext cx="5197067" cy="50647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8" b="0" i="0" u="none" strike="noStrike" kern="1200" cap="all" spc="0" normalizeH="0" baseline="0" noProof="0" dirty="0">
                <a:ln>
                  <a:noFill/>
                </a:ln>
                <a:solidFill>
                  <a:srgbClr val="069E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uided Investigation</a:t>
            </a: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069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BE3C423-F6A5-4E97-97EE-B8D2B3CFBA9B}"/>
              </a:ext>
            </a:extLst>
          </p:cNvPr>
          <p:cNvGrpSpPr/>
          <p:nvPr/>
        </p:nvGrpSpPr>
        <p:grpSpPr>
          <a:xfrm>
            <a:off x="6733836" y="2533297"/>
            <a:ext cx="4187852" cy="4063077"/>
            <a:chOff x="4935666" y="2087473"/>
            <a:chExt cx="2305201" cy="2304288"/>
          </a:xfrm>
        </p:grpSpPr>
        <p:sp>
          <p:nvSpPr>
            <p:cNvPr id="16" name="Google Shape;1587;p41">
              <a:extLst>
                <a:ext uri="{FF2B5EF4-FFF2-40B4-BE49-F238E27FC236}">
                  <a16:creationId xmlns:a16="http://schemas.microsoft.com/office/drawing/2014/main" id="{5ED1096B-6F76-424F-82BF-DF38F5897C17}"/>
                </a:ext>
              </a:extLst>
            </p:cNvPr>
            <p:cNvSpPr/>
            <p:nvPr/>
          </p:nvSpPr>
          <p:spPr>
            <a:xfrm>
              <a:off x="4935666" y="2087473"/>
              <a:ext cx="2305201" cy="2304288"/>
            </a:xfrm>
            <a:custGeom>
              <a:avLst/>
              <a:gdLst/>
              <a:ahLst/>
              <a:cxnLst/>
              <a:rect l="l" t="t" r="r" b="b"/>
              <a:pathLst>
                <a:path w="109848" h="109860" extrusionOk="0">
                  <a:moveTo>
                    <a:pt x="54924" y="667"/>
                  </a:moveTo>
                  <a:cubicBezTo>
                    <a:pt x="84844" y="667"/>
                    <a:pt x="109181" y="25004"/>
                    <a:pt x="109181" y="54924"/>
                  </a:cubicBezTo>
                  <a:cubicBezTo>
                    <a:pt x="109181" y="84844"/>
                    <a:pt x="84844" y="109193"/>
                    <a:pt x="54924" y="109193"/>
                  </a:cubicBezTo>
                  <a:cubicBezTo>
                    <a:pt x="25003" y="109193"/>
                    <a:pt x="655" y="84844"/>
                    <a:pt x="655" y="54924"/>
                  </a:cubicBezTo>
                  <a:cubicBezTo>
                    <a:pt x="655" y="25004"/>
                    <a:pt x="25003" y="667"/>
                    <a:pt x="54924" y="667"/>
                  </a:cubicBezTo>
                  <a:close/>
                  <a:moveTo>
                    <a:pt x="54924" y="1"/>
                  </a:moveTo>
                  <a:cubicBezTo>
                    <a:pt x="24634" y="1"/>
                    <a:pt x="0" y="24647"/>
                    <a:pt x="0" y="54924"/>
                  </a:cubicBezTo>
                  <a:cubicBezTo>
                    <a:pt x="0" y="85214"/>
                    <a:pt x="24634" y="109859"/>
                    <a:pt x="54924" y="109859"/>
                  </a:cubicBezTo>
                  <a:cubicBezTo>
                    <a:pt x="85213" y="109859"/>
                    <a:pt x="109847" y="85214"/>
                    <a:pt x="109847" y="54924"/>
                  </a:cubicBezTo>
                  <a:cubicBezTo>
                    <a:pt x="109847" y="24647"/>
                    <a:pt x="85213" y="1"/>
                    <a:pt x="54924" y="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spcFirstLastPara="1" wrap="square" lIns="91342" tIns="91342" rIns="91342" bIns="91342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199" b="0" i="0" u="none" strike="noStrike" kern="1200" cap="none" spc="0" normalizeH="0" baseline="0" noProof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A7AEAEF-7E2F-4926-86A0-067C1D15F462}"/>
                </a:ext>
              </a:extLst>
            </p:cNvPr>
            <p:cNvSpPr/>
            <p:nvPr/>
          </p:nvSpPr>
          <p:spPr>
            <a:xfrm>
              <a:off x="5110175" y="2261625"/>
              <a:ext cx="1956183" cy="1955984"/>
            </a:xfrm>
            <a:prstGeom prst="ellipse">
              <a:avLst/>
            </a:prstGeom>
            <a:noFill/>
            <a:ln w="158750">
              <a:gradFill flip="none" rotWithShape="1">
                <a:gsLst>
                  <a:gs pos="26000">
                    <a:schemeClr val="accent3"/>
                  </a:gs>
                  <a:gs pos="100000">
                    <a:schemeClr val="accent6"/>
                  </a:gs>
                  <a:gs pos="0">
                    <a:schemeClr val="accent1"/>
                  </a:gs>
                  <a:gs pos="80000">
                    <a:schemeClr val="accent5"/>
                  </a:gs>
                  <a:gs pos="53000">
                    <a:schemeClr val="accent4"/>
                  </a:gs>
                </a:gsLst>
                <a:path path="circle">
                  <a:fillToRect l="100000" t="100000"/>
                </a:path>
                <a:tileRect r="-100000" b="-10000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" name="Rectangle 212">
            <a:extLst>
              <a:ext uri="{FF2B5EF4-FFF2-40B4-BE49-F238E27FC236}">
                <a16:creationId xmlns:a16="http://schemas.microsoft.com/office/drawing/2014/main" id="{2B198DE3-F06A-4CC1-87BA-6FB6847DA712}"/>
              </a:ext>
            </a:extLst>
          </p:cNvPr>
          <p:cNvSpPr/>
          <p:nvPr/>
        </p:nvSpPr>
        <p:spPr>
          <a:xfrm flipH="1">
            <a:off x="11748167" y="3306676"/>
            <a:ext cx="5038631" cy="12791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tion in Time-Spent in reviewing similar</a:t>
            </a:r>
            <a:r>
              <a:rPr kumimoji="0" lang="en-US" sz="1498" b="0" i="0" u="none" strike="noStrike" kern="1200" cap="none" spc="0" normalizeH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vents</a:t>
            </a: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98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d Re-Opens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245">
            <a:extLst>
              <a:ext uri="{FF2B5EF4-FFF2-40B4-BE49-F238E27FC236}">
                <a16:creationId xmlns:a16="http://schemas.microsoft.com/office/drawing/2014/main" id="{7D2AA734-8F19-4AFD-9D7C-5FCC542AF172}"/>
              </a:ext>
            </a:extLst>
          </p:cNvPr>
          <p:cNvSpPr/>
          <p:nvPr/>
        </p:nvSpPr>
        <p:spPr>
          <a:xfrm flipH="1">
            <a:off x="11507539" y="5485313"/>
            <a:ext cx="5038631" cy="37749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98" cap="all" dirty="0">
                <a:solidFill>
                  <a:srgbClr val="AFC836"/>
                </a:solidFill>
                <a:latin typeface="Arial"/>
                <a:cs typeface="+mn-cs"/>
              </a:rPr>
              <a:t>Increased Focus </a:t>
            </a: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AFC83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2972376-5237-4F8D-B15F-7C6BCF30A4F6}"/>
              </a:ext>
            </a:extLst>
          </p:cNvPr>
          <p:cNvGrpSpPr/>
          <p:nvPr/>
        </p:nvGrpSpPr>
        <p:grpSpPr>
          <a:xfrm flipV="1">
            <a:off x="2635129" y="3253564"/>
            <a:ext cx="4267659" cy="642609"/>
            <a:chOff x="599440" y="4241743"/>
            <a:chExt cx="4271527" cy="643192"/>
          </a:xfrm>
        </p:grpSpPr>
        <p:sp>
          <p:nvSpPr>
            <p:cNvPr id="21" name="Oval 247">
              <a:extLst>
                <a:ext uri="{FF2B5EF4-FFF2-40B4-BE49-F238E27FC236}">
                  <a16:creationId xmlns:a16="http://schemas.microsoft.com/office/drawing/2014/main" id="{3C88DB2F-34B4-48D3-8FF9-C4F91CDB2B92}"/>
                </a:ext>
              </a:extLst>
            </p:cNvPr>
            <p:cNvSpPr/>
            <p:nvPr/>
          </p:nvSpPr>
          <p:spPr>
            <a:xfrm flipH="1" flipV="1">
              <a:off x="4720643" y="4241743"/>
              <a:ext cx="150324" cy="155077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3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35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Straight Connector 249">
              <a:extLst>
                <a:ext uri="{FF2B5EF4-FFF2-40B4-BE49-F238E27FC236}">
                  <a16:creationId xmlns:a16="http://schemas.microsoft.com/office/drawing/2014/main" id="{20F34278-BEBE-4261-9FE9-FE65C3054597}"/>
                </a:ext>
              </a:extLst>
            </p:cNvPr>
            <p:cNvCxnSpPr>
              <a:cxnSpLocks/>
              <a:endCxn id="21" idx="7"/>
            </p:cNvCxnSpPr>
            <p:nvPr/>
          </p:nvCxnSpPr>
          <p:spPr>
            <a:xfrm flipV="1">
              <a:off x="4386304" y="4374109"/>
              <a:ext cx="356353" cy="510826"/>
            </a:xfrm>
            <a:prstGeom prst="line">
              <a:avLst/>
            </a:prstGeom>
            <a:ln w="3175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50">
              <a:extLst>
                <a:ext uri="{FF2B5EF4-FFF2-40B4-BE49-F238E27FC236}">
                  <a16:creationId xmlns:a16="http://schemas.microsoft.com/office/drawing/2014/main" id="{309FC5FB-15B6-4637-9957-0DEB447F631A}"/>
                </a:ext>
              </a:extLst>
            </p:cNvPr>
            <p:cNvCxnSpPr>
              <a:cxnSpLocks/>
            </p:cNvCxnSpPr>
            <p:nvPr/>
          </p:nvCxnSpPr>
          <p:spPr>
            <a:xfrm>
              <a:off x="599440" y="4877619"/>
              <a:ext cx="3799277" cy="0"/>
            </a:xfrm>
            <a:prstGeom prst="line">
              <a:avLst/>
            </a:prstGeom>
            <a:ln w="3175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A6E084D-50DB-46E0-8445-5FE29B18F347}"/>
              </a:ext>
            </a:extLst>
          </p:cNvPr>
          <p:cNvGrpSpPr/>
          <p:nvPr/>
        </p:nvGrpSpPr>
        <p:grpSpPr>
          <a:xfrm flipV="1">
            <a:off x="10759247" y="3260874"/>
            <a:ext cx="4281735" cy="642609"/>
            <a:chOff x="7306943" y="4241743"/>
            <a:chExt cx="4285616" cy="643192"/>
          </a:xfrm>
        </p:grpSpPr>
        <p:sp>
          <p:nvSpPr>
            <p:cNvPr id="25" name="Oval 247">
              <a:extLst>
                <a:ext uri="{FF2B5EF4-FFF2-40B4-BE49-F238E27FC236}">
                  <a16:creationId xmlns:a16="http://schemas.microsoft.com/office/drawing/2014/main" id="{7383B36C-83D7-4415-9F79-138655B3556F}"/>
                </a:ext>
              </a:extLst>
            </p:cNvPr>
            <p:cNvSpPr/>
            <p:nvPr/>
          </p:nvSpPr>
          <p:spPr>
            <a:xfrm flipV="1">
              <a:off x="7306943" y="4241743"/>
              <a:ext cx="150324" cy="155077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35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6" name="Straight Connector 249">
              <a:extLst>
                <a:ext uri="{FF2B5EF4-FFF2-40B4-BE49-F238E27FC236}">
                  <a16:creationId xmlns:a16="http://schemas.microsoft.com/office/drawing/2014/main" id="{0DB68E2D-3A9C-4E9E-90C4-F8205DE65CE9}"/>
                </a:ext>
              </a:extLst>
            </p:cNvPr>
            <p:cNvCxnSpPr>
              <a:cxnSpLocks/>
              <a:endCxn id="25" idx="7"/>
            </p:cNvCxnSpPr>
            <p:nvPr/>
          </p:nvCxnSpPr>
          <p:spPr>
            <a:xfrm flipH="1" flipV="1">
              <a:off x="7435253" y="4374109"/>
              <a:ext cx="404823" cy="510826"/>
            </a:xfrm>
            <a:prstGeom prst="line">
              <a:avLst/>
            </a:prstGeom>
            <a:ln w="3175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50">
              <a:extLst>
                <a:ext uri="{FF2B5EF4-FFF2-40B4-BE49-F238E27FC236}">
                  <a16:creationId xmlns:a16="http://schemas.microsoft.com/office/drawing/2014/main" id="{820F289B-F9D3-4DEA-80B1-0C6BD46BABE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40076" y="4877619"/>
              <a:ext cx="3752483" cy="0"/>
            </a:xfrm>
            <a:prstGeom prst="line">
              <a:avLst/>
            </a:prstGeom>
            <a:ln w="3175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12">
            <a:extLst>
              <a:ext uri="{FF2B5EF4-FFF2-40B4-BE49-F238E27FC236}">
                <a16:creationId xmlns:a16="http://schemas.microsoft.com/office/drawing/2014/main" id="{9D14292B-5825-45F7-A343-C4DC5431E2FE}"/>
              </a:ext>
            </a:extLst>
          </p:cNvPr>
          <p:cNvSpPr/>
          <p:nvPr/>
        </p:nvSpPr>
        <p:spPr>
          <a:xfrm flipH="1">
            <a:off x="11670531" y="5833623"/>
            <a:ext cx="5627521" cy="69022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98" noProof="0" dirty="0">
                <a:solidFill>
                  <a:srgbClr val="404041"/>
                </a:solidFill>
                <a:latin typeface="Arial"/>
                <a:cs typeface="+mn-cs"/>
              </a:rPr>
              <a:t>Investigator can now focus on more specific enrichment </a:t>
            </a:r>
          </a:p>
          <a:p>
            <a:pPr marL="285479" marR="0" lvl="0" indent="-285479" algn="l" defTabSz="913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98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2427030-4ABE-494D-BA9F-43A88DB11563}"/>
              </a:ext>
            </a:extLst>
          </p:cNvPr>
          <p:cNvGrpSpPr/>
          <p:nvPr/>
        </p:nvGrpSpPr>
        <p:grpSpPr>
          <a:xfrm>
            <a:off x="10755687" y="5186151"/>
            <a:ext cx="4281736" cy="642609"/>
            <a:chOff x="7306943" y="4241743"/>
            <a:chExt cx="4285617" cy="643192"/>
          </a:xfrm>
        </p:grpSpPr>
        <p:sp>
          <p:nvSpPr>
            <p:cNvPr id="30" name="Oval 247">
              <a:extLst>
                <a:ext uri="{FF2B5EF4-FFF2-40B4-BE49-F238E27FC236}">
                  <a16:creationId xmlns:a16="http://schemas.microsoft.com/office/drawing/2014/main" id="{6E3B3A8B-F9B8-48A6-B6B2-E692359F21A9}"/>
                </a:ext>
              </a:extLst>
            </p:cNvPr>
            <p:cNvSpPr/>
            <p:nvPr/>
          </p:nvSpPr>
          <p:spPr>
            <a:xfrm flipV="1">
              <a:off x="7306943" y="4241743"/>
              <a:ext cx="150324" cy="155077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35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1" name="Straight Connector 249">
              <a:extLst>
                <a:ext uri="{FF2B5EF4-FFF2-40B4-BE49-F238E27FC236}">
                  <a16:creationId xmlns:a16="http://schemas.microsoft.com/office/drawing/2014/main" id="{7521BC6C-B0A6-4A7B-9956-94D0A03C6483}"/>
                </a:ext>
              </a:extLst>
            </p:cNvPr>
            <p:cNvCxnSpPr>
              <a:cxnSpLocks/>
              <a:endCxn id="30" idx="7"/>
            </p:cNvCxnSpPr>
            <p:nvPr/>
          </p:nvCxnSpPr>
          <p:spPr>
            <a:xfrm flipH="1" flipV="1">
              <a:off x="7435253" y="4374109"/>
              <a:ext cx="404823" cy="510826"/>
            </a:xfrm>
            <a:prstGeom prst="line">
              <a:avLst/>
            </a:prstGeom>
            <a:ln w="31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250">
              <a:extLst>
                <a:ext uri="{FF2B5EF4-FFF2-40B4-BE49-F238E27FC236}">
                  <a16:creationId xmlns:a16="http://schemas.microsoft.com/office/drawing/2014/main" id="{33A77681-A7B5-4C7F-A77F-E521DD9D1A7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40077" y="4877619"/>
              <a:ext cx="3752483" cy="0"/>
            </a:xfrm>
            <a:prstGeom prst="line">
              <a:avLst/>
            </a:prstGeom>
            <a:ln w="31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tangle 245">
            <a:extLst>
              <a:ext uri="{FF2B5EF4-FFF2-40B4-BE49-F238E27FC236}">
                <a16:creationId xmlns:a16="http://schemas.microsoft.com/office/drawing/2014/main" id="{7F97853C-87B7-4474-A007-46243C97F483}"/>
              </a:ext>
            </a:extLst>
          </p:cNvPr>
          <p:cNvSpPr/>
          <p:nvPr/>
        </p:nvSpPr>
        <p:spPr>
          <a:xfrm>
            <a:off x="2006200" y="5480660"/>
            <a:ext cx="5750410" cy="50647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98" cap="all" dirty="0">
                <a:solidFill>
                  <a:srgbClr val="7D3CC8"/>
                </a:solidFill>
                <a:latin typeface="Arial"/>
                <a:cs typeface="+mn-cs"/>
              </a:rPr>
              <a:t>Credibility Enhancement</a:t>
            </a:r>
            <a:endParaRPr kumimoji="0" lang="ru-RU" sz="2398" b="0" i="0" u="none" strike="noStrike" kern="1200" cap="all" spc="0" normalizeH="0" baseline="0" noProof="0" dirty="0">
              <a:ln>
                <a:noFill/>
              </a:ln>
              <a:solidFill>
                <a:srgbClr val="7D3C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98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2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12" grpId="0"/>
      <p:bldP spid="13" grpId="0"/>
      <p:bldP spid="14" grpId="0"/>
      <p:bldP spid="18" grpId="0"/>
      <p:bldP spid="19" grpId="0"/>
      <p:bldP spid="28" grpId="0"/>
      <p:bldP spid="3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13EBE2-F31E-4A39-92FF-126A8A2AA6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/>
              <a:t>As we are building a model which will predict the workflow of new alert generated depending on the previous existing data we can reduce the time of investigation upto70% and also increases the efficiency of investigation process.</a:t>
            </a:r>
          </a:p>
          <a:p>
            <a:r>
              <a:rPr lang="en-IN" dirty="0"/>
              <a:t>Also we are developing a generalize plugin or extension so that any organization can used it for detecting any fraud and to predict the next best step of investigati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79CA4D-BBDD-46EB-B5E9-55BDE58CF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Scop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1591C8-93AB-4172-90AA-8594DA4007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427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xXsKKD9S49aBCsEGUwCw"/>
</p:tagLst>
</file>

<file path=ppt/theme/theme1.xml><?xml version="1.0" encoding="utf-8"?>
<a:theme xmlns:a="http://schemas.openxmlformats.org/drawingml/2006/main" name="8_Master slide">
  <a:themeElements>
    <a:clrScheme name="nice 2016">
      <a:dk1>
        <a:srgbClr val="404041"/>
      </a:dk1>
      <a:lt1>
        <a:sysClr val="window" lastClr="FFFFFF"/>
      </a:lt1>
      <a:dk2>
        <a:srgbClr val="404041"/>
      </a:dk2>
      <a:lt2>
        <a:srgbClr val="D0D2D3"/>
      </a:lt2>
      <a:accent1>
        <a:srgbClr val="069EDB"/>
      </a:accent1>
      <a:accent2>
        <a:srgbClr val="AFC836"/>
      </a:accent2>
      <a:accent3>
        <a:srgbClr val="7D3CC8"/>
      </a:accent3>
      <a:accent4>
        <a:srgbClr val="E7268D"/>
      </a:accent4>
      <a:accent5>
        <a:srgbClr val="E15A0E"/>
      </a:accent5>
      <a:accent6>
        <a:srgbClr val="F8C00B"/>
      </a:accent6>
      <a:hlink>
        <a:srgbClr val="0582B5"/>
      </a:hlink>
      <a:folHlink>
        <a:srgbClr val="9B99A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CE Actimize_PPT Template_2021</Template>
  <TotalTime>0</TotalTime>
  <Words>352</Words>
  <Application>Microsoft Office PowerPoint</Application>
  <PresentationFormat>Custom</PresentationFormat>
  <Paragraphs>97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masis MT Pro Medium</vt:lpstr>
      <vt:lpstr>Arial</vt:lpstr>
      <vt:lpstr>Arial MT Std Light</vt:lpstr>
      <vt:lpstr>Arial Narrow</vt:lpstr>
      <vt:lpstr>Calibri</vt:lpstr>
      <vt:lpstr>Segoe UI</vt:lpstr>
      <vt:lpstr>Wingdings</vt:lpstr>
      <vt:lpstr>8_Master slide</vt:lpstr>
      <vt:lpstr>think-cell Slide</vt:lpstr>
      <vt:lpstr>Data In, VVisdom Out</vt:lpstr>
      <vt:lpstr>Contents</vt:lpstr>
      <vt:lpstr>The Challenge as we understand</vt:lpstr>
      <vt:lpstr>Mining Patterns, To Build Wisdom</vt:lpstr>
      <vt:lpstr>INTRODUCTION</vt:lpstr>
      <vt:lpstr>Solving it in a Scaled Manner — Algorithmic Details</vt:lpstr>
      <vt:lpstr>Activities planned to be completed during coming weeks (Outcomes)</vt:lpstr>
      <vt:lpstr>Foreseen Benefits (Achievements)</vt:lpstr>
      <vt:lpstr>Future Scop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-Sight Connect</dc:title>
  <dc:creator/>
  <cp:lastModifiedBy/>
  <cp:revision>11</cp:revision>
  <dcterms:created xsi:type="dcterms:W3CDTF">2022-01-04T15:28:37Z</dcterms:created>
  <dcterms:modified xsi:type="dcterms:W3CDTF">2022-04-23T04:55:04Z</dcterms:modified>
</cp:coreProperties>
</file>